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5.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6.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7.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8.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9.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726" r:id="rId4"/>
    <p:sldMasterId id="2147483731" r:id="rId5"/>
    <p:sldMasterId id="2147483735" r:id="rId6"/>
    <p:sldMasterId id="2147483779" r:id="rId7"/>
    <p:sldMasterId id="2147483822" r:id="rId8"/>
    <p:sldMasterId id="2147483826" r:id="rId9"/>
    <p:sldMasterId id="2147483835" r:id="rId10"/>
    <p:sldMasterId id="2147483860" r:id="rId11"/>
    <p:sldMasterId id="2147483872" r:id="rId12"/>
  </p:sldMasterIdLst>
  <p:notesMasterIdLst>
    <p:notesMasterId r:id="rId31"/>
  </p:notesMasterIdLst>
  <p:handoutMasterIdLst>
    <p:handoutMasterId r:id="rId32"/>
  </p:handoutMasterIdLst>
  <p:sldIdLst>
    <p:sldId id="1939" r:id="rId13"/>
    <p:sldId id="1940" r:id="rId14"/>
    <p:sldId id="335" r:id="rId15"/>
    <p:sldId id="376" r:id="rId16"/>
    <p:sldId id="1981" r:id="rId17"/>
    <p:sldId id="1969" r:id="rId18"/>
    <p:sldId id="1971" r:id="rId19"/>
    <p:sldId id="1974" r:id="rId20"/>
    <p:sldId id="1975" r:id="rId21"/>
    <p:sldId id="1970" r:id="rId22"/>
    <p:sldId id="1979" r:id="rId23"/>
    <p:sldId id="1984" r:id="rId24"/>
    <p:sldId id="1982" r:id="rId25"/>
    <p:sldId id="1977" r:id="rId26"/>
    <p:sldId id="1978" r:id="rId27"/>
    <p:sldId id="1972" r:id="rId28"/>
    <p:sldId id="1985" r:id="rId29"/>
    <p:sldId id="1986" r:id="rId30"/>
  </p:sldIdLst>
  <p:sldSz cx="9901238" cy="6858000"/>
  <p:notesSz cx="6797675" cy="9926638"/>
  <p:custDataLst>
    <p:tags r:id="rId33"/>
  </p:custDataLst>
  <p:defaultTextStyle>
    <a:defPPr>
      <a:defRPr lang="de-DE"/>
    </a:defPPr>
    <a:lvl1pPr algn="ctr" rtl="0" eaLnBrk="0" fontAlgn="base" hangingPunct="0">
      <a:spcBef>
        <a:spcPct val="0"/>
      </a:spcBef>
      <a:spcAft>
        <a:spcPct val="0"/>
      </a:spcAft>
      <a:defRPr sz="1600" kern="1200">
        <a:solidFill>
          <a:schemeClr val="tx1"/>
        </a:solidFill>
        <a:latin typeface="DB Office" pitchFamily="34" charset="0"/>
        <a:ea typeface="+mn-ea"/>
        <a:cs typeface="+mn-cs"/>
      </a:defRPr>
    </a:lvl1pPr>
    <a:lvl2pPr marL="457200" algn="ctr" rtl="0" eaLnBrk="0" fontAlgn="base" hangingPunct="0">
      <a:spcBef>
        <a:spcPct val="0"/>
      </a:spcBef>
      <a:spcAft>
        <a:spcPct val="0"/>
      </a:spcAft>
      <a:defRPr sz="1600" kern="1200">
        <a:solidFill>
          <a:schemeClr val="tx1"/>
        </a:solidFill>
        <a:latin typeface="DB Office" pitchFamily="34" charset="0"/>
        <a:ea typeface="+mn-ea"/>
        <a:cs typeface="+mn-cs"/>
      </a:defRPr>
    </a:lvl2pPr>
    <a:lvl3pPr marL="914400" algn="ctr" rtl="0" eaLnBrk="0" fontAlgn="base" hangingPunct="0">
      <a:spcBef>
        <a:spcPct val="0"/>
      </a:spcBef>
      <a:spcAft>
        <a:spcPct val="0"/>
      </a:spcAft>
      <a:defRPr sz="1600" kern="1200">
        <a:solidFill>
          <a:schemeClr val="tx1"/>
        </a:solidFill>
        <a:latin typeface="DB Office" pitchFamily="34" charset="0"/>
        <a:ea typeface="+mn-ea"/>
        <a:cs typeface="+mn-cs"/>
      </a:defRPr>
    </a:lvl3pPr>
    <a:lvl4pPr marL="1371600" algn="ctr" rtl="0" eaLnBrk="0" fontAlgn="base" hangingPunct="0">
      <a:spcBef>
        <a:spcPct val="0"/>
      </a:spcBef>
      <a:spcAft>
        <a:spcPct val="0"/>
      </a:spcAft>
      <a:defRPr sz="1600" kern="1200">
        <a:solidFill>
          <a:schemeClr val="tx1"/>
        </a:solidFill>
        <a:latin typeface="DB Office" pitchFamily="34" charset="0"/>
        <a:ea typeface="+mn-ea"/>
        <a:cs typeface="+mn-cs"/>
      </a:defRPr>
    </a:lvl4pPr>
    <a:lvl5pPr marL="1828800" algn="ctr" rtl="0" eaLnBrk="0" fontAlgn="base" hangingPunct="0">
      <a:spcBef>
        <a:spcPct val="0"/>
      </a:spcBef>
      <a:spcAft>
        <a:spcPct val="0"/>
      </a:spcAft>
      <a:defRPr sz="1600" kern="1200">
        <a:solidFill>
          <a:schemeClr val="tx1"/>
        </a:solidFill>
        <a:latin typeface="DB Office" pitchFamily="34" charset="0"/>
        <a:ea typeface="+mn-ea"/>
        <a:cs typeface="+mn-cs"/>
      </a:defRPr>
    </a:lvl5pPr>
    <a:lvl6pPr marL="2286000" algn="l" defTabSz="914400" rtl="0" eaLnBrk="1" latinLnBrk="0" hangingPunct="1">
      <a:defRPr sz="1600" kern="1200">
        <a:solidFill>
          <a:schemeClr val="tx1"/>
        </a:solidFill>
        <a:latin typeface="DB Office" pitchFamily="34" charset="0"/>
        <a:ea typeface="+mn-ea"/>
        <a:cs typeface="+mn-cs"/>
      </a:defRPr>
    </a:lvl6pPr>
    <a:lvl7pPr marL="2743200" algn="l" defTabSz="914400" rtl="0" eaLnBrk="1" latinLnBrk="0" hangingPunct="1">
      <a:defRPr sz="1600" kern="1200">
        <a:solidFill>
          <a:schemeClr val="tx1"/>
        </a:solidFill>
        <a:latin typeface="DB Office" pitchFamily="34" charset="0"/>
        <a:ea typeface="+mn-ea"/>
        <a:cs typeface="+mn-cs"/>
      </a:defRPr>
    </a:lvl7pPr>
    <a:lvl8pPr marL="3200400" algn="l" defTabSz="914400" rtl="0" eaLnBrk="1" latinLnBrk="0" hangingPunct="1">
      <a:defRPr sz="1600" kern="1200">
        <a:solidFill>
          <a:schemeClr val="tx1"/>
        </a:solidFill>
        <a:latin typeface="DB Office" pitchFamily="34" charset="0"/>
        <a:ea typeface="+mn-ea"/>
        <a:cs typeface="+mn-cs"/>
      </a:defRPr>
    </a:lvl8pPr>
    <a:lvl9pPr marL="3657600" algn="l" defTabSz="914400" rtl="0" eaLnBrk="1" latinLnBrk="0" hangingPunct="1">
      <a:defRPr sz="1600" kern="1200">
        <a:solidFill>
          <a:schemeClr val="tx1"/>
        </a:solidFill>
        <a:latin typeface="DB Office" pitchFamily="34" charset="0"/>
        <a:ea typeface="+mn-ea"/>
        <a:cs typeface="+mn-cs"/>
      </a:defRPr>
    </a:lvl9pPr>
  </p:defaultTextStyle>
  <p:extLst>
    <p:ext uri="{521415D9-36F7-43E2-AB2F-B90AF26B5E84}">
      <p14:sectionLst xmlns:p14="http://schemas.microsoft.com/office/powerpoint/2010/main">
        <p14:section name="Standardabschnitt" id="{03CA5856-AC22-4E16-B42B-2185BC485880}">
          <p14:sldIdLst>
            <p14:sldId id="1939"/>
            <p14:sldId id="1940"/>
            <p14:sldId id="335"/>
            <p14:sldId id="376"/>
            <p14:sldId id="1981"/>
            <p14:sldId id="1969"/>
            <p14:sldId id="1971"/>
            <p14:sldId id="1974"/>
            <p14:sldId id="1975"/>
            <p14:sldId id="1970"/>
            <p14:sldId id="1979"/>
            <p14:sldId id="1984"/>
            <p14:sldId id="1982"/>
            <p14:sldId id="1977"/>
            <p14:sldId id="1978"/>
            <p14:sldId id="1972"/>
            <p14:sldId id="1985"/>
            <p14:sldId id="1986"/>
          </p14:sldIdLst>
        </p14:section>
      </p14:sectionLst>
    </p:ext>
    <p:ext uri="{EFAFB233-063F-42B5-8137-9DF3F51BA10A}">
      <p15:sldGuideLst xmlns:p15="http://schemas.microsoft.com/office/powerpoint/2012/main">
        <p15:guide id="1" orient="horz" pos="709" userDrawn="1">
          <p15:clr>
            <a:srgbClr val="A4A3A4"/>
          </p15:clr>
        </p15:guide>
        <p15:guide id="2" orient="horz" pos="1253" userDrawn="1">
          <p15:clr>
            <a:srgbClr val="A4A3A4"/>
          </p15:clr>
        </p15:guide>
        <p15:guide id="3" pos="1077" userDrawn="1">
          <p15:clr>
            <a:srgbClr val="A4A3A4"/>
          </p15:clr>
        </p15:guide>
        <p15:guide id="6" pos="261"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rbowiak Weronika" initials="KW" lastIdx="2" clrIdx="0">
    <p:extLst>
      <p:ext uri="{19B8F6BF-5375-455C-9EA6-DF929625EA0E}">
        <p15:presenceInfo xmlns:p15="http://schemas.microsoft.com/office/powerpoint/2012/main" userId="S-1-5-21-114579573-3725427031-314597805-20014" providerId="AD"/>
      </p:ext>
    </p:extLst>
  </p:cmAuthor>
  <p:cmAuthor id="2" name="Van Den Heede Gerda" initials="VDHG" lastIdx="7" clrIdx="1">
    <p:extLst>
      <p:ext uri="{19B8F6BF-5375-455C-9EA6-DF929625EA0E}">
        <p15:presenceInfo xmlns:p15="http://schemas.microsoft.com/office/powerpoint/2012/main" userId="S-1-5-21-3675852479-2980802970-892884109-624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7800"/>
    <a:srgbClr val="FF0000"/>
    <a:srgbClr val="8CB90F"/>
    <a:srgbClr val="FAAA0A"/>
    <a:srgbClr val="000066"/>
    <a:srgbClr val="004BB4"/>
    <a:srgbClr val="F0CD0A"/>
    <a:srgbClr val="878C9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031FD68-60FD-4519-80A5-C9D4A3E5F66B}" v="58" dt="2025-01-31T12:18:10.333"/>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1360" y="28"/>
      </p:cViewPr>
      <p:guideLst>
        <p:guide orient="horz" pos="709"/>
        <p:guide orient="horz" pos="1253"/>
        <p:guide pos="1077"/>
        <p:guide pos="261"/>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972415" cy="5329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1200"/>
            </a:lvl1pPr>
          </a:lstStyle>
          <a:p>
            <a:endParaRPr lang="de-DE" altLang="de-DE"/>
          </a:p>
        </p:txBody>
      </p:sp>
      <p:sp>
        <p:nvSpPr>
          <p:cNvPr id="10243" name="Rectangle 3"/>
          <p:cNvSpPr>
            <a:spLocks noGrp="1" noChangeArrowheads="1"/>
          </p:cNvSpPr>
          <p:nvPr>
            <p:ph type="dt" sz="quarter" idx="1"/>
          </p:nvPr>
        </p:nvSpPr>
        <p:spPr bwMode="auto">
          <a:xfrm>
            <a:off x="3886402" y="0"/>
            <a:ext cx="2895596" cy="5329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endParaRPr lang="de-DE" altLang="de-DE"/>
          </a:p>
        </p:txBody>
      </p:sp>
      <p:sp>
        <p:nvSpPr>
          <p:cNvPr id="10244" name="Rectangle 4"/>
          <p:cNvSpPr>
            <a:spLocks noGrp="1" noChangeArrowheads="1"/>
          </p:cNvSpPr>
          <p:nvPr>
            <p:ph type="ftr" sz="quarter" idx="2"/>
          </p:nvPr>
        </p:nvSpPr>
        <p:spPr bwMode="auto">
          <a:xfrm>
            <a:off x="0" y="9449396"/>
            <a:ext cx="2972415" cy="456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defRPr sz="1200"/>
            </a:lvl1pPr>
          </a:lstStyle>
          <a:p>
            <a:endParaRPr lang="de-DE" altLang="de-DE"/>
          </a:p>
        </p:txBody>
      </p:sp>
      <p:sp>
        <p:nvSpPr>
          <p:cNvPr id="10245" name="Rectangle 5"/>
          <p:cNvSpPr>
            <a:spLocks noGrp="1" noChangeArrowheads="1"/>
          </p:cNvSpPr>
          <p:nvPr>
            <p:ph type="sldNum" sz="quarter" idx="3"/>
          </p:nvPr>
        </p:nvSpPr>
        <p:spPr bwMode="auto">
          <a:xfrm>
            <a:off x="3886402" y="9449396"/>
            <a:ext cx="2895596" cy="456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D0DC9D1D-6A0F-4167-A82D-5325A2C72B54}" type="slidenum">
              <a:rPr lang="de-DE" altLang="de-DE"/>
              <a:pPr/>
              <a:t>‹#›</a:t>
            </a:fld>
            <a:endParaRPr lang="de-DE" altLang="de-DE"/>
          </a:p>
        </p:txBody>
      </p:sp>
    </p:spTree>
    <p:extLst>
      <p:ext uri="{BB962C8B-B14F-4D97-AF65-F5344CB8AC3E}">
        <p14:creationId xmlns:p14="http://schemas.microsoft.com/office/powerpoint/2010/main" val="27515214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1" y="0"/>
            <a:ext cx="2945764" cy="496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1200"/>
            </a:lvl1pPr>
          </a:lstStyle>
          <a:p>
            <a:endParaRPr lang="de-DE" altLang="de-DE"/>
          </a:p>
        </p:txBody>
      </p:sp>
      <p:sp>
        <p:nvSpPr>
          <p:cNvPr id="5123" name="Rectangle 3"/>
          <p:cNvSpPr>
            <a:spLocks noGrp="1" noChangeArrowheads="1"/>
          </p:cNvSpPr>
          <p:nvPr>
            <p:ph type="dt" idx="1"/>
          </p:nvPr>
        </p:nvSpPr>
        <p:spPr bwMode="auto">
          <a:xfrm>
            <a:off x="3851912" y="0"/>
            <a:ext cx="2945763" cy="496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endParaRPr lang="de-DE" altLang="de-DE"/>
          </a:p>
        </p:txBody>
      </p:sp>
      <p:sp>
        <p:nvSpPr>
          <p:cNvPr id="5124" name="Rectangle 4"/>
          <p:cNvSpPr>
            <a:spLocks noGrp="1" noRot="1" noChangeAspect="1" noChangeArrowheads="1" noTextEdit="1"/>
          </p:cNvSpPr>
          <p:nvPr>
            <p:ph type="sldImg" idx="2"/>
          </p:nvPr>
        </p:nvSpPr>
        <p:spPr bwMode="auto">
          <a:xfrm>
            <a:off x="712788" y="744538"/>
            <a:ext cx="5372100" cy="372268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5" name="Rectangle 5"/>
          <p:cNvSpPr>
            <a:spLocks noGrp="1" noChangeArrowheads="1"/>
          </p:cNvSpPr>
          <p:nvPr>
            <p:ph type="body" sz="quarter" idx="3"/>
          </p:nvPr>
        </p:nvSpPr>
        <p:spPr bwMode="auto">
          <a:xfrm>
            <a:off x="906148" y="4715153"/>
            <a:ext cx="4985380" cy="4466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a:t>Klicken Sie, um die Formate des Vorlagentextes zu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p:txBody>
      </p:sp>
      <p:sp>
        <p:nvSpPr>
          <p:cNvPr id="5126" name="Rectangle 6"/>
          <p:cNvSpPr>
            <a:spLocks noGrp="1" noChangeArrowheads="1"/>
          </p:cNvSpPr>
          <p:nvPr>
            <p:ph type="ftr" sz="quarter" idx="4"/>
          </p:nvPr>
        </p:nvSpPr>
        <p:spPr bwMode="auto">
          <a:xfrm>
            <a:off x="1" y="9430306"/>
            <a:ext cx="2945764" cy="496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defRPr sz="1200"/>
            </a:lvl1pPr>
          </a:lstStyle>
          <a:p>
            <a:endParaRPr lang="de-DE" altLang="de-DE"/>
          </a:p>
        </p:txBody>
      </p:sp>
      <p:sp>
        <p:nvSpPr>
          <p:cNvPr id="5127" name="Rectangle 7"/>
          <p:cNvSpPr>
            <a:spLocks noGrp="1" noChangeArrowheads="1"/>
          </p:cNvSpPr>
          <p:nvPr>
            <p:ph type="sldNum" sz="quarter" idx="5"/>
          </p:nvPr>
        </p:nvSpPr>
        <p:spPr bwMode="auto">
          <a:xfrm>
            <a:off x="3851912" y="9430306"/>
            <a:ext cx="2945763" cy="496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16B1D083-96A8-46C7-8EDA-73D993B59158}" type="slidenum">
              <a:rPr lang="de-DE" altLang="de-DE"/>
              <a:pPr/>
              <a:t>‹#›</a:t>
            </a:fld>
            <a:endParaRPr lang="de-DE" altLang="de-DE"/>
          </a:p>
        </p:txBody>
      </p:sp>
    </p:spTree>
    <p:extLst>
      <p:ext uri="{BB962C8B-B14F-4D97-AF65-F5344CB8AC3E}">
        <p14:creationId xmlns:p14="http://schemas.microsoft.com/office/powerpoint/2010/main" val="132763758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DB Office"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DB Office"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DB Office"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DB Office"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DB Office"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16B1D083-96A8-46C7-8EDA-73D993B59158}" type="slidenum">
              <a:rPr lang="de-DE" altLang="de-DE" smtClean="0"/>
              <a:pPr/>
              <a:t>1</a:t>
            </a:fld>
            <a:endParaRPr lang="de-DE" altLang="de-DE"/>
          </a:p>
        </p:txBody>
      </p:sp>
    </p:spTree>
    <p:extLst>
      <p:ext uri="{BB962C8B-B14F-4D97-AF65-F5344CB8AC3E}">
        <p14:creationId xmlns:p14="http://schemas.microsoft.com/office/powerpoint/2010/main" val="28556888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US" dirty="0"/>
          </a:p>
        </p:txBody>
      </p:sp>
      <p:sp>
        <p:nvSpPr>
          <p:cNvPr id="4" name="Symbol zastępczy numeru slajdu 3"/>
          <p:cNvSpPr>
            <a:spLocks noGrp="1"/>
          </p:cNvSpPr>
          <p:nvPr>
            <p:ph type="sldNum" sz="quarter" idx="10"/>
          </p:nvPr>
        </p:nvSpPr>
        <p:spPr/>
        <p:txBody>
          <a:bodyPr/>
          <a:lstStyle/>
          <a:p>
            <a:fld id="{407F7BC0-6BB5-4853-A6F0-335A89E3301D}" type="slidenum">
              <a:rPr lang="pl-PL" smtClean="0"/>
              <a:pPr/>
              <a:t>3</a:t>
            </a:fld>
            <a:endParaRPr lang="pl-PL"/>
          </a:p>
        </p:txBody>
      </p:sp>
    </p:spTree>
    <p:extLst>
      <p:ext uri="{BB962C8B-B14F-4D97-AF65-F5344CB8AC3E}">
        <p14:creationId xmlns:p14="http://schemas.microsoft.com/office/powerpoint/2010/main" val="5729174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US" dirty="0"/>
          </a:p>
        </p:txBody>
      </p:sp>
      <p:sp>
        <p:nvSpPr>
          <p:cNvPr id="4" name="Symbol zastępczy numeru slajdu 3"/>
          <p:cNvSpPr>
            <a:spLocks noGrp="1"/>
          </p:cNvSpPr>
          <p:nvPr>
            <p:ph type="sldNum" sz="quarter" idx="10"/>
          </p:nvPr>
        </p:nvSpPr>
        <p:spPr/>
        <p:txBody>
          <a:bodyPr/>
          <a:lstStyle/>
          <a:p>
            <a:fld id="{407F7BC0-6BB5-4853-A6F0-335A89E3301D}" type="slidenum">
              <a:rPr lang="pl-PL" smtClean="0"/>
              <a:pPr/>
              <a:t>4</a:t>
            </a:fld>
            <a:endParaRPr lang="pl-PL"/>
          </a:p>
        </p:txBody>
      </p:sp>
    </p:spTree>
    <p:extLst>
      <p:ext uri="{BB962C8B-B14F-4D97-AF65-F5344CB8AC3E}">
        <p14:creationId xmlns:p14="http://schemas.microsoft.com/office/powerpoint/2010/main" val="41867069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jpeg"/><Relationship Id="rId5" Type="http://schemas.openxmlformats.org/officeDocument/2006/relationships/image" Target="../media/image3.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22.xml"/><Relationship Id="rId6" Type="http://schemas.openxmlformats.org/officeDocument/2006/relationships/image" Target="../media/image2.jpeg"/><Relationship Id="rId5" Type="http://schemas.openxmlformats.org/officeDocument/2006/relationships/image" Target="../media/image3.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25.xml"/><Relationship Id="rId6" Type="http://schemas.openxmlformats.org/officeDocument/2006/relationships/image" Target="../media/image2.jpeg"/><Relationship Id="rId5" Type="http://schemas.openxmlformats.org/officeDocument/2006/relationships/image" Target="../media/image3.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8.bin"/><Relationship Id="rId7"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28.xml"/><Relationship Id="rId6" Type="http://schemas.openxmlformats.org/officeDocument/2006/relationships/image" Target="../media/image2.jpeg"/><Relationship Id="rId5" Type="http://schemas.openxmlformats.org/officeDocument/2006/relationships/image" Target="../media/image3.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5.xml"/><Relationship Id="rId1" Type="http://schemas.openxmlformats.org/officeDocument/2006/relationships/tags" Target="../tags/tag31.xml"/><Relationship Id="rId6" Type="http://schemas.openxmlformats.org/officeDocument/2006/relationships/image" Target="../media/image2.jpeg"/><Relationship Id="rId5" Type="http://schemas.openxmlformats.org/officeDocument/2006/relationships/image" Target="../media/image3.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2.bin"/><Relationship Id="rId7" Type="http://schemas.openxmlformats.org/officeDocument/2006/relationships/image" Target="../media/image4.png"/><Relationship Id="rId2" Type="http://schemas.openxmlformats.org/officeDocument/2006/relationships/slideMaster" Target="../slideMasters/slideMaster6.xml"/><Relationship Id="rId1" Type="http://schemas.openxmlformats.org/officeDocument/2006/relationships/tags" Target="../tags/tag34.xml"/><Relationship Id="rId6" Type="http://schemas.openxmlformats.org/officeDocument/2006/relationships/image" Target="../media/image2.jpeg"/><Relationship Id="rId5" Type="http://schemas.openxmlformats.org/officeDocument/2006/relationships/image" Target="../media/image3.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6.xml"/><Relationship Id="rId1" Type="http://schemas.openxmlformats.org/officeDocument/2006/relationships/tags" Target="../tags/tag37.xml"/><Relationship Id="rId6" Type="http://schemas.openxmlformats.org/officeDocument/2006/relationships/image" Target="../media/image2.jpeg"/><Relationship Id="rId5" Type="http://schemas.openxmlformats.org/officeDocument/2006/relationships/image" Target="../media/image3.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2.jpeg"/><Relationship Id="rId5" Type="http://schemas.openxmlformats.org/officeDocument/2006/relationships/image" Target="../media/image3.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0.xml"/><Relationship Id="rId6" Type="http://schemas.openxmlformats.org/officeDocument/2006/relationships/image" Target="../media/image2.jpeg"/><Relationship Id="rId5" Type="http://schemas.openxmlformats.org/officeDocument/2006/relationships/image" Target="../media/image3.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3.xml"/><Relationship Id="rId6" Type="http://schemas.openxmlformats.org/officeDocument/2006/relationships/image" Target="../media/image2.jpeg"/><Relationship Id="rId5" Type="http://schemas.openxmlformats.org/officeDocument/2006/relationships/image" Target="../media/image3.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16.xml"/><Relationship Id="rId6" Type="http://schemas.openxmlformats.org/officeDocument/2006/relationships/image" Target="../media/image2.jpeg"/><Relationship Id="rId5" Type="http://schemas.openxmlformats.org/officeDocument/2006/relationships/image" Target="../media/image3.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2.jpeg"/><Relationship Id="rId5" Type="http://schemas.openxmlformats.org/officeDocument/2006/relationships/image" Target="../media/image3.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26C88C0-CB8B-4524-AE36-F79B0B3B991B}"/>
              </a:ext>
            </a:extLst>
          </p:cNvPr>
          <p:cNvGraphicFramePr>
            <a:graphicFrameLocks noChangeAspect="1"/>
          </p:cNvGraphicFramePr>
          <p:nvPr userDrawn="1">
            <p:custDataLst>
              <p:tags r:id="rId1"/>
            </p:custDataLst>
          </p:nvPr>
        </p:nvGraphicFramePr>
        <p:xfrm>
          <a:off x="1719" y="1588"/>
          <a:ext cx="1720" cy="1588"/>
        </p:xfrm>
        <a:graphic>
          <a:graphicData uri="http://schemas.openxmlformats.org/presentationml/2006/ole">
            <mc:AlternateContent xmlns:mc="http://schemas.openxmlformats.org/markup-compatibility/2006">
              <mc:Choice xmlns:v="urn:schemas-microsoft-com:vml" Requires="v">
                <p:oleObj name="think-cell Folie" r:id="rId3" imgW="421" imgH="420" progId="TCLayout.ActiveDocument.1">
                  <p:embed/>
                </p:oleObj>
              </mc:Choice>
              <mc:Fallback>
                <p:oleObj name="think-cell Folie" r:id="rId3" imgW="421" imgH="420" progId="TCLayout.ActiveDocument.1">
                  <p:embed/>
                  <p:pic>
                    <p:nvPicPr>
                      <p:cNvPr id="7" name="Objekt 6" hidden="1">
                        <a:extLst>
                          <a:ext uri="{FF2B5EF4-FFF2-40B4-BE49-F238E27FC236}">
                            <a16:creationId xmlns:a16="http://schemas.microsoft.com/office/drawing/2014/main" id="{626C88C0-CB8B-4524-AE36-F79B0B3B991B}"/>
                          </a:ext>
                        </a:extLst>
                      </p:cNvPr>
                      <p:cNvPicPr/>
                      <p:nvPr/>
                    </p:nvPicPr>
                    <p:blipFill>
                      <a:blip r:embed="rId4"/>
                      <a:stretch>
                        <a:fillRect/>
                      </a:stretch>
                    </p:blipFill>
                    <p:spPr>
                      <a:xfrm>
                        <a:off x="1719" y="1588"/>
                        <a:ext cx="1720" cy="1588"/>
                      </a:xfrm>
                      <a:prstGeom prst="rect">
                        <a:avLst/>
                      </a:prstGeom>
                    </p:spPr>
                  </p:pic>
                </p:oleObj>
              </mc:Fallback>
            </mc:AlternateContent>
          </a:graphicData>
        </a:graphic>
      </p:graphicFrame>
      <p:pic>
        <p:nvPicPr>
          <p:cNvPr id="23" name="Billede 3" descr="Logo_gray.png">
            <a:extLst>
              <a:ext uri="{FF2B5EF4-FFF2-40B4-BE49-F238E27FC236}">
                <a16:creationId xmlns:a16="http://schemas.microsoft.com/office/drawing/2014/main" id="{A2737C24-37BE-43DF-A4C8-77139A41F11B}"/>
              </a:ext>
            </a:extLst>
          </p:cNvPr>
          <p:cNvPicPr>
            <a:picLocks noChangeAspect="1"/>
          </p:cNvPicPr>
          <p:nvPr userDrawn="1"/>
        </p:nvPicPr>
        <p:blipFill>
          <a:blip r:embed="rId5" cstate="print"/>
          <a:stretch>
            <a:fillRect/>
          </a:stretch>
        </p:blipFill>
        <p:spPr>
          <a:xfrm>
            <a:off x="4353109" y="3875446"/>
            <a:ext cx="4981852" cy="3996406"/>
          </a:xfrm>
          <a:prstGeom prst="rect">
            <a:avLst/>
          </a:prstGeom>
        </p:spPr>
      </p:pic>
      <p:pic>
        <p:nvPicPr>
          <p:cNvPr id="24" name="Billede 4" descr="RFC3-ScanMed_medium.JPG">
            <a:extLst>
              <a:ext uri="{FF2B5EF4-FFF2-40B4-BE49-F238E27FC236}">
                <a16:creationId xmlns:a16="http://schemas.microsoft.com/office/drawing/2014/main" id="{4EEFE208-801A-4C85-85E9-C8F4645CA7F0}"/>
              </a:ext>
            </a:extLst>
          </p:cNvPr>
          <p:cNvPicPr/>
          <p:nvPr userDrawn="1"/>
        </p:nvPicPr>
        <p:blipFill>
          <a:blip r:embed="rId6" cstate="print"/>
          <a:stretch>
            <a:fillRect/>
          </a:stretch>
        </p:blipFill>
        <p:spPr>
          <a:xfrm>
            <a:off x="6588014" y="476672"/>
            <a:ext cx="2746947" cy="672028"/>
          </a:xfrm>
          <a:prstGeom prst="rect">
            <a:avLst/>
          </a:prstGeom>
        </p:spPr>
      </p:pic>
      <p:grpSp>
        <p:nvGrpSpPr>
          <p:cNvPr id="26" name="Group 2">
            <a:extLst>
              <a:ext uri="{FF2B5EF4-FFF2-40B4-BE49-F238E27FC236}">
                <a16:creationId xmlns:a16="http://schemas.microsoft.com/office/drawing/2014/main" id="{BDF30C32-E497-4962-B9D3-0E77F8DB4CA9}"/>
              </a:ext>
            </a:extLst>
          </p:cNvPr>
          <p:cNvGrpSpPr>
            <a:grpSpLocks noChangeAspect="1"/>
          </p:cNvGrpSpPr>
          <p:nvPr userDrawn="1"/>
        </p:nvGrpSpPr>
        <p:grpSpPr bwMode="auto">
          <a:xfrm>
            <a:off x="740176" y="3447346"/>
            <a:ext cx="8536894" cy="53975"/>
            <a:chOff x="2241" y="2818"/>
            <a:chExt cx="6887" cy="85"/>
          </a:xfrm>
        </p:grpSpPr>
        <p:sp>
          <p:nvSpPr>
            <p:cNvPr id="27" name="Rectangle 3">
              <a:extLst>
                <a:ext uri="{FF2B5EF4-FFF2-40B4-BE49-F238E27FC236}">
                  <a16:creationId xmlns:a16="http://schemas.microsoft.com/office/drawing/2014/main" id="{7B802CF8-5F7B-45E7-A1DD-98D6A1036E92}"/>
                </a:ext>
              </a:extLst>
            </p:cNvPr>
            <p:cNvSpPr>
              <a:spLocks noChangeArrowheads="1"/>
            </p:cNvSpPr>
            <p:nvPr/>
          </p:nvSpPr>
          <p:spPr bwMode="auto">
            <a:xfrm>
              <a:off x="4621" y="2818"/>
              <a:ext cx="2028" cy="85"/>
            </a:xfrm>
            <a:prstGeom prst="rect">
              <a:avLst/>
            </a:prstGeom>
            <a:solidFill>
              <a:srgbClr val="00B2B4"/>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8" name="Rectangle 4">
              <a:extLst>
                <a:ext uri="{FF2B5EF4-FFF2-40B4-BE49-F238E27FC236}">
                  <a16:creationId xmlns:a16="http://schemas.microsoft.com/office/drawing/2014/main" id="{CC4AE02E-6B47-4661-B8AC-F255791A89FB}"/>
                </a:ext>
              </a:extLst>
            </p:cNvPr>
            <p:cNvSpPr>
              <a:spLocks noChangeArrowheads="1"/>
            </p:cNvSpPr>
            <p:nvPr/>
          </p:nvSpPr>
          <p:spPr bwMode="auto">
            <a:xfrm>
              <a:off x="2241" y="2818"/>
              <a:ext cx="2354" cy="85"/>
            </a:xfrm>
            <a:prstGeom prst="rect">
              <a:avLst/>
            </a:prstGeom>
            <a:solidFill>
              <a:srgbClr val="00ACE1"/>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9" name="Rectangle 5">
              <a:extLst>
                <a:ext uri="{FF2B5EF4-FFF2-40B4-BE49-F238E27FC236}">
                  <a16:creationId xmlns:a16="http://schemas.microsoft.com/office/drawing/2014/main" id="{86B75A4E-F586-4729-8711-D74FAFD759BE}"/>
                </a:ext>
              </a:extLst>
            </p:cNvPr>
            <p:cNvSpPr>
              <a:spLocks noChangeArrowheads="1"/>
            </p:cNvSpPr>
            <p:nvPr/>
          </p:nvSpPr>
          <p:spPr bwMode="auto">
            <a:xfrm>
              <a:off x="6675" y="2818"/>
              <a:ext cx="1553" cy="85"/>
            </a:xfrm>
            <a:prstGeom prst="rect">
              <a:avLst/>
            </a:prstGeom>
            <a:solidFill>
              <a:srgbClr val="7FC00F"/>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30" name="Rectangle 6">
              <a:extLst>
                <a:ext uri="{FF2B5EF4-FFF2-40B4-BE49-F238E27FC236}">
                  <a16:creationId xmlns:a16="http://schemas.microsoft.com/office/drawing/2014/main" id="{82997C06-6961-43E8-B05E-1851DCA94C85}"/>
                </a:ext>
              </a:extLst>
            </p:cNvPr>
            <p:cNvSpPr>
              <a:spLocks noChangeArrowheads="1"/>
            </p:cNvSpPr>
            <p:nvPr/>
          </p:nvSpPr>
          <p:spPr bwMode="auto">
            <a:xfrm>
              <a:off x="8255" y="2818"/>
              <a:ext cx="873" cy="85"/>
            </a:xfrm>
            <a:prstGeom prst="rect">
              <a:avLst/>
            </a:prstGeom>
            <a:solidFill>
              <a:srgbClr val="DEDC00"/>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grpSp>
      <p:sp>
        <p:nvSpPr>
          <p:cNvPr id="34" name="Textplatzhalter 33">
            <a:extLst>
              <a:ext uri="{FF2B5EF4-FFF2-40B4-BE49-F238E27FC236}">
                <a16:creationId xmlns:a16="http://schemas.microsoft.com/office/drawing/2014/main" id="{AA842A1E-948A-48EC-A328-191DB5CD89EB}"/>
              </a:ext>
            </a:extLst>
          </p:cNvPr>
          <p:cNvSpPr>
            <a:spLocks noGrp="1"/>
          </p:cNvSpPr>
          <p:nvPr>
            <p:ph type="body" sz="quarter" idx="10" hasCustomPrompt="1"/>
          </p:nvPr>
        </p:nvSpPr>
        <p:spPr>
          <a:xfrm>
            <a:off x="740176" y="2717473"/>
            <a:ext cx="7016841" cy="575717"/>
          </a:xfrm>
          <a:prstGeom prst="rect">
            <a:avLst/>
          </a:prstGeom>
        </p:spPr>
        <p:txBody>
          <a:bodyPr/>
          <a:lstStyle>
            <a:lvl1pPr marL="0" indent="0">
              <a:buNone/>
              <a:defRPr b="1"/>
            </a:lvl1pPr>
          </a:lstStyle>
          <a:p>
            <a:pPr lvl="0"/>
            <a:r>
              <a:rPr lang="de-DE"/>
              <a:t>Title</a:t>
            </a:r>
          </a:p>
        </p:txBody>
      </p:sp>
      <p:sp>
        <p:nvSpPr>
          <p:cNvPr id="35" name="Textplatzhalter 33" title="Subtitle">
            <a:extLst>
              <a:ext uri="{FF2B5EF4-FFF2-40B4-BE49-F238E27FC236}">
                <a16:creationId xmlns:a16="http://schemas.microsoft.com/office/drawing/2014/main" id="{FA14C959-36DC-41E8-BFA9-EA7C0BC8415A}"/>
              </a:ext>
            </a:extLst>
          </p:cNvPr>
          <p:cNvSpPr>
            <a:spLocks noGrp="1"/>
          </p:cNvSpPr>
          <p:nvPr>
            <p:ph type="body" sz="quarter" idx="11" hasCustomPrompt="1"/>
          </p:nvPr>
        </p:nvSpPr>
        <p:spPr>
          <a:xfrm>
            <a:off x="740176" y="3655477"/>
            <a:ext cx="7016841" cy="439941"/>
          </a:xfrm>
          <a:prstGeom prst="rect">
            <a:avLst/>
          </a:prstGeom>
        </p:spPr>
        <p:txBody>
          <a:bodyPr>
            <a:normAutofit/>
          </a:bodyPr>
          <a:lstStyle>
            <a:lvl1pPr marL="0" indent="0">
              <a:buNone/>
              <a:defRPr sz="2500" b="0"/>
            </a:lvl1pPr>
          </a:lstStyle>
          <a:p>
            <a:pPr lvl="0"/>
            <a:r>
              <a:rPr lang="de-DE" err="1"/>
              <a:t>Subtitle</a:t>
            </a:r>
            <a:endParaRPr lang="de-DE"/>
          </a:p>
        </p:txBody>
      </p:sp>
      <p:sp>
        <p:nvSpPr>
          <p:cNvPr id="36" name="Textplatzhalter 33" title="Subtitle">
            <a:extLst>
              <a:ext uri="{FF2B5EF4-FFF2-40B4-BE49-F238E27FC236}">
                <a16:creationId xmlns:a16="http://schemas.microsoft.com/office/drawing/2014/main" id="{D4D9714C-3D56-488F-8BF9-61D03CA7DA46}"/>
              </a:ext>
            </a:extLst>
          </p:cNvPr>
          <p:cNvSpPr>
            <a:spLocks noGrp="1"/>
          </p:cNvSpPr>
          <p:nvPr>
            <p:ph type="body" sz="quarter" idx="12" hasCustomPrompt="1"/>
          </p:nvPr>
        </p:nvSpPr>
        <p:spPr>
          <a:xfrm>
            <a:off x="740175" y="4527466"/>
            <a:ext cx="7016841" cy="341925"/>
          </a:xfrm>
          <a:prstGeom prst="rect">
            <a:avLst/>
          </a:prstGeom>
        </p:spPr>
        <p:txBody>
          <a:bodyPr>
            <a:normAutofit/>
          </a:bodyPr>
          <a:lstStyle>
            <a:lvl1pPr marL="0" indent="0">
              <a:buNone/>
              <a:defRPr sz="1800" b="0"/>
            </a:lvl1pPr>
          </a:lstStyle>
          <a:p>
            <a:pPr lvl="0"/>
            <a:r>
              <a:rPr lang="de-DE"/>
              <a:t>Location/Meeting Information</a:t>
            </a:r>
          </a:p>
        </p:txBody>
      </p:sp>
      <p:sp>
        <p:nvSpPr>
          <p:cNvPr id="40" name="Textplatzhalter 33" title="Subtitle">
            <a:extLst>
              <a:ext uri="{FF2B5EF4-FFF2-40B4-BE49-F238E27FC236}">
                <a16:creationId xmlns:a16="http://schemas.microsoft.com/office/drawing/2014/main" id="{BD7EDD23-0E2C-4A22-9AF3-6482A755A5F6}"/>
              </a:ext>
            </a:extLst>
          </p:cNvPr>
          <p:cNvSpPr>
            <a:spLocks noGrp="1"/>
          </p:cNvSpPr>
          <p:nvPr>
            <p:ph type="body" sz="quarter" idx="13" hasCustomPrompt="1"/>
          </p:nvPr>
        </p:nvSpPr>
        <p:spPr>
          <a:xfrm>
            <a:off x="740175" y="5535578"/>
            <a:ext cx="7016841" cy="324913"/>
          </a:xfrm>
          <a:prstGeom prst="rect">
            <a:avLst/>
          </a:prstGeom>
        </p:spPr>
        <p:txBody>
          <a:bodyPr>
            <a:normAutofit/>
          </a:bodyPr>
          <a:lstStyle>
            <a:lvl1pPr marL="0" indent="0">
              <a:buNone/>
              <a:defRPr sz="1400" b="0"/>
            </a:lvl1pPr>
          </a:lstStyle>
          <a:p>
            <a:pPr lvl="0"/>
            <a:r>
              <a:rPr lang="de-DE"/>
              <a:t>Organizer</a:t>
            </a:r>
          </a:p>
        </p:txBody>
      </p:sp>
      <p:sp>
        <p:nvSpPr>
          <p:cNvPr id="41" name="Textplatzhalter 33" title="Subtitle">
            <a:extLst>
              <a:ext uri="{FF2B5EF4-FFF2-40B4-BE49-F238E27FC236}">
                <a16:creationId xmlns:a16="http://schemas.microsoft.com/office/drawing/2014/main" id="{ED16559F-CC1E-4182-9939-1229083D085F}"/>
              </a:ext>
            </a:extLst>
          </p:cNvPr>
          <p:cNvSpPr>
            <a:spLocks noGrp="1"/>
          </p:cNvSpPr>
          <p:nvPr>
            <p:ph type="body" sz="quarter" idx="14" hasCustomPrompt="1"/>
          </p:nvPr>
        </p:nvSpPr>
        <p:spPr>
          <a:xfrm>
            <a:off x="740175" y="5319554"/>
            <a:ext cx="7016841" cy="324913"/>
          </a:xfrm>
          <a:prstGeom prst="rect">
            <a:avLst/>
          </a:prstGeom>
        </p:spPr>
        <p:txBody>
          <a:bodyPr>
            <a:normAutofit/>
          </a:bodyPr>
          <a:lstStyle>
            <a:lvl1pPr marL="0" indent="0">
              <a:buNone/>
              <a:defRPr sz="1400" b="1"/>
            </a:lvl1pPr>
          </a:lstStyle>
          <a:p>
            <a:pPr lvl="0"/>
            <a:r>
              <a:rPr lang="de-DE"/>
              <a:t>Date</a:t>
            </a:r>
          </a:p>
        </p:txBody>
      </p:sp>
      <p:pic>
        <p:nvPicPr>
          <p:cNvPr id="4" name="Grafik 3">
            <a:extLst>
              <a:ext uri="{FF2B5EF4-FFF2-40B4-BE49-F238E27FC236}">
                <a16:creationId xmlns:a16="http://schemas.microsoft.com/office/drawing/2014/main" id="{60FBD9F0-EF1A-436E-AAE3-C17B1C600C5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66278" y="6093296"/>
            <a:ext cx="3526659" cy="570616"/>
          </a:xfrm>
          <a:prstGeom prst="rect">
            <a:avLst/>
          </a:prstGeom>
        </p:spPr>
      </p:pic>
    </p:spTree>
    <p:extLst>
      <p:ext uri="{BB962C8B-B14F-4D97-AF65-F5344CB8AC3E}">
        <p14:creationId xmlns:p14="http://schemas.microsoft.com/office/powerpoint/2010/main" val="36534346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26C88C0-CB8B-4524-AE36-F79B0B3B991B}"/>
              </a:ext>
            </a:extLst>
          </p:cNvPr>
          <p:cNvGraphicFramePr>
            <a:graphicFrameLocks noChangeAspect="1"/>
          </p:cNvGraphicFramePr>
          <p:nvPr userDrawn="1">
            <p:custDataLst>
              <p:tags r:id="rId1"/>
            </p:custDataLst>
          </p:nvPr>
        </p:nvGraphicFramePr>
        <p:xfrm>
          <a:off x="1719" y="1588"/>
          <a:ext cx="1720" cy="1588"/>
        </p:xfrm>
        <a:graphic>
          <a:graphicData uri="http://schemas.openxmlformats.org/presentationml/2006/ole">
            <mc:AlternateContent xmlns:mc="http://schemas.openxmlformats.org/markup-compatibility/2006">
              <mc:Choice xmlns:v="urn:schemas-microsoft-com:vml" Requires="v">
                <p:oleObj name="think-cell Folie" r:id="rId3" imgW="421" imgH="420" progId="TCLayout.ActiveDocument.1">
                  <p:embed/>
                </p:oleObj>
              </mc:Choice>
              <mc:Fallback>
                <p:oleObj name="think-cell Folie" r:id="rId3" imgW="421" imgH="420" progId="TCLayout.ActiveDocument.1">
                  <p:embed/>
                  <p:pic>
                    <p:nvPicPr>
                      <p:cNvPr id="7" name="Objekt 6" hidden="1">
                        <a:extLst>
                          <a:ext uri="{FF2B5EF4-FFF2-40B4-BE49-F238E27FC236}">
                            <a16:creationId xmlns:a16="http://schemas.microsoft.com/office/drawing/2014/main" id="{626C88C0-CB8B-4524-AE36-F79B0B3B991B}"/>
                          </a:ext>
                        </a:extLst>
                      </p:cNvPr>
                      <p:cNvPicPr/>
                      <p:nvPr/>
                    </p:nvPicPr>
                    <p:blipFill>
                      <a:blip r:embed="rId4"/>
                      <a:stretch>
                        <a:fillRect/>
                      </a:stretch>
                    </p:blipFill>
                    <p:spPr>
                      <a:xfrm>
                        <a:off x="1719" y="1588"/>
                        <a:ext cx="1720" cy="1588"/>
                      </a:xfrm>
                      <a:prstGeom prst="rect">
                        <a:avLst/>
                      </a:prstGeom>
                    </p:spPr>
                  </p:pic>
                </p:oleObj>
              </mc:Fallback>
            </mc:AlternateContent>
          </a:graphicData>
        </a:graphic>
      </p:graphicFrame>
      <p:pic>
        <p:nvPicPr>
          <p:cNvPr id="23" name="Billede 3" descr="Logo_gray.png">
            <a:extLst>
              <a:ext uri="{FF2B5EF4-FFF2-40B4-BE49-F238E27FC236}">
                <a16:creationId xmlns:a16="http://schemas.microsoft.com/office/drawing/2014/main" id="{A2737C24-37BE-43DF-A4C8-77139A41F11B}"/>
              </a:ext>
            </a:extLst>
          </p:cNvPr>
          <p:cNvPicPr>
            <a:picLocks noChangeAspect="1"/>
          </p:cNvPicPr>
          <p:nvPr userDrawn="1"/>
        </p:nvPicPr>
        <p:blipFill>
          <a:blip r:embed="rId5" cstate="print"/>
          <a:stretch>
            <a:fillRect/>
          </a:stretch>
        </p:blipFill>
        <p:spPr>
          <a:xfrm>
            <a:off x="4353109" y="3875446"/>
            <a:ext cx="4981852" cy="3996406"/>
          </a:xfrm>
          <a:prstGeom prst="rect">
            <a:avLst/>
          </a:prstGeom>
        </p:spPr>
      </p:pic>
      <p:pic>
        <p:nvPicPr>
          <p:cNvPr id="24" name="Billede 4" descr="RFC3-ScanMed_medium.JPG">
            <a:extLst>
              <a:ext uri="{FF2B5EF4-FFF2-40B4-BE49-F238E27FC236}">
                <a16:creationId xmlns:a16="http://schemas.microsoft.com/office/drawing/2014/main" id="{4EEFE208-801A-4C85-85E9-C8F4645CA7F0}"/>
              </a:ext>
            </a:extLst>
          </p:cNvPr>
          <p:cNvPicPr/>
          <p:nvPr userDrawn="1"/>
        </p:nvPicPr>
        <p:blipFill>
          <a:blip r:embed="rId6" cstate="print"/>
          <a:stretch>
            <a:fillRect/>
          </a:stretch>
        </p:blipFill>
        <p:spPr>
          <a:xfrm>
            <a:off x="6588014" y="476672"/>
            <a:ext cx="2746947" cy="672028"/>
          </a:xfrm>
          <a:prstGeom prst="rect">
            <a:avLst/>
          </a:prstGeom>
        </p:spPr>
      </p:pic>
      <p:grpSp>
        <p:nvGrpSpPr>
          <p:cNvPr id="26" name="Group 2">
            <a:extLst>
              <a:ext uri="{FF2B5EF4-FFF2-40B4-BE49-F238E27FC236}">
                <a16:creationId xmlns:a16="http://schemas.microsoft.com/office/drawing/2014/main" id="{BDF30C32-E497-4962-B9D3-0E77F8DB4CA9}"/>
              </a:ext>
            </a:extLst>
          </p:cNvPr>
          <p:cNvGrpSpPr>
            <a:grpSpLocks noChangeAspect="1"/>
          </p:cNvGrpSpPr>
          <p:nvPr userDrawn="1"/>
        </p:nvGrpSpPr>
        <p:grpSpPr bwMode="auto">
          <a:xfrm>
            <a:off x="740176" y="3447346"/>
            <a:ext cx="8536894" cy="53975"/>
            <a:chOff x="2241" y="2818"/>
            <a:chExt cx="6887" cy="85"/>
          </a:xfrm>
        </p:grpSpPr>
        <p:sp>
          <p:nvSpPr>
            <p:cNvPr id="27" name="Rectangle 3">
              <a:extLst>
                <a:ext uri="{FF2B5EF4-FFF2-40B4-BE49-F238E27FC236}">
                  <a16:creationId xmlns:a16="http://schemas.microsoft.com/office/drawing/2014/main" id="{7B802CF8-5F7B-45E7-A1DD-98D6A1036E92}"/>
                </a:ext>
              </a:extLst>
            </p:cNvPr>
            <p:cNvSpPr>
              <a:spLocks noChangeArrowheads="1"/>
            </p:cNvSpPr>
            <p:nvPr/>
          </p:nvSpPr>
          <p:spPr bwMode="auto">
            <a:xfrm>
              <a:off x="4621" y="2818"/>
              <a:ext cx="2028" cy="85"/>
            </a:xfrm>
            <a:prstGeom prst="rect">
              <a:avLst/>
            </a:prstGeom>
            <a:solidFill>
              <a:srgbClr val="00B2B4"/>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8" name="Rectangle 4">
              <a:extLst>
                <a:ext uri="{FF2B5EF4-FFF2-40B4-BE49-F238E27FC236}">
                  <a16:creationId xmlns:a16="http://schemas.microsoft.com/office/drawing/2014/main" id="{CC4AE02E-6B47-4661-B8AC-F255791A89FB}"/>
                </a:ext>
              </a:extLst>
            </p:cNvPr>
            <p:cNvSpPr>
              <a:spLocks noChangeArrowheads="1"/>
            </p:cNvSpPr>
            <p:nvPr/>
          </p:nvSpPr>
          <p:spPr bwMode="auto">
            <a:xfrm>
              <a:off x="2241" y="2818"/>
              <a:ext cx="2354" cy="85"/>
            </a:xfrm>
            <a:prstGeom prst="rect">
              <a:avLst/>
            </a:prstGeom>
            <a:solidFill>
              <a:srgbClr val="00ACE1"/>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9" name="Rectangle 5">
              <a:extLst>
                <a:ext uri="{FF2B5EF4-FFF2-40B4-BE49-F238E27FC236}">
                  <a16:creationId xmlns:a16="http://schemas.microsoft.com/office/drawing/2014/main" id="{86B75A4E-F586-4729-8711-D74FAFD759BE}"/>
                </a:ext>
              </a:extLst>
            </p:cNvPr>
            <p:cNvSpPr>
              <a:spLocks noChangeArrowheads="1"/>
            </p:cNvSpPr>
            <p:nvPr/>
          </p:nvSpPr>
          <p:spPr bwMode="auto">
            <a:xfrm>
              <a:off x="6675" y="2818"/>
              <a:ext cx="1553" cy="85"/>
            </a:xfrm>
            <a:prstGeom prst="rect">
              <a:avLst/>
            </a:prstGeom>
            <a:solidFill>
              <a:srgbClr val="7FC00F"/>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30" name="Rectangle 6">
              <a:extLst>
                <a:ext uri="{FF2B5EF4-FFF2-40B4-BE49-F238E27FC236}">
                  <a16:creationId xmlns:a16="http://schemas.microsoft.com/office/drawing/2014/main" id="{82997C06-6961-43E8-B05E-1851DCA94C85}"/>
                </a:ext>
              </a:extLst>
            </p:cNvPr>
            <p:cNvSpPr>
              <a:spLocks noChangeArrowheads="1"/>
            </p:cNvSpPr>
            <p:nvPr/>
          </p:nvSpPr>
          <p:spPr bwMode="auto">
            <a:xfrm>
              <a:off x="8255" y="2818"/>
              <a:ext cx="873" cy="85"/>
            </a:xfrm>
            <a:prstGeom prst="rect">
              <a:avLst/>
            </a:prstGeom>
            <a:solidFill>
              <a:srgbClr val="DEDC00"/>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grpSp>
      <p:sp>
        <p:nvSpPr>
          <p:cNvPr id="34" name="Textplatzhalter 33">
            <a:extLst>
              <a:ext uri="{FF2B5EF4-FFF2-40B4-BE49-F238E27FC236}">
                <a16:creationId xmlns:a16="http://schemas.microsoft.com/office/drawing/2014/main" id="{AA842A1E-948A-48EC-A328-191DB5CD89EB}"/>
              </a:ext>
            </a:extLst>
          </p:cNvPr>
          <p:cNvSpPr>
            <a:spLocks noGrp="1"/>
          </p:cNvSpPr>
          <p:nvPr>
            <p:ph type="body" sz="quarter" idx="10" hasCustomPrompt="1"/>
          </p:nvPr>
        </p:nvSpPr>
        <p:spPr>
          <a:xfrm>
            <a:off x="740176" y="2717473"/>
            <a:ext cx="7016841" cy="575717"/>
          </a:xfrm>
          <a:prstGeom prst="rect">
            <a:avLst/>
          </a:prstGeom>
        </p:spPr>
        <p:txBody>
          <a:bodyPr/>
          <a:lstStyle>
            <a:lvl1pPr marL="0" indent="0">
              <a:buNone/>
              <a:defRPr b="1"/>
            </a:lvl1pPr>
          </a:lstStyle>
          <a:p>
            <a:pPr lvl="0"/>
            <a:r>
              <a:rPr lang="de-DE"/>
              <a:t>Title</a:t>
            </a:r>
          </a:p>
        </p:txBody>
      </p:sp>
      <p:sp>
        <p:nvSpPr>
          <p:cNvPr id="35" name="Textplatzhalter 33" title="Subtitle">
            <a:extLst>
              <a:ext uri="{FF2B5EF4-FFF2-40B4-BE49-F238E27FC236}">
                <a16:creationId xmlns:a16="http://schemas.microsoft.com/office/drawing/2014/main" id="{FA14C959-36DC-41E8-BFA9-EA7C0BC8415A}"/>
              </a:ext>
            </a:extLst>
          </p:cNvPr>
          <p:cNvSpPr>
            <a:spLocks noGrp="1"/>
          </p:cNvSpPr>
          <p:nvPr>
            <p:ph type="body" sz="quarter" idx="11" hasCustomPrompt="1"/>
          </p:nvPr>
        </p:nvSpPr>
        <p:spPr>
          <a:xfrm>
            <a:off x="740176" y="3655477"/>
            <a:ext cx="7016841" cy="439941"/>
          </a:xfrm>
          <a:prstGeom prst="rect">
            <a:avLst/>
          </a:prstGeom>
        </p:spPr>
        <p:txBody>
          <a:bodyPr>
            <a:normAutofit/>
          </a:bodyPr>
          <a:lstStyle>
            <a:lvl1pPr marL="0" indent="0">
              <a:buNone/>
              <a:defRPr sz="2500" b="0"/>
            </a:lvl1pPr>
          </a:lstStyle>
          <a:p>
            <a:pPr lvl="0"/>
            <a:r>
              <a:rPr lang="de-DE" err="1"/>
              <a:t>Subtitle</a:t>
            </a:r>
            <a:endParaRPr lang="de-DE"/>
          </a:p>
        </p:txBody>
      </p:sp>
      <p:sp>
        <p:nvSpPr>
          <p:cNvPr id="36" name="Textplatzhalter 33" title="Subtitle">
            <a:extLst>
              <a:ext uri="{FF2B5EF4-FFF2-40B4-BE49-F238E27FC236}">
                <a16:creationId xmlns:a16="http://schemas.microsoft.com/office/drawing/2014/main" id="{D4D9714C-3D56-488F-8BF9-61D03CA7DA46}"/>
              </a:ext>
            </a:extLst>
          </p:cNvPr>
          <p:cNvSpPr>
            <a:spLocks noGrp="1"/>
          </p:cNvSpPr>
          <p:nvPr>
            <p:ph type="body" sz="quarter" idx="12" hasCustomPrompt="1"/>
          </p:nvPr>
        </p:nvSpPr>
        <p:spPr>
          <a:xfrm>
            <a:off x="740175" y="4527466"/>
            <a:ext cx="7016841" cy="341925"/>
          </a:xfrm>
          <a:prstGeom prst="rect">
            <a:avLst/>
          </a:prstGeom>
        </p:spPr>
        <p:txBody>
          <a:bodyPr>
            <a:normAutofit/>
          </a:bodyPr>
          <a:lstStyle>
            <a:lvl1pPr marL="0" indent="0">
              <a:buNone/>
              <a:defRPr sz="1800" b="0"/>
            </a:lvl1pPr>
          </a:lstStyle>
          <a:p>
            <a:pPr lvl="0"/>
            <a:r>
              <a:rPr lang="de-DE"/>
              <a:t>Location/Meeting Information</a:t>
            </a:r>
          </a:p>
        </p:txBody>
      </p:sp>
      <p:sp>
        <p:nvSpPr>
          <p:cNvPr id="40" name="Textplatzhalter 33" title="Subtitle">
            <a:extLst>
              <a:ext uri="{FF2B5EF4-FFF2-40B4-BE49-F238E27FC236}">
                <a16:creationId xmlns:a16="http://schemas.microsoft.com/office/drawing/2014/main" id="{BD7EDD23-0E2C-4A22-9AF3-6482A755A5F6}"/>
              </a:ext>
            </a:extLst>
          </p:cNvPr>
          <p:cNvSpPr>
            <a:spLocks noGrp="1"/>
          </p:cNvSpPr>
          <p:nvPr>
            <p:ph type="body" sz="quarter" idx="13" hasCustomPrompt="1"/>
          </p:nvPr>
        </p:nvSpPr>
        <p:spPr>
          <a:xfrm>
            <a:off x="740175" y="5535578"/>
            <a:ext cx="7016841" cy="324913"/>
          </a:xfrm>
          <a:prstGeom prst="rect">
            <a:avLst/>
          </a:prstGeom>
        </p:spPr>
        <p:txBody>
          <a:bodyPr>
            <a:normAutofit/>
          </a:bodyPr>
          <a:lstStyle>
            <a:lvl1pPr marL="0" indent="0">
              <a:buNone/>
              <a:defRPr sz="1400" b="0"/>
            </a:lvl1pPr>
          </a:lstStyle>
          <a:p>
            <a:pPr lvl="0"/>
            <a:r>
              <a:rPr lang="de-DE"/>
              <a:t>Organizer</a:t>
            </a:r>
          </a:p>
        </p:txBody>
      </p:sp>
      <p:sp>
        <p:nvSpPr>
          <p:cNvPr id="41" name="Textplatzhalter 33" title="Subtitle">
            <a:extLst>
              <a:ext uri="{FF2B5EF4-FFF2-40B4-BE49-F238E27FC236}">
                <a16:creationId xmlns:a16="http://schemas.microsoft.com/office/drawing/2014/main" id="{ED16559F-CC1E-4182-9939-1229083D085F}"/>
              </a:ext>
            </a:extLst>
          </p:cNvPr>
          <p:cNvSpPr>
            <a:spLocks noGrp="1"/>
          </p:cNvSpPr>
          <p:nvPr>
            <p:ph type="body" sz="quarter" idx="14" hasCustomPrompt="1"/>
          </p:nvPr>
        </p:nvSpPr>
        <p:spPr>
          <a:xfrm>
            <a:off x="740175" y="5319554"/>
            <a:ext cx="7016841" cy="324913"/>
          </a:xfrm>
          <a:prstGeom prst="rect">
            <a:avLst/>
          </a:prstGeom>
        </p:spPr>
        <p:txBody>
          <a:bodyPr>
            <a:normAutofit/>
          </a:bodyPr>
          <a:lstStyle>
            <a:lvl1pPr marL="0" indent="0">
              <a:buNone/>
              <a:defRPr sz="1400" b="1"/>
            </a:lvl1pPr>
          </a:lstStyle>
          <a:p>
            <a:pPr lvl="0"/>
            <a:r>
              <a:rPr lang="de-DE"/>
              <a:t>Date</a:t>
            </a:r>
          </a:p>
        </p:txBody>
      </p:sp>
      <p:pic>
        <p:nvPicPr>
          <p:cNvPr id="4" name="Grafik 3">
            <a:extLst>
              <a:ext uri="{FF2B5EF4-FFF2-40B4-BE49-F238E27FC236}">
                <a16:creationId xmlns:a16="http://schemas.microsoft.com/office/drawing/2014/main" id="{60FBD9F0-EF1A-436E-AAE3-C17B1C600C5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66278" y="6093296"/>
            <a:ext cx="3526659" cy="570616"/>
          </a:xfrm>
          <a:prstGeom prst="rect">
            <a:avLst/>
          </a:prstGeom>
        </p:spPr>
      </p:pic>
    </p:spTree>
    <p:extLst>
      <p:ext uri="{BB962C8B-B14F-4D97-AF65-F5344CB8AC3E}">
        <p14:creationId xmlns:p14="http://schemas.microsoft.com/office/powerpoint/2010/main" val="9307253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BE3776C-FDBF-4563-8B30-62E072ED903B}"/>
              </a:ext>
            </a:extLst>
          </p:cNvPr>
          <p:cNvGraphicFramePr>
            <a:graphicFrameLocks noChangeAspect="1"/>
          </p:cNvGraphicFramePr>
          <p:nvPr userDrawn="1">
            <p:custDataLst>
              <p:tags r:id="rId1"/>
            </p:custDataLst>
          </p:nvPr>
        </p:nvGraphicFramePr>
        <p:xfrm>
          <a:off x="1719" y="1588"/>
          <a:ext cx="1720"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6" name="Objekt 5" hidden="1">
                        <a:extLst>
                          <a:ext uri="{FF2B5EF4-FFF2-40B4-BE49-F238E27FC236}">
                            <a16:creationId xmlns:a16="http://schemas.microsoft.com/office/drawing/2014/main" id="{0BE3776C-FDBF-4563-8B30-62E072ED903B}"/>
                          </a:ext>
                        </a:extLst>
                      </p:cNvPr>
                      <p:cNvPicPr/>
                      <p:nvPr/>
                    </p:nvPicPr>
                    <p:blipFill>
                      <a:blip r:embed="rId5"/>
                      <a:stretch>
                        <a:fillRect/>
                      </a:stretch>
                    </p:blipFill>
                    <p:spPr>
                      <a:xfrm>
                        <a:off x="1719" y="1588"/>
                        <a:ext cx="1720" cy="1588"/>
                      </a:xfrm>
                      <a:prstGeom prst="rect">
                        <a:avLst/>
                      </a:prstGeom>
                    </p:spPr>
                  </p:pic>
                </p:oleObj>
              </mc:Fallback>
            </mc:AlternateContent>
          </a:graphicData>
        </a:graphic>
      </p:graphicFrame>
      <p:sp>
        <p:nvSpPr>
          <p:cNvPr id="13" name="Rechteck 12" hidden="1">
            <a:extLst>
              <a:ext uri="{FF2B5EF4-FFF2-40B4-BE49-F238E27FC236}">
                <a16:creationId xmlns:a16="http://schemas.microsoft.com/office/drawing/2014/main" id="{5C401561-6A58-4943-BC48-F5A6EF61D640}"/>
              </a:ext>
            </a:extLst>
          </p:cNvPr>
          <p:cNvSpPr/>
          <p:nvPr userDrawn="1">
            <p:custDataLst>
              <p:tags r:id="rId2"/>
            </p:custDataLst>
          </p:nvPr>
        </p:nvSpPr>
        <p:spPr>
          <a:xfrm>
            <a:off x="0" y="0"/>
            <a:ext cx="171896"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a:latin typeface="Calibri" panose="020F0502020204030204" pitchFamily="34" charset="0"/>
              <a:ea typeface="+mn-ea"/>
              <a:cs typeface="+mn-cs"/>
              <a:sym typeface="Calibri" panose="020F0502020204030204" pitchFamily="34" charset="0"/>
            </a:endParaRPr>
          </a:p>
        </p:txBody>
      </p:sp>
      <p:sp>
        <p:nvSpPr>
          <p:cNvPr id="8" name="Inhaltsplatzhalter 7">
            <a:extLst>
              <a:ext uri="{FF2B5EF4-FFF2-40B4-BE49-F238E27FC236}">
                <a16:creationId xmlns:a16="http://schemas.microsoft.com/office/drawing/2014/main" id="{CD991232-A066-4DF5-8907-14473F8D31B7}"/>
              </a:ext>
            </a:extLst>
          </p:cNvPr>
          <p:cNvSpPr>
            <a:spLocks noGrp="1"/>
          </p:cNvSpPr>
          <p:nvPr>
            <p:ph sz="quarter" idx="13" hasCustomPrompt="1"/>
          </p:nvPr>
        </p:nvSpPr>
        <p:spPr>
          <a:xfrm>
            <a:off x="680710" y="1125538"/>
            <a:ext cx="8725466" cy="5111750"/>
          </a:xfrm>
          <a:prstGeom prst="rect">
            <a:avLst/>
          </a:prstGeom>
        </p:spPr>
        <p:txBody>
          <a:bodyPr/>
          <a:lstStyle>
            <a:lvl1pPr>
              <a:defRPr sz="1800"/>
            </a:lvl1pPr>
            <a:lvl2pPr>
              <a:defRPr sz="1800"/>
            </a:lvl2pPr>
            <a:lvl3pPr>
              <a:defRPr sz="1800"/>
            </a:lvl3pPr>
            <a:lvl4pPr>
              <a:defRPr sz="1800"/>
            </a:lvl4pPr>
            <a:lvl5pPr>
              <a:defRPr sz="1800"/>
            </a:lvl5pPr>
          </a:lstStyle>
          <a:p>
            <a:pPr lvl="0"/>
            <a:r>
              <a:rPr lang="de-DE"/>
              <a:t>Enter Content</a:t>
            </a:r>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12" name="Titel 11">
            <a:extLst>
              <a:ext uri="{FF2B5EF4-FFF2-40B4-BE49-F238E27FC236}">
                <a16:creationId xmlns:a16="http://schemas.microsoft.com/office/drawing/2014/main" id="{A9B7AC91-3DD5-4E76-996B-7E8B7563FAD4}"/>
              </a:ext>
            </a:extLst>
          </p:cNvPr>
          <p:cNvSpPr>
            <a:spLocks noGrp="1"/>
          </p:cNvSpPr>
          <p:nvPr>
            <p:ph type="title" hasCustomPrompt="1"/>
          </p:nvPr>
        </p:nvSpPr>
        <p:spPr/>
        <p:txBody>
          <a:bodyPr/>
          <a:lstStyle>
            <a:lvl1pPr>
              <a:defRPr/>
            </a:lvl1pPr>
          </a:lstStyle>
          <a:p>
            <a:r>
              <a:rPr lang="de-DE"/>
              <a:t>Title</a:t>
            </a:r>
          </a:p>
        </p:txBody>
      </p:sp>
      <p:sp>
        <p:nvSpPr>
          <p:cNvPr id="2" name="Foliennummernplatzhalter 1">
            <a:extLst>
              <a:ext uri="{FF2B5EF4-FFF2-40B4-BE49-F238E27FC236}">
                <a16:creationId xmlns:a16="http://schemas.microsoft.com/office/drawing/2014/main" id="{15A4FAA9-BD39-44B6-AD3E-2F110DDE30F4}"/>
              </a:ext>
            </a:extLst>
          </p:cNvPr>
          <p:cNvSpPr>
            <a:spLocks noGrp="1"/>
          </p:cNvSpPr>
          <p:nvPr>
            <p:ph type="sldNum" sz="quarter" idx="14"/>
          </p:nvPr>
        </p:nvSpPr>
        <p:spPr/>
        <p:txBody>
          <a:bodyPr/>
          <a:lstStyle/>
          <a:p>
            <a:fld id="{7B8E2B6B-92C8-4058-B5A5-20555B1EC8E1}" type="slidenum">
              <a:rPr lang="da-DK" smtClean="0"/>
              <a:pPr/>
              <a:t>‹#›</a:t>
            </a:fld>
            <a:endParaRPr lang="da-DK"/>
          </a:p>
        </p:txBody>
      </p:sp>
    </p:spTree>
    <p:extLst>
      <p:ext uri="{BB962C8B-B14F-4D97-AF65-F5344CB8AC3E}">
        <p14:creationId xmlns:p14="http://schemas.microsoft.com/office/powerpoint/2010/main" val="7078014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26C88C0-CB8B-4524-AE36-F79B0B3B991B}"/>
              </a:ext>
            </a:extLst>
          </p:cNvPr>
          <p:cNvGraphicFramePr>
            <a:graphicFrameLocks noChangeAspect="1"/>
          </p:cNvGraphicFramePr>
          <p:nvPr userDrawn="1">
            <p:custDataLst>
              <p:tags r:id="rId1"/>
            </p:custDataLst>
          </p:nvPr>
        </p:nvGraphicFramePr>
        <p:xfrm>
          <a:off x="1719" y="1588"/>
          <a:ext cx="1720" cy="1588"/>
        </p:xfrm>
        <a:graphic>
          <a:graphicData uri="http://schemas.openxmlformats.org/presentationml/2006/ole">
            <mc:AlternateContent xmlns:mc="http://schemas.openxmlformats.org/markup-compatibility/2006">
              <mc:Choice xmlns:v="urn:schemas-microsoft-com:vml" Requires="v">
                <p:oleObj name="think-cell Folie" r:id="rId3" imgW="421" imgH="420" progId="TCLayout.ActiveDocument.1">
                  <p:embed/>
                </p:oleObj>
              </mc:Choice>
              <mc:Fallback>
                <p:oleObj name="think-cell Folie" r:id="rId3" imgW="421" imgH="420" progId="TCLayout.ActiveDocument.1">
                  <p:embed/>
                  <p:pic>
                    <p:nvPicPr>
                      <p:cNvPr id="7" name="Objekt 6" hidden="1">
                        <a:extLst>
                          <a:ext uri="{FF2B5EF4-FFF2-40B4-BE49-F238E27FC236}">
                            <a16:creationId xmlns:a16="http://schemas.microsoft.com/office/drawing/2014/main" id="{626C88C0-CB8B-4524-AE36-F79B0B3B991B}"/>
                          </a:ext>
                        </a:extLst>
                      </p:cNvPr>
                      <p:cNvPicPr/>
                      <p:nvPr/>
                    </p:nvPicPr>
                    <p:blipFill>
                      <a:blip r:embed="rId4"/>
                      <a:stretch>
                        <a:fillRect/>
                      </a:stretch>
                    </p:blipFill>
                    <p:spPr>
                      <a:xfrm>
                        <a:off x="1719" y="1588"/>
                        <a:ext cx="1720" cy="1588"/>
                      </a:xfrm>
                      <a:prstGeom prst="rect">
                        <a:avLst/>
                      </a:prstGeom>
                    </p:spPr>
                  </p:pic>
                </p:oleObj>
              </mc:Fallback>
            </mc:AlternateContent>
          </a:graphicData>
        </a:graphic>
      </p:graphicFrame>
      <p:pic>
        <p:nvPicPr>
          <p:cNvPr id="23" name="Billede 3" descr="Logo_gray.png">
            <a:extLst>
              <a:ext uri="{FF2B5EF4-FFF2-40B4-BE49-F238E27FC236}">
                <a16:creationId xmlns:a16="http://schemas.microsoft.com/office/drawing/2014/main" id="{A2737C24-37BE-43DF-A4C8-77139A41F11B}"/>
              </a:ext>
            </a:extLst>
          </p:cNvPr>
          <p:cNvPicPr>
            <a:picLocks noChangeAspect="1"/>
          </p:cNvPicPr>
          <p:nvPr userDrawn="1"/>
        </p:nvPicPr>
        <p:blipFill>
          <a:blip r:embed="rId5" cstate="print"/>
          <a:stretch>
            <a:fillRect/>
          </a:stretch>
        </p:blipFill>
        <p:spPr>
          <a:xfrm>
            <a:off x="4353109" y="3875446"/>
            <a:ext cx="4981852" cy="3996406"/>
          </a:xfrm>
          <a:prstGeom prst="rect">
            <a:avLst/>
          </a:prstGeom>
        </p:spPr>
      </p:pic>
      <p:pic>
        <p:nvPicPr>
          <p:cNvPr id="24" name="Billede 4" descr="RFC3-ScanMed_medium.JPG">
            <a:extLst>
              <a:ext uri="{FF2B5EF4-FFF2-40B4-BE49-F238E27FC236}">
                <a16:creationId xmlns:a16="http://schemas.microsoft.com/office/drawing/2014/main" id="{4EEFE208-801A-4C85-85E9-C8F4645CA7F0}"/>
              </a:ext>
            </a:extLst>
          </p:cNvPr>
          <p:cNvPicPr/>
          <p:nvPr userDrawn="1"/>
        </p:nvPicPr>
        <p:blipFill>
          <a:blip r:embed="rId6" cstate="print"/>
          <a:stretch>
            <a:fillRect/>
          </a:stretch>
        </p:blipFill>
        <p:spPr>
          <a:xfrm>
            <a:off x="6588014" y="476672"/>
            <a:ext cx="2746947" cy="672028"/>
          </a:xfrm>
          <a:prstGeom prst="rect">
            <a:avLst/>
          </a:prstGeom>
        </p:spPr>
      </p:pic>
      <p:grpSp>
        <p:nvGrpSpPr>
          <p:cNvPr id="26" name="Group 2">
            <a:extLst>
              <a:ext uri="{FF2B5EF4-FFF2-40B4-BE49-F238E27FC236}">
                <a16:creationId xmlns:a16="http://schemas.microsoft.com/office/drawing/2014/main" id="{BDF30C32-E497-4962-B9D3-0E77F8DB4CA9}"/>
              </a:ext>
            </a:extLst>
          </p:cNvPr>
          <p:cNvGrpSpPr>
            <a:grpSpLocks noChangeAspect="1"/>
          </p:cNvGrpSpPr>
          <p:nvPr userDrawn="1"/>
        </p:nvGrpSpPr>
        <p:grpSpPr bwMode="auto">
          <a:xfrm>
            <a:off x="740176" y="3447346"/>
            <a:ext cx="8536894" cy="53975"/>
            <a:chOff x="2241" y="2818"/>
            <a:chExt cx="6887" cy="85"/>
          </a:xfrm>
        </p:grpSpPr>
        <p:sp>
          <p:nvSpPr>
            <p:cNvPr id="27" name="Rectangle 3">
              <a:extLst>
                <a:ext uri="{FF2B5EF4-FFF2-40B4-BE49-F238E27FC236}">
                  <a16:creationId xmlns:a16="http://schemas.microsoft.com/office/drawing/2014/main" id="{7B802CF8-5F7B-45E7-A1DD-98D6A1036E92}"/>
                </a:ext>
              </a:extLst>
            </p:cNvPr>
            <p:cNvSpPr>
              <a:spLocks noChangeArrowheads="1"/>
            </p:cNvSpPr>
            <p:nvPr/>
          </p:nvSpPr>
          <p:spPr bwMode="auto">
            <a:xfrm>
              <a:off x="4621" y="2818"/>
              <a:ext cx="2028" cy="85"/>
            </a:xfrm>
            <a:prstGeom prst="rect">
              <a:avLst/>
            </a:prstGeom>
            <a:solidFill>
              <a:srgbClr val="00B2B4"/>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8" name="Rectangle 4">
              <a:extLst>
                <a:ext uri="{FF2B5EF4-FFF2-40B4-BE49-F238E27FC236}">
                  <a16:creationId xmlns:a16="http://schemas.microsoft.com/office/drawing/2014/main" id="{CC4AE02E-6B47-4661-B8AC-F255791A89FB}"/>
                </a:ext>
              </a:extLst>
            </p:cNvPr>
            <p:cNvSpPr>
              <a:spLocks noChangeArrowheads="1"/>
            </p:cNvSpPr>
            <p:nvPr/>
          </p:nvSpPr>
          <p:spPr bwMode="auto">
            <a:xfrm>
              <a:off x="2241" y="2818"/>
              <a:ext cx="2354" cy="85"/>
            </a:xfrm>
            <a:prstGeom prst="rect">
              <a:avLst/>
            </a:prstGeom>
            <a:solidFill>
              <a:srgbClr val="00ACE1"/>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9" name="Rectangle 5">
              <a:extLst>
                <a:ext uri="{FF2B5EF4-FFF2-40B4-BE49-F238E27FC236}">
                  <a16:creationId xmlns:a16="http://schemas.microsoft.com/office/drawing/2014/main" id="{86B75A4E-F586-4729-8711-D74FAFD759BE}"/>
                </a:ext>
              </a:extLst>
            </p:cNvPr>
            <p:cNvSpPr>
              <a:spLocks noChangeArrowheads="1"/>
            </p:cNvSpPr>
            <p:nvPr/>
          </p:nvSpPr>
          <p:spPr bwMode="auto">
            <a:xfrm>
              <a:off x="6675" y="2818"/>
              <a:ext cx="1553" cy="85"/>
            </a:xfrm>
            <a:prstGeom prst="rect">
              <a:avLst/>
            </a:prstGeom>
            <a:solidFill>
              <a:srgbClr val="7FC00F"/>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30" name="Rectangle 6">
              <a:extLst>
                <a:ext uri="{FF2B5EF4-FFF2-40B4-BE49-F238E27FC236}">
                  <a16:creationId xmlns:a16="http://schemas.microsoft.com/office/drawing/2014/main" id="{82997C06-6961-43E8-B05E-1851DCA94C85}"/>
                </a:ext>
              </a:extLst>
            </p:cNvPr>
            <p:cNvSpPr>
              <a:spLocks noChangeArrowheads="1"/>
            </p:cNvSpPr>
            <p:nvPr/>
          </p:nvSpPr>
          <p:spPr bwMode="auto">
            <a:xfrm>
              <a:off x="8255" y="2818"/>
              <a:ext cx="873" cy="85"/>
            </a:xfrm>
            <a:prstGeom prst="rect">
              <a:avLst/>
            </a:prstGeom>
            <a:solidFill>
              <a:srgbClr val="DEDC00"/>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grpSp>
      <p:sp>
        <p:nvSpPr>
          <p:cNvPr id="34" name="Textplatzhalter 33">
            <a:extLst>
              <a:ext uri="{FF2B5EF4-FFF2-40B4-BE49-F238E27FC236}">
                <a16:creationId xmlns:a16="http://schemas.microsoft.com/office/drawing/2014/main" id="{AA842A1E-948A-48EC-A328-191DB5CD89EB}"/>
              </a:ext>
            </a:extLst>
          </p:cNvPr>
          <p:cNvSpPr>
            <a:spLocks noGrp="1"/>
          </p:cNvSpPr>
          <p:nvPr>
            <p:ph type="body" sz="quarter" idx="10" hasCustomPrompt="1"/>
          </p:nvPr>
        </p:nvSpPr>
        <p:spPr>
          <a:xfrm>
            <a:off x="740176" y="2717473"/>
            <a:ext cx="7016841" cy="575717"/>
          </a:xfrm>
          <a:prstGeom prst="rect">
            <a:avLst/>
          </a:prstGeom>
        </p:spPr>
        <p:txBody>
          <a:bodyPr/>
          <a:lstStyle>
            <a:lvl1pPr marL="0" indent="0">
              <a:buNone/>
              <a:defRPr b="1"/>
            </a:lvl1pPr>
          </a:lstStyle>
          <a:p>
            <a:pPr lvl="0"/>
            <a:r>
              <a:rPr lang="en-US" noProof="0"/>
              <a:t>Title Subchapter</a:t>
            </a:r>
          </a:p>
        </p:txBody>
      </p:sp>
      <p:sp>
        <p:nvSpPr>
          <p:cNvPr id="35" name="Textplatzhalter 33" title="Subtitle">
            <a:extLst>
              <a:ext uri="{FF2B5EF4-FFF2-40B4-BE49-F238E27FC236}">
                <a16:creationId xmlns:a16="http://schemas.microsoft.com/office/drawing/2014/main" id="{FA14C959-36DC-41E8-BFA9-EA7C0BC8415A}"/>
              </a:ext>
            </a:extLst>
          </p:cNvPr>
          <p:cNvSpPr>
            <a:spLocks noGrp="1"/>
          </p:cNvSpPr>
          <p:nvPr>
            <p:ph type="body" sz="quarter" idx="11" hasCustomPrompt="1"/>
          </p:nvPr>
        </p:nvSpPr>
        <p:spPr>
          <a:xfrm>
            <a:off x="740176" y="3655477"/>
            <a:ext cx="7016841" cy="439941"/>
          </a:xfrm>
          <a:prstGeom prst="rect">
            <a:avLst/>
          </a:prstGeom>
        </p:spPr>
        <p:txBody>
          <a:bodyPr>
            <a:normAutofit/>
          </a:bodyPr>
          <a:lstStyle>
            <a:lvl1pPr marL="0" indent="0">
              <a:buNone/>
              <a:defRPr sz="2500" b="0"/>
            </a:lvl1pPr>
          </a:lstStyle>
          <a:p>
            <a:pPr lvl="0"/>
            <a:r>
              <a:rPr lang="en-US" noProof="0"/>
              <a:t>Subtitle Subchapter</a:t>
            </a:r>
          </a:p>
        </p:txBody>
      </p:sp>
    </p:spTree>
    <p:extLst>
      <p:ext uri="{BB962C8B-B14F-4D97-AF65-F5344CB8AC3E}">
        <p14:creationId xmlns:p14="http://schemas.microsoft.com/office/powerpoint/2010/main" val="30168680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26C88C0-CB8B-4524-AE36-F79B0B3B991B}"/>
              </a:ext>
            </a:extLst>
          </p:cNvPr>
          <p:cNvGraphicFramePr>
            <a:graphicFrameLocks noChangeAspect="1"/>
          </p:cNvGraphicFramePr>
          <p:nvPr userDrawn="1">
            <p:custDataLst>
              <p:tags r:id="rId1"/>
            </p:custDataLst>
          </p:nvPr>
        </p:nvGraphicFramePr>
        <p:xfrm>
          <a:off x="1719" y="1588"/>
          <a:ext cx="1720" cy="1588"/>
        </p:xfrm>
        <a:graphic>
          <a:graphicData uri="http://schemas.openxmlformats.org/presentationml/2006/ole">
            <mc:AlternateContent xmlns:mc="http://schemas.openxmlformats.org/markup-compatibility/2006">
              <mc:Choice xmlns:v="urn:schemas-microsoft-com:vml" Requires="v">
                <p:oleObj name="think-cell Folie" r:id="rId3" imgW="421" imgH="420" progId="TCLayout.ActiveDocument.1">
                  <p:embed/>
                </p:oleObj>
              </mc:Choice>
              <mc:Fallback>
                <p:oleObj name="think-cell Folie" r:id="rId3" imgW="421" imgH="420" progId="TCLayout.ActiveDocument.1">
                  <p:embed/>
                  <p:pic>
                    <p:nvPicPr>
                      <p:cNvPr id="7" name="Objekt 6" hidden="1">
                        <a:extLst>
                          <a:ext uri="{FF2B5EF4-FFF2-40B4-BE49-F238E27FC236}">
                            <a16:creationId xmlns:a16="http://schemas.microsoft.com/office/drawing/2014/main" id="{626C88C0-CB8B-4524-AE36-F79B0B3B991B}"/>
                          </a:ext>
                        </a:extLst>
                      </p:cNvPr>
                      <p:cNvPicPr/>
                      <p:nvPr/>
                    </p:nvPicPr>
                    <p:blipFill>
                      <a:blip r:embed="rId4"/>
                      <a:stretch>
                        <a:fillRect/>
                      </a:stretch>
                    </p:blipFill>
                    <p:spPr>
                      <a:xfrm>
                        <a:off x="1719" y="1588"/>
                        <a:ext cx="1720" cy="1588"/>
                      </a:xfrm>
                      <a:prstGeom prst="rect">
                        <a:avLst/>
                      </a:prstGeom>
                    </p:spPr>
                  </p:pic>
                </p:oleObj>
              </mc:Fallback>
            </mc:AlternateContent>
          </a:graphicData>
        </a:graphic>
      </p:graphicFrame>
      <p:pic>
        <p:nvPicPr>
          <p:cNvPr id="23" name="Billede 3" descr="Logo_gray.png">
            <a:extLst>
              <a:ext uri="{FF2B5EF4-FFF2-40B4-BE49-F238E27FC236}">
                <a16:creationId xmlns:a16="http://schemas.microsoft.com/office/drawing/2014/main" id="{A2737C24-37BE-43DF-A4C8-77139A41F11B}"/>
              </a:ext>
            </a:extLst>
          </p:cNvPr>
          <p:cNvPicPr>
            <a:picLocks noChangeAspect="1"/>
          </p:cNvPicPr>
          <p:nvPr userDrawn="1"/>
        </p:nvPicPr>
        <p:blipFill>
          <a:blip r:embed="rId5" cstate="print"/>
          <a:stretch>
            <a:fillRect/>
          </a:stretch>
        </p:blipFill>
        <p:spPr>
          <a:xfrm>
            <a:off x="4353109" y="3875446"/>
            <a:ext cx="4981852" cy="3996406"/>
          </a:xfrm>
          <a:prstGeom prst="rect">
            <a:avLst/>
          </a:prstGeom>
        </p:spPr>
      </p:pic>
      <p:pic>
        <p:nvPicPr>
          <p:cNvPr id="24" name="Billede 4" descr="RFC3-ScanMed_medium.JPG">
            <a:extLst>
              <a:ext uri="{FF2B5EF4-FFF2-40B4-BE49-F238E27FC236}">
                <a16:creationId xmlns:a16="http://schemas.microsoft.com/office/drawing/2014/main" id="{4EEFE208-801A-4C85-85E9-C8F4645CA7F0}"/>
              </a:ext>
            </a:extLst>
          </p:cNvPr>
          <p:cNvPicPr/>
          <p:nvPr userDrawn="1"/>
        </p:nvPicPr>
        <p:blipFill>
          <a:blip r:embed="rId6" cstate="print"/>
          <a:stretch>
            <a:fillRect/>
          </a:stretch>
        </p:blipFill>
        <p:spPr>
          <a:xfrm>
            <a:off x="6588014" y="476672"/>
            <a:ext cx="2746947" cy="672028"/>
          </a:xfrm>
          <a:prstGeom prst="rect">
            <a:avLst/>
          </a:prstGeom>
        </p:spPr>
      </p:pic>
      <p:grpSp>
        <p:nvGrpSpPr>
          <p:cNvPr id="26" name="Group 2">
            <a:extLst>
              <a:ext uri="{FF2B5EF4-FFF2-40B4-BE49-F238E27FC236}">
                <a16:creationId xmlns:a16="http://schemas.microsoft.com/office/drawing/2014/main" id="{BDF30C32-E497-4962-B9D3-0E77F8DB4CA9}"/>
              </a:ext>
            </a:extLst>
          </p:cNvPr>
          <p:cNvGrpSpPr>
            <a:grpSpLocks noChangeAspect="1"/>
          </p:cNvGrpSpPr>
          <p:nvPr userDrawn="1"/>
        </p:nvGrpSpPr>
        <p:grpSpPr bwMode="auto">
          <a:xfrm>
            <a:off x="740176" y="3447346"/>
            <a:ext cx="8536894" cy="53975"/>
            <a:chOff x="2241" y="2818"/>
            <a:chExt cx="6887" cy="85"/>
          </a:xfrm>
        </p:grpSpPr>
        <p:sp>
          <p:nvSpPr>
            <p:cNvPr id="27" name="Rectangle 3">
              <a:extLst>
                <a:ext uri="{FF2B5EF4-FFF2-40B4-BE49-F238E27FC236}">
                  <a16:creationId xmlns:a16="http://schemas.microsoft.com/office/drawing/2014/main" id="{7B802CF8-5F7B-45E7-A1DD-98D6A1036E92}"/>
                </a:ext>
              </a:extLst>
            </p:cNvPr>
            <p:cNvSpPr>
              <a:spLocks noChangeArrowheads="1"/>
            </p:cNvSpPr>
            <p:nvPr/>
          </p:nvSpPr>
          <p:spPr bwMode="auto">
            <a:xfrm>
              <a:off x="4621" y="2818"/>
              <a:ext cx="2028" cy="85"/>
            </a:xfrm>
            <a:prstGeom prst="rect">
              <a:avLst/>
            </a:prstGeom>
            <a:solidFill>
              <a:srgbClr val="00B2B4"/>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8" name="Rectangle 4">
              <a:extLst>
                <a:ext uri="{FF2B5EF4-FFF2-40B4-BE49-F238E27FC236}">
                  <a16:creationId xmlns:a16="http://schemas.microsoft.com/office/drawing/2014/main" id="{CC4AE02E-6B47-4661-B8AC-F255791A89FB}"/>
                </a:ext>
              </a:extLst>
            </p:cNvPr>
            <p:cNvSpPr>
              <a:spLocks noChangeArrowheads="1"/>
            </p:cNvSpPr>
            <p:nvPr/>
          </p:nvSpPr>
          <p:spPr bwMode="auto">
            <a:xfrm>
              <a:off x="2241" y="2818"/>
              <a:ext cx="2354" cy="85"/>
            </a:xfrm>
            <a:prstGeom prst="rect">
              <a:avLst/>
            </a:prstGeom>
            <a:solidFill>
              <a:srgbClr val="00ACE1"/>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9" name="Rectangle 5">
              <a:extLst>
                <a:ext uri="{FF2B5EF4-FFF2-40B4-BE49-F238E27FC236}">
                  <a16:creationId xmlns:a16="http://schemas.microsoft.com/office/drawing/2014/main" id="{86B75A4E-F586-4729-8711-D74FAFD759BE}"/>
                </a:ext>
              </a:extLst>
            </p:cNvPr>
            <p:cNvSpPr>
              <a:spLocks noChangeArrowheads="1"/>
            </p:cNvSpPr>
            <p:nvPr/>
          </p:nvSpPr>
          <p:spPr bwMode="auto">
            <a:xfrm>
              <a:off x="6675" y="2818"/>
              <a:ext cx="1553" cy="85"/>
            </a:xfrm>
            <a:prstGeom prst="rect">
              <a:avLst/>
            </a:prstGeom>
            <a:solidFill>
              <a:srgbClr val="7FC00F"/>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30" name="Rectangle 6">
              <a:extLst>
                <a:ext uri="{FF2B5EF4-FFF2-40B4-BE49-F238E27FC236}">
                  <a16:creationId xmlns:a16="http://schemas.microsoft.com/office/drawing/2014/main" id="{82997C06-6961-43E8-B05E-1851DCA94C85}"/>
                </a:ext>
              </a:extLst>
            </p:cNvPr>
            <p:cNvSpPr>
              <a:spLocks noChangeArrowheads="1"/>
            </p:cNvSpPr>
            <p:nvPr/>
          </p:nvSpPr>
          <p:spPr bwMode="auto">
            <a:xfrm>
              <a:off x="8255" y="2818"/>
              <a:ext cx="873" cy="85"/>
            </a:xfrm>
            <a:prstGeom prst="rect">
              <a:avLst/>
            </a:prstGeom>
            <a:solidFill>
              <a:srgbClr val="DEDC00"/>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grpSp>
      <p:sp>
        <p:nvSpPr>
          <p:cNvPr id="34" name="Textplatzhalter 33">
            <a:extLst>
              <a:ext uri="{FF2B5EF4-FFF2-40B4-BE49-F238E27FC236}">
                <a16:creationId xmlns:a16="http://schemas.microsoft.com/office/drawing/2014/main" id="{AA842A1E-948A-48EC-A328-191DB5CD89EB}"/>
              </a:ext>
            </a:extLst>
          </p:cNvPr>
          <p:cNvSpPr>
            <a:spLocks noGrp="1"/>
          </p:cNvSpPr>
          <p:nvPr>
            <p:ph type="body" sz="quarter" idx="10" hasCustomPrompt="1"/>
          </p:nvPr>
        </p:nvSpPr>
        <p:spPr>
          <a:xfrm>
            <a:off x="740176" y="2717473"/>
            <a:ext cx="7016841" cy="575717"/>
          </a:xfrm>
          <a:prstGeom prst="rect">
            <a:avLst/>
          </a:prstGeom>
        </p:spPr>
        <p:txBody>
          <a:bodyPr/>
          <a:lstStyle>
            <a:lvl1pPr marL="0" indent="0">
              <a:buNone/>
              <a:defRPr b="1"/>
            </a:lvl1pPr>
          </a:lstStyle>
          <a:p>
            <a:pPr lvl="0"/>
            <a:r>
              <a:rPr lang="de-DE"/>
              <a:t>Title</a:t>
            </a:r>
          </a:p>
        </p:txBody>
      </p:sp>
      <p:sp>
        <p:nvSpPr>
          <p:cNvPr id="35" name="Textplatzhalter 33" title="Subtitle">
            <a:extLst>
              <a:ext uri="{FF2B5EF4-FFF2-40B4-BE49-F238E27FC236}">
                <a16:creationId xmlns:a16="http://schemas.microsoft.com/office/drawing/2014/main" id="{FA14C959-36DC-41E8-BFA9-EA7C0BC8415A}"/>
              </a:ext>
            </a:extLst>
          </p:cNvPr>
          <p:cNvSpPr>
            <a:spLocks noGrp="1"/>
          </p:cNvSpPr>
          <p:nvPr>
            <p:ph type="body" sz="quarter" idx="11" hasCustomPrompt="1"/>
          </p:nvPr>
        </p:nvSpPr>
        <p:spPr>
          <a:xfrm>
            <a:off x="740176" y="3655477"/>
            <a:ext cx="7016841" cy="439941"/>
          </a:xfrm>
          <a:prstGeom prst="rect">
            <a:avLst/>
          </a:prstGeom>
        </p:spPr>
        <p:txBody>
          <a:bodyPr>
            <a:normAutofit/>
          </a:bodyPr>
          <a:lstStyle>
            <a:lvl1pPr marL="0" indent="0">
              <a:buNone/>
              <a:defRPr sz="2500" b="0"/>
            </a:lvl1pPr>
          </a:lstStyle>
          <a:p>
            <a:pPr lvl="0"/>
            <a:r>
              <a:rPr lang="de-DE" err="1"/>
              <a:t>Subtitle</a:t>
            </a:r>
            <a:endParaRPr lang="de-DE"/>
          </a:p>
        </p:txBody>
      </p:sp>
      <p:sp>
        <p:nvSpPr>
          <p:cNvPr id="36" name="Textplatzhalter 33" title="Subtitle">
            <a:extLst>
              <a:ext uri="{FF2B5EF4-FFF2-40B4-BE49-F238E27FC236}">
                <a16:creationId xmlns:a16="http://schemas.microsoft.com/office/drawing/2014/main" id="{D4D9714C-3D56-488F-8BF9-61D03CA7DA46}"/>
              </a:ext>
            </a:extLst>
          </p:cNvPr>
          <p:cNvSpPr>
            <a:spLocks noGrp="1"/>
          </p:cNvSpPr>
          <p:nvPr>
            <p:ph type="body" sz="quarter" idx="12" hasCustomPrompt="1"/>
          </p:nvPr>
        </p:nvSpPr>
        <p:spPr>
          <a:xfrm>
            <a:off x="740175" y="4527466"/>
            <a:ext cx="7016841" cy="341925"/>
          </a:xfrm>
          <a:prstGeom prst="rect">
            <a:avLst/>
          </a:prstGeom>
        </p:spPr>
        <p:txBody>
          <a:bodyPr>
            <a:normAutofit/>
          </a:bodyPr>
          <a:lstStyle>
            <a:lvl1pPr marL="0" indent="0">
              <a:buNone/>
              <a:defRPr sz="1800" b="0"/>
            </a:lvl1pPr>
          </a:lstStyle>
          <a:p>
            <a:pPr lvl="0"/>
            <a:r>
              <a:rPr lang="de-DE"/>
              <a:t>Location/Meeting Information</a:t>
            </a:r>
          </a:p>
        </p:txBody>
      </p:sp>
      <p:sp>
        <p:nvSpPr>
          <p:cNvPr id="40" name="Textplatzhalter 33" title="Subtitle">
            <a:extLst>
              <a:ext uri="{FF2B5EF4-FFF2-40B4-BE49-F238E27FC236}">
                <a16:creationId xmlns:a16="http://schemas.microsoft.com/office/drawing/2014/main" id="{BD7EDD23-0E2C-4A22-9AF3-6482A755A5F6}"/>
              </a:ext>
            </a:extLst>
          </p:cNvPr>
          <p:cNvSpPr>
            <a:spLocks noGrp="1"/>
          </p:cNvSpPr>
          <p:nvPr>
            <p:ph type="body" sz="quarter" idx="13" hasCustomPrompt="1"/>
          </p:nvPr>
        </p:nvSpPr>
        <p:spPr>
          <a:xfrm>
            <a:off x="740175" y="5535578"/>
            <a:ext cx="7016841" cy="324913"/>
          </a:xfrm>
          <a:prstGeom prst="rect">
            <a:avLst/>
          </a:prstGeom>
        </p:spPr>
        <p:txBody>
          <a:bodyPr>
            <a:normAutofit/>
          </a:bodyPr>
          <a:lstStyle>
            <a:lvl1pPr marL="0" indent="0">
              <a:buNone/>
              <a:defRPr sz="1400" b="0"/>
            </a:lvl1pPr>
          </a:lstStyle>
          <a:p>
            <a:pPr lvl="0"/>
            <a:r>
              <a:rPr lang="de-DE"/>
              <a:t>Organizer</a:t>
            </a:r>
          </a:p>
        </p:txBody>
      </p:sp>
      <p:sp>
        <p:nvSpPr>
          <p:cNvPr id="41" name="Textplatzhalter 33" title="Subtitle">
            <a:extLst>
              <a:ext uri="{FF2B5EF4-FFF2-40B4-BE49-F238E27FC236}">
                <a16:creationId xmlns:a16="http://schemas.microsoft.com/office/drawing/2014/main" id="{ED16559F-CC1E-4182-9939-1229083D085F}"/>
              </a:ext>
            </a:extLst>
          </p:cNvPr>
          <p:cNvSpPr>
            <a:spLocks noGrp="1"/>
          </p:cNvSpPr>
          <p:nvPr>
            <p:ph type="body" sz="quarter" idx="14" hasCustomPrompt="1"/>
          </p:nvPr>
        </p:nvSpPr>
        <p:spPr>
          <a:xfrm>
            <a:off x="740175" y="5319554"/>
            <a:ext cx="7016841" cy="324913"/>
          </a:xfrm>
          <a:prstGeom prst="rect">
            <a:avLst/>
          </a:prstGeom>
        </p:spPr>
        <p:txBody>
          <a:bodyPr>
            <a:normAutofit/>
          </a:bodyPr>
          <a:lstStyle>
            <a:lvl1pPr marL="0" indent="0">
              <a:buNone/>
              <a:defRPr sz="1400" b="1"/>
            </a:lvl1pPr>
          </a:lstStyle>
          <a:p>
            <a:pPr lvl="0"/>
            <a:r>
              <a:rPr lang="de-DE"/>
              <a:t>Date</a:t>
            </a:r>
          </a:p>
        </p:txBody>
      </p:sp>
      <p:pic>
        <p:nvPicPr>
          <p:cNvPr id="4" name="Grafik 3">
            <a:extLst>
              <a:ext uri="{FF2B5EF4-FFF2-40B4-BE49-F238E27FC236}">
                <a16:creationId xmlns:a16="http://schemas.microsoft.com/office/drawing/2014/main" id="{60FBD9F0-EF1A-436E-AAE3-C17B1C600C5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66278" y="6093296"/>
            <a:ext cx="3526659" cy="570616"/>
          </a:xfrm>
          <a:prstGeom prst="rect">
            <a:avLst/>
          </a:prstGeom>
        </p:spPr>
      </p:pic>
    </p:spTree>
    <p:extLst>
      <p:ext uri="{BB962C8B-B14F-4D97-AF65-F5344CB8AC3E}">
        <p14:creationId xmlns:p14="http://schemas.microsoft.com/office/powerpoint/2010/main" val="8663297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BE3776C-FDBF-4563-8B30-62E072ED903B}"/>
              </a:ext>
            </a:extLst>
          </p:cNvPr>
          <p:cNvGraphicFramePr>
            <a:graphicFrameLocks noChangeAspect="1"/>
          </p:cNvGraphicFramePr>
          <p:nvPr userDrawn="1">
            <p:custDataLst>
              <p:tags r:id="rId1"/>
            </p:custDataLst>
          </p:nvPr>
        </p:nvGraphicFramePr>
        <p:xfrm>
          <a:off x="1719" y="1588"/>
          <a:ext cx="1720"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6" name="Objekt 5" hidden="1">
                        <a:extLst>
                          <a:ext uri="{FF2B5EF4-FFF2-40B4-BE49-F238E27FC236}">
                            <a16:creationId xmlns:a16="http://schemas.microsoft.com/office/drawing/2014/main" id="{0BE3776C-FDBF-4563-8B30-62E072ED903B}"/>
                          </a:ext>
                        </a:extLst>
                      </p:cNvPr>
                      <p:cNvPicPr/>
                      <p:nvPr/>
                    </p:nvPicPr>
                    <p:blipFill>
                      <a:blip r:embed="rId5"/>
                      <a:stretch>
                        <a:fillRect/>
                      </a:stretch>
                    </p:blipFill>
                    <p:spPr>
                      <a:xfrm>
                        <a:off x="1719" y="1588"/>
                        <a:ext cx="1720" cy="1588"/>
                      </a:xfrm>
                      <a:prstGeom prst="rect">
                        <a:avLst/>
                      </a:prstGeom>
                    </p:spPr>
                  </p:pic>
                </p:oleObj>
              </mc:Fallback>
            </mc:AlternateContent>
          </a:graphicData>
        </a:graphic>
      </p:graphicFrame>
      <p:sp>
        <p:nvSpPr>
          <p:cNvPr id="13" name="Rechteck 12" hidden="1">
            <a:extLst>
              <a:ext uri="{FF2B5EF4-FFF2-40B4-BE49-F238E27FC236}">
                <a16:creationId xmlns:a16="http://schemas.microsoft.com/office/drawing/2014/main" id="{5C401561-6A58-4943-BC48-F5A6EF61D640}"/>
              </a:ext>
            </a:extLst>
          </p:cNvPr>
          <p:cNvSpPr/>
          <p:nvPr userDrawn="1">
            <p:custDataLst>
              <p:tags r:id="rId2"/>
            </p:custDataLst>
          </p:nvPr>
        </p:nvSpPr>
        <p:spPr>
          <a:xfrm>
            <a:off x="0" y="0"/>
            <a:ext cx="171896"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a:latin typeface="Calibri" panose="020F0502020204030204" pitchFamily="34" charset="0"/>
              <a:ea typeface="+mn-ea"/>
              <a:cs typeface="+mn-cs"/>
              <a:sym typeface="Calibri" panose="020F0502020204030204" pitchFamily="34" charset="0"/>
            </a:endParaRPr>
          </a:p>
        </p:txBody>
      </p:sp>
      <p:sp>
        <p:nvSpPr>
          <p:cNvPr id="8" name="Inhaltsplatzhalter 7">
            <a:extLst>
              <a:ext uri="{FF2B5EF4-FFF2-40B4-BE49-F238E27FC236}">
                <a16:creationId xmlns:a16="http://schemas.microsoft.com/office/drawing/2014/main" id="{CD991232-A066-4DF5-8907-14473F8D31B7}"/>
              </a:ext>
            </a:extLst>
          </p:cNvPr>
          <p:cNvSpPr>
            <a:spLocks noGrp="1"/>
          </p:cNvSpPr>
          <p:nvPr>
            <p:ph sz="quarter" idx="13" hasCustomPrompt="1"/>
          </p:nvPr>
        </p:nvSpPr>
        <p:spPr>
          <a:xfrm>
            <a:off x="680710" y="1125538"/>
            <a:ext cx="8725466" cy="5111750"/>
          </a:xfrm>
          <a:prstGeom prst="rect">
            <a:avLst/>
          </a:prstGeom>
        </p:spPr>
        <p:txBody>
          <a:bodyPr/>
          <a:lstStyle>
            <a:lvl1pPr>
              <a:defRPr sz="1800"/>
            </a:lvl1pPr>
            <a:lvl2pPr>
              <a:defRPr sz="1800"/>
            </a:lvl2pPr>
            <a:lvl3pPr>
              <a:defRPr sz="1800"/>
            </a:lvl3pPr>
            <a:lvl4pPr>
              <a:defRPr sz="1800"/>
            </a:lvl4pPr>
            <a:lvl5pPr>
              <a:defRPr sz="1800"/>
            </a:lvl5pPr>
          </a:lstStyle>
          <a:p>
            <a:pPr lvl="0"/>
            <a:r>
              <a:rPr lang="de-DE"/>
              <a:t>Enter Content</a:t>
            </a:r>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12" name="Titel 11">
            <a:extLst>
              <a:ext uri="{FF2B5EF4-FFF2-40B4-BE49-F238E27FC236}">
                <a16:creationId xmlns:a16="http://schemas.microsoft.com/office/drawing/2014/main" id="{A9B7AC91-3DD5-4E76-996B-7E8B7563FAD4}"/>
              </a:ext>
            </a:extLst>
          </p:cNvPr>
          <p:cNvSpPr>
            <a:spLocks noGrp="1"/>
          </p:cNvSpPr>
          <p:nvPr>
            <p:ph type="title" hasCustomPrompt="1"/>
          </p:nvPr>
        </p:nvSpPr>
        <p:spPr/>
        <p:txBody>
          <a:bodyPr/>
          <a:lstStyle>
            <a:lvl1pPr>
              <a:defRPr/>
            </a:lvl1pPr>
          </a:lstStyle>
          <a:p>
            <a:r>
              <a:rPr lang="de-DE"/>
              <a:t>Title</a:t>
            </a:r>
          </a:p>
        </p:txBody>
      </p:sp>
      <p:sp>
        <p:nvSpPr>
          <p:cNvPr id="2" name="Foliennummernplatzhalter 1">
            <a:extLst>
              <a:ext uri="{FF2B5EF4-FFF2-40B4-BE49-F238E27FC236}">
                <a16:creationId xmlns:a16="http://schemas.microsoft.com/office/drawing/2014/main" id="{15A4FAA9-BD39-44B6-AD3E-2F110DDE30F4}"/>
              </a:ext>
            </a:extLst>
          </p:cNvPr>
          <p:cNvSpPr>
            <a:spLocks noGrp="1"/>
          </p:cNvSpPr>
          <p:nvPr>
            <p:ph type="sldNum" sz="quarter" idx="14"/>
          </p:nvPr>
        </p:nvSpPr>
        <p:spPr/>
        <p:txBody>
          <a:bodyPr/>
          <a:lstStyle/>
          <a:p>
            <a:fld id="{7B8E2B6B-92C8-4058-B5A5-20555B1EC8E1}" type="slidenum">
              <a:rPr lang="da-DK" smtClean="0"/>
              <a:pPr/>
              <a:t>‹#›</a:t>
            </a:fld>
            <a:endParaRPr lang="da-DK"/>
          </a:p>
        </p:txBody>
      </p:sp>
    </p:spTree>
    <p:extLst>
      <p:ext uri="{BB962C8B-B14F-4D97-AF65-F5344CB8AC3E}">
        <p14:creationId xmlns:p14="http://schemas.microsoft.com/office/powerpoint/2010/main" val="28483384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26C88C0-CB8B-4524-AE36-F79B0B3B991B}"/>
              </a:ext>
            </a:extLst>
          </p:cNvPr>
          <p:cNvGraphicFramePr>
            <a:graphicFrameLocks noChangeAspect="1"/>
          </p:cNvGraphicFramePr>
          <p:nvPr userDrawn="1">
            <p:custDataLst>
              <p:tags r:id="rId1"/>
            </p:custDataLst>
          </p:nvPr>
        </p:nvGraphicFramePr>
        <p:xfrm>
          <a:off x="1719" y="1588"/>
          <a:ext cx="1720" cy="1588"/>
        </p:xfrm>
        <a:graphic>
          <a:graphicData uri="http://schemas.openxmlformats.org/presentationml/2006/ole">
            <mc:AlternateContent xmlns:mc="http://schemas.openxmlformats.org/markup-compatibility/2006">
              <mc:Choice xmlns:v="urn:schemas-microsoft-com:vml" Requires="v">
                <p:oleObj name="think-cell Folie" r:id="rId3" imgW="421" imgH="420" progId="TCLayout.ActiveDocument.1">
                  <p:embed/>
                </p:oleObj>
              </mc:Choice>
              <mc:Fallback>
                <p:oleObj name="think-cell Folie" r:id="rId3" imgW="421" imgH="420" progId="TCLayout.ActiveDocument.1">
                  <p:embed/>
                  <p:pic>
                    <p:nvPicPr>
                      <p:cNvPr id="7" name="Objekt 6" hidden="1">
                        <a:extLst>
                          <a:ext uri="{FF2B5EF4-FFF2-40B4-BE49-F238E27FC236}">
                            <a16:creationId xmlns:a16="http://schemas.microsoft.com/office/drawing/2014/main" id="{626C88C0-CB8B-4524-AE36-F79B0B3B991B}"/>
                          </a:ext>
                        </a:extLst>
                      </p:cNvPr>
                      <p:cNvPicPr/>
                      <p:nvPr/>
                    </p:nvPicPr>
                    <p:blipFill>
                      <a:blip r:embed="rId4"/>
                      <a:stretch>
                        <a:fillRect/>
                      </a:stretch>
                    </p:blipFill>
                    <p:spPr>
                      <a:xfrm>
                        <a:off x="1719" y="1588"/>
                        <a:ext cx="1720" cy="1588"/>
                      </a:xfrm>
                      <a:prstGeom prst="rect">
                        <a:avLst/>
                      </a:prstGeom>
                    </p:spPr>
                  </p:pic>
                </p:oleObj>
              </mc:Fallback>
            </mc:AlternateContent>
          </a:graphicData>
        </a:graphic>
      </p:graphicFrame>
      <p:pic>
        <p:nvPicPr>
          <p:cNvPr id="23" name="Billede 3" descr="Logo_gray.png">
            <a:extLst>
              <a:ext uri="{FF2B5EF4-FFF2-40B4-BE49-F238E27FC236}">
                <a16:creationId xmlns:a16="http://schemas.microsoft.com/office/drawing/2014/main" id="{A2737C24-37BE-43DF-A4C8-77139A41F11B}"/>
              </a:ext>
            </a:extLst>
          </p:cNvPr>
          <p:cNvPicPr>
            <a:picLocks noChangeAspect="1"/>
          </p:cNvPicPr>
          <p:nvPr userDrawn="1"/>
        </p:nvPicPr>
        <p:blipFill>
          <a:blip r:embed="rId5" cstate="print"/>
          <a:stretch>
            <a:fillRect/>
          </a:stretch>
        </p:blipFill>
        <p:spPr>
          <a:xfrm>
            <a:off x="4353109" y="3875446"/>
            <a:ext cx="4981852" cy="3996406"/>
          </a:xfrm>
          <a:prstGeom prst="rect">
            <a:avLst/>
          </a:prstGeom>
        </p:spPr>
      </p:pic>
      <p:pic>
        <p:nvPicPr>
          <p:cNvPr id="24" name="Billede 4" descr="RFC3-ScanMed_medium.JPG">
            <a:extLst>
              <a:ext uri="{FF2B5EF4-FFF2-40B4-BE49-F238E27FC236}">
                <a16:creationId xmlns:a16="http://schemas.microsoft.com/office/drawing/2014/main" id="{4EEFE208-801A-4C85-85E9-C8F4645CA7F0}"/>
              </a:ext>
            </a:extLst>
          </p:cNvPr>
          <p:cNvPicPr/>
          <p:nvPr userDrawn="1"/>
        </p:nvPicPr>
        <p:blipFill>
          <a:blip r:embed="rId6" cstate="print"/>
          <a:stretch>
            <a:fillRect/>
          </a:stretch>
        </p:blipFill>
        <p:spPr>
          <a:xfrm>
            <a:off x="6588014" y="476672"/>
            <a:ext cx="2746947" cy="672028"/>
          </a:xfrm>
          <a:prstGeom prst="rect">
            <a:avLst/>
          </a:prstGeom>
        </p:spPr>
      </p:pic>
      <p:grpSp>
        <p:nvGrpSpPr>
          <p:cNvPr id="26" name="Group 2">
            <a:extLst>
              <a:ext uri="{FF2B5EF4-FFF2-40B4-BE49-F238E27FC236}">
                <a16:creationId xmlns:a16="http://schemas.microsoft.com/office/drawing/2014/main" id="{BDF30C32-E497-4962-B9D3-0E77F8DB4CA9}"/>
              </a:ext>
            </a:extLst>
          </p:cNvPr>
          <p:cNvGrpSpPr>
            <a:grpSpLocks noChangeAspect="1"/>
          </p:cNvGrpSpPr>
          <p:nvPr userDrawn="1"/>
        </p:nvGrpSpPr>
        <p:grpSpPr bwMode="auto">
          <a:xfrm>
            <a:off x="740176" y="3447346"/>
            <a:ext cx="8536894" cy="53975"/>
            <a:chOff x="2241" y="2818"/>
            <a:chExt cx="6887" cy="85"/>
          </a:xfrm>
        </p:grpSpPr>
        <p:sp>
          <p:nvSpPr>
            <p:cNvPr id="27" name="Rectangle 3">
              <a:extLst>
                <a:ext uri="{FF2B5EF4-FFF2-40B4-BE49-F238E27FC236}">
                  <a16:creationId xmlns:a16="http://schemas.microsoft.com/office/drawing/2014/main" id="{7B802CF8-5F7B-45E7-A1DD-98D6A1036E92}"/>
                </a:ext>
              </a:extLst>
            </p:cNvPr>
            <p:cNvSpPr>
              <a:spLocks noChangeArrowheads="1"/>
            </p:cNvSpPr>
            <p:nvPr/>
          </p:nvSpPr>
          <p:spPr bwMode="auto">
            <a:xfrm>
              <a:off x="4621" y="2818"/>
              <a:ext cx="2028" cy="85"/>
            </a:xfrm>
            <a:prstGeom prst="rect">
              <a:avLst/>
            </a:prstGeom>
            <a:solidFill>
              <a:srgbClr val="00B2B4"/>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8" name="Rectangle 4">
              <a:extLst>
                <a:ext uri="{FF2B5EF4-FFF2-40B4-BE49-F238E27FC236}">
                  <a16:creationId xmlns:a16="http://schemas.microsoft.com/office/drawing/2014/main" id="{CC4AE02E-6B47-4661-B8AC-F255791A89FB}"/>
                </a:ext>
              </a:extLst>
            </p:cNvPr>
            <p:cNvSpPr>
              <a:spLocks noChangeArrowheads="1"/>
            </p:cNvSpPr>
            <p:nvPr/>
          </p:nvSpPr>
          <p:spPr bwMode="auto">
            <a:xfrm>
              <a:off x="2241" y="2818"/>
              <a:ext cx="2354" cy="85"/>
            </a:xfrm>
            <a:prstGeom prst="rect">
              <a:avLst/>
            </a:prstGeom>
            <a:solidFill>
              <a:srgbClr val="00ACE1"/>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9" name="Rectangle 5">
              <a:extLst>
                <a:ext uri="{FF2B5EF4-FFF2-40B4-BE49-F238E27FC236}">
                  <a16:creationId xmlns:a16="http://schemas.microsoft.com/office/drawing/2014/main" id="{86B75A4E-F586-4729-8711-D74FAFD759BE}"/>
                </a:ext>
              </a:extLst>
            </p:cNvPr>
            <p:cNvSpPr>
              <a:spLocks noChangeArrowheads="1"/>
            </p:cNvSpPr>
            <p:nvPr/>
          </p:nvSpPr>
          <p:spPr bwMode="auto">
            <a:xfrm>
              <a:off x="6675" y="2818"/>
              <a:ext cx="1553" cy="85"/>
            </a:xfrm>
            <a:prstGeom prst="rect">
              <a:avLst/>
            </a:prstGeom>
            <a:solidFill>
              <a:srgbClr val="7FC00F"/>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30" name="Rectangle 6">
              <a:extLst>
                <a:ext uri="{FF2B5EF4-FFF2-40B4-BE49-F238E27FC236}">
                  <a16:creationId xmlns:a16="http://schemas.microsoft.com/office/drawing/2014/main" id="{82997C06-6961-43E8-B05E-1851DCA94C85}"/>
                </a:ext>
              </a:extLst>
            </p:cNvPr>
            <p:cNvSpPr>
              <a:spLocks noChangeArrowheads="1"/>
            </p:cNvSpPr>
            <p:nvPr/>
          </p:nvSpPr>
          <p:spPr bwMode="auto">
            <a:xfrm>
              <a:off x="8255" y="2818"/>
              <a:ext cx="873" cy="85"/>
            </a:xfrm>
            <a:prstGeom prst="rect">
              <a:avLst/>
            </a:prstGeom>
            <a:solidFill>
              <a:srgbClr val="DEDC00"/>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grpSp>
      <p:sp>
        <p:nvSpPr>
          <p:cNvPr id="34" name="Textplatzhalter 33">
            <a:extLst>
              <a:ext uri="{FF2B5EF4-FFF2-40B4-BE49-F238E27FC236}">
                <a16:creationId xmlns:a16="http://schemas.microsoft.com/office/drawing/2014/main" id="{AA842A1E-948A-48EC-A328-191DB5CD89EB}"/>
              </a:ext>
            </a:extLst>
          </p:cNvPr>
          <p:cNvSpPr>
            <a:spLocks noGrp="1"/>
          </p:cNvSpPr>
          <p:nvPr>
            <p:ph type="body" sz="quarter" idx="10" hasCustomPrompt="1"/>
          </p:nvPr>
        </p:nvSpPr>
        <p:spPr>
          <a:xfrm>
            <a:off x="740176" y="2717473"/>
            <a:ext cx="7016841" cy="575717"/>
          </a:xfrm>
          <a:prstGeom prst="rect">
            <a:avLst/>
          </a:prstGeom>
        </p:spPr>
        <p:txBody>
          <a:bodyPr/>
          <a:lstStyle>
            <a:lvl1pPr marL="0" indent="0">
              <a:buNone/>
              <a:defRPr b="1"/>
            </a:lvl1pPr>
          </a:lstStyle>
          <a:p>
            <a:pPr lvl="0"/>
            <a:r>
              <a:rPr lang="en-US" noProof="0"/>
              <a:t>Title Subchapter</a:t>
            </a:r>
          </a:p>
        </p:txBody>
      </p:sp>
      <p:sp>
        <p:nvSpPr>
          <p:cNvPr id="35" name="Textplatzhalter 33" title="Subtitle">
            <a:extLst>
              <a:ext uri="{FF2B5EF4-FFF2-40B4-BE49-F238E27FC236}">
                <a16:creationId xmlns:a16="http://schemas.microsoft.com/office/drawing/2014/main" id="{FA14C959-36DC-41E8-BFA9-EA7C0BC8415A}"/>
              </a:ext>
            </a:extLst>
          </p:cNvPr>
          <p:cNvSpPr>
            <a:spLocks noGrp="1"/>
          </p:cNvSpPr>
          <p:nvPr>
            <p:ph type="body" sz="quarter" idx="11" hasCustomPrompt="1"/>
          </p:nvPr>
        </p:nvSpPr>
        <p:spPr>
          <a:xfrm>
            <a:off x="740176" y="3655477"/>
            <a:ext cx="7016841" cy="439941"/>
          </a:xfrm>
          <a:prstGeom prst="rect">
            <a:avLst/>
          </a:prstGeom>
        </p:spPr>
        <p:txBody>
          <a:bodyPr>
            <a:normAutofit/>
          </a:bodyPr>
          <a:lstStyle>
            <a:lvl1pPr marL="0" indent="0">
              <a:buNone/>
              <a:defRPr sz="2500" b="0"/>
            </a:lvl1pPr>
          </a:lstStyle>
          <a:p>
            <a:pPr lvl="0"/>
            <a:r>
              <a:rPr lang="en-US" noProof="0"/>
              <a:t>Subtitle Subchapter</a:t>
            </a:r>
          </a:p>
        </p:txBody>
      </p:sp>
    </p:spTree>
    <p:extLst>
      <p:ext uri="{BB962C8B-B14F-4D97-AF65-F5344CB8AC3E}">
        <p14:creationId xmlns:p14="http://schemas.microsoft.com/office/powerpoint/2010/main" val="10921148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26C88C0-CB8B-4524-AE36-F79B0B3B991B}"/>
              </a:ext>
            </a:extLst>
          </p:cNvPr>
          <p:cNvGraphicFramePr>
            <a:graphicFrameLocks noChangeAspect="1"/>
          </p:cNvGraphicFramePr>
          <p:nvPr userDrawn="1">
            <p:custDataLst>
              <p:tags r:id="rId1"/>
            </p:custDataLst>
          </p:nvPr>
        </p:nvGraphicFramePr>
        <p:xfrm>
          <a:off x="1719" y="1588"/>
          <a:ext cx="1720" cy="1588"/>
        </p:xfrm>
        <a:graphic>
          <a:graphicData uri="http://schemas.openxmlformats.org/presentationml/2006/ole">
            <mc:AlternateContent xmlns:mc="http://schemas.openxmlformats.org/markup-compatibility/2006">
              <mc:Choice xmlns:v="urn:schemas-microsoft-com:vml" Requires="v">
                <p:oleObj name="think-cell Folie" r:id="rId3" imgW="421" imgH="420" progId="TCLayout.ActiveDocument.1">
                  <p:embed/>
                </p:oleObj>
              </mc:Choice>
              <mc:Fallback>
                <p:oleObj name="think-cell Folie" r:id="rId3" imgW="421" imgH="420" progId="TCLayout.ActiveDocument.1">
                  <p:embed/>
                  <p:pic>
                    <p:nvPicPr>
                      <p:cNvPr id="7" name="Objekt 6" hidden="1">
                        <a:extLst>
                          <a:ext uri="{FF2B5EF4-FFF2-40B4-BE49-F238E27FC236}">
                            <a16:creationId xmlns:a16="http://schemas.microsoft.com/office/drawing/2014/main" id="{626C88C0-CB8B-4524-AE36-F79B0B3B991B}"/>
                          </a:ext>
                        </a:extLst>
                      </p:cNvPr>
                      <p:cNvPicPr/>
                      <p:nvPr/>
                    </p:nvPicPr>
                    <p:blipFill>
                      <a:blip r:embed="rId4"/>
                      <a:stretch>
                        <a:fillRect/>
                      </a:stretch>
                    </p:blipFill>
                    <p:spPr>
                      <a:xfrm>
                        <a:off x="1719" y="1588"/>
                        <a:ext cx="1720" cy="1588"/>
                      </a:xfrm>
                      <a:prstGeom prst="rect">
                        <a:avLst/>
                      </a:prstGeom>
                    </p:spPr>
                  </p:pic>
                </p:oleObj>
              </mc:Fallback>
            </mc:AlternateContent>
          </a:graphicData>
        </a:graphic>
      </p:graphicFrame>
      <p:pic>
        <p:nvPicPr>
          <p:cNvPr id="23" name="Billede 3" descr="Logo_gray.png">
            <a:extLst>
              <a:ext uri="{FF2B5EF4-FFF2-40B4-BE49-F238E27FC236}">
                <a16:creationId xmlns:a16="http://schemas.microsoft.com/office/drawing/2014/main" id="{A2737C24-37BE-43DF-A4C8-77139A41F11B}"/>
              </a:ext>
            </a:extLst>
          </p:cNvPr>
          <p:cNvPicPr>
            <a:picLocks noChangeAspect="1"/>
          </p:cNvPicPr>
          <p:nvPr userDrawn="1"/>
        </p:nvPicPr>
        <p:blipFill>
          <a:blip r:embed="rId5" cstate="print"/>
          <a:stretch>
            <a:fillRect/>
          </a:stretch>
        </p:blipFill>
        <p:spPr>
          <a:xfrm>
            <a:off x="4353109" y="3875446"/>
            <a:ext cx="4981852" cy="3996406"/>
          </a:xfrm>
          <a:prstGeom prst="rect">
            <a:avLst/>
          </a:prstGeom>
        </p:spPr>
      </p:pic>
      <p:pic>
        <p:nvPicPr>
          <p:cNvPr id="24" name="Billede 4" descr="RFC3-ScanMed_medium.JPG">
            <a:extLst>
              <a:ext uri="{FF2B5EF4-FFF2-40B4-BE49-F238E27FC236}">
                <a16:creationId xmlns:a16="http://schemas.microsoft.com/office/drawing/2014/main" id="{4EEFE208-801A-4C85-85E9-C8F4645CA7F0}"/>
              </a:ext>
            </a:extLst>
          </p:cNvPr>
          <p:cNvPicPr/>
          <p:nvPr userDrawn="1"/>
        </p:nvPicPr>
        <p:blipFill>
          <a:blip r:embed="rId6" cstate="print"/>
          <a:stretch>
            <a:fillRect/>
          </a:stretch>
        </p:blipFill>
        <p:spPr>
          <a:xfrm>
            <a:off x="6588014" y="476672"/>
            <a:ext cx="2746947" cy="672028"/>
          </a:xfrm>
          <a:prstGeom prst="rect">
            <a:avLst/>
          </a:prstGeom>
        </p:spPr>
      </p:pic>
      <p:grpSp>
        <p:nvGrpSpPr>
          <p:cNvPr id="26" name="Group 2">
            <a:extLst>
              <a:ext uri="{FF2B5EF4-FFF2-40B4-BE49-F238E27FC236}">
                <a16:creationId xmlns:a16="http://schemas.microsoft.com/office/drawing/2014/main" id="{BDF30C32-E497-4962-B9D3-0E77F8DB4CA9}"/>
              </a:ext>
            </a:extLst>
          </p:cNvPr>
          <p:cNvGrpSpPr>
            <a:grpSpLocks noChangeAspect="1"/>
          </p:cNvGrpSpPr>
          <p:nvPr userDrawn="1"/>
        </p:nvGrpSpPr>
        <p:grpSpPr bwMode="auto">
          <a:xfrm>
            <a:off x="740176" y="3447346"/>
            <a:ext cx="8536894" cy="53975"/>
            <a:chOff x="2241" y="2818"/>
            <a:chExt cx="6887" cy="85"/>
          </a:xfrm>
        </p:grpSpPr>
        <p:sp>
          <p:nvSpPr>
            <p:cNvPr id="27" name="Rectangle 3">
              <a:extLst>
                <a:ext uri="{FF2B5EF4-FFF2-40B4-BE49-F238E27FC236}">
                  <a16:creationId xmlns:a16="http://schemas.microsoft.com/office/drawing/2014/main" id="{7B802CF8-5F7B-45E7-A1DD-98D6A1036E92}"/>
                </a:ext>
              </a:extLst>
            </p:cNvPr>
            <p:cNvSpPr>
              <a:spLocks noChangeArrowheads="1"/>
            </p:cNvSpPr>
            <p:nvPr/>
          </p:nvSpPr>
          <p:spPr bwMode="auto">
            <a:xfrm>
              <a:off x="4621" y="2818"/>
              <a:ext cx="2028" cy="85"/>
            </a:xfrm>
            <a:prstGeom prst="rect">
              <a:avLst/>
            </a:prstGeom>
            <a:solidFill>
              <a:srgbClr val="00B2B4"/>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8" name="Rectangle 4">
              <a:extLst>
                <a:ext uri="{FF2B5EF4-FFF2-40B4-BE49-F238E27FC236}">
                  <a16:creationId xmlns:a16="http://schemas.microsoft.com/office/drawing/2014/main" id="{CC4AE02E-6B47-4661-B8AC-F255791A89FB}"/>
                </a:ext>
              </a:extLst>
            </p:cNvPr>
            <p:cNvSpPr>
              <a:spLocks noChangeArrowheads="1"/>
            </p:cNvSpPr>
            <p:nvPr/>
          </p:nvSpPr>
          <p:spPr bwMode="auto">
            <a:xfrm>
              <a:off x="2241" y="2818"/>
              <a:ext cx="2354" cy="85"/>
            </a:xfrm>
            <a:prstGeom prst="rect">
              <a:avLst/>
            </a:prstGeom>
            <a:solidFill>
              <a:srgbClr val="00ACE1"/>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9" name="Rectangle 5">
              <a:extLst>
                <a:ext uri="{FF2B5EF4-FFF2-40B4-BE49-F238E27FC236}">
                  <a16:creationId xmlns:a16="http://schemas.microsoft.com/office/drawing/2014/main" id="{86B75A4E-F586-4729-8711-D74FAFD759BE}"/>
                </a:ext>
              </a:extLst>
            </p:cNvPr>
            <p:cNvSpPr>
              <a:spLocks noChangeArrowheads="1"/>
            </p:cNvSpPr>
            <p:nvPr/>
          </p:nvSpPr>
          <p:spPr bwMode="auto">
            <a:xfrm>
              <a:off x="6675" y="2818"/>
              <a:ext cx="1553" cy="85"/>
            </a:xfrm>
            <a:prstGeom prst="rect">
              <a:avLst/>
            </a:prstGeom>
            <a:solidFill>
              <a:srgbClr val="7FC00F"/>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30" name="Rectangle 6">
              <a:extLst>
                <a:ext uri="{FF2B5EF4-FFF2-40B4-BE49-F238E27FC236}">
                  <a16:creationId xmlns:a16="http://schemas.microsoft.com/office/drawing/2014/main" id="{82997C06-6961-43E8-B05E-1851DCA94C85}"/>
                </a:ext>
              </a:extLst>
            </p:cNvPr>
            <p:cNvSpPr>
              <a:spLocks noChangeArrowheads="1"/>
            </p:cNvSpPr>
            <p:nvPr/>
          </p:nvSpPr>
          <p:spPr bwMode="auto">
            <a:xfrm>
              <a:off x="8255" y="2818"/>
              <a:ext cx="873" cy="85"/>
            </a:xfrm>
            <a:prstGeom prst="rect">
              <a:avLst/>
            </a:prstGeom>
            <a:solidFill>
              <a:srgbClr val="DEDC00"/>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grpSp>
      <p:sp>
        <p:nvSpPr>
          <p:cNvPr id="34" name="Textplatzhalter 33">
            <a:extLst>
              <a:ext uri="{FF2B5EF4-FFF2-40B4-BE49-F238E27FC236}">
                <a16:creationId xmlns:a16="http://schemas.microsoft.com/office/drawing/2014/main" id="{AA842A1E-948A-48EC-A328-191DB5CD89EB}"/>
              </a:ext>
            </a:extLst>
          </p:cNvPr>
          <p:cNvSpPr>
            <a:spLocks noGrp="1"/>
          </p:cNvSpPr>
          <p:nvPr>
            <p:ph type="body" sz="quarter" idx="10" hasCustomPrompt="1"/>
          </p:nvPr>
        </p:nvSpPr>
        <p:spPr>
          <a:xfrm>
            <a:off x="740176" y="2717473"/>
            <a:ext cx="7016841" cy="575717"/>
          </a:xfrm>
          <a:prstGeom prst="rect">
            <a:avLst/>
          </a:prstGeom>
        </p:spPr>
        <p:txBody>
          <a:bodyPr/>
          <a:lstStyle>
            <a:lvl1pPr marL="0" indent="0">
              <a:buNone/>
              <a:defRPr b="1"/>
            </a:lvl1pPr>
          </a:lstStyle>
          <a:p>
            <a:pPr lvl="0"/>
            <a:r>
              <a:rPr lang="de-DE"/>
              <a:t>Title</a:t>
            </a:r>
          </a:p>
        </p:txBody>
      </p:sp>
      <p:sp>
        <p:nvSpPr>
          <p:cNvPr id="35" name="Textplatzhalter 33" title="Subtitle">
            <a:extLst>
              <a:ext uri="{FF2B5EF4-FFF2-40B4-BE49-F238E27FC236}">
                <a16:creationId xmlns:a16="http://schemas.microsoft.com/office/drawing/2014/main" id="{FA14C959-36DC-41E8-BFA9-EA7C0BC8415A}"/>
              </a:ext>
            </a:extLst>
          </p:cNvPr>
          <p:cNvSpPr>
            <a:spLocks noGrp="1"/>
          </p:cNvSpPr>
          <p:nvPr>
            <p:ph type="body" sz="quarter" idx="11" hasCustomPrompt="1"/>
          </p:nvPr>
        </p:nvSpPr>
        <p:spPr>
          <a:xfrm>
            <a:off x="740176" y="3655477"/>
            <a:ext cx="7016841" cy="439941"/>
          </a:xfrm>
          <a:prstGeom prst="rect">
            <a:avLst/>
          </a:prstGeom>
        </p:spPr>
        <p:txBody>
          <a:bodyPr>
            <a:normAutofit/>
          </a:bodyPr>
          <a:lstStyle>
            <a:lvl1pPr marL="0" indent="0">
              <a:buNone/>
              <a:defRPr sz="2500" b="0"/>
            </a:lvl1pPr>
          </a:lstStyle>
          <a:p>
            <a:pPr lvl="0"/>
            <a:r>
              <a:rPr lang="de-DE" err="1"/>
              <a:t>Subtitle</a:t>
            </a:r>
            <a:endParaRPr lang="de-DE"/>
          </a:p>
        </p:txBody>
      </p:sp>
      <p:sp>
        <p:nvSpPr>
          <p:cNvPr id="36" name="Textplatzhalter 33" title="Subtitle">
            <a:extLst>
              <a:ext uri="{FF2B5EF4-FFF2-40B4-BE49-F238E27FC236}">
                <a16:creationId xmlns:a16="http://schemas.microsoft.com/office/drawing/2014/main" id="{D4D9714C-3D56-488F-8BF9-61D03CA7DA46}"/>
              </a:ext>
            </a:extLst>
          </p:cNvPr>
          <p:cNvSpPr>
            <a:spLocks noGrp="1"/>
          </p:cNvSpPr>
          <p:nvPr>
            <p:ph type="body" sz="quarter" idx="12" hasCustomPrompt="1"/>
          </p:nvPr>
        </p:nvSpPr>
        <p:spPr>
          <a:xfrm>
            <a:off x="740175" y="4527466"/>
            <a:ext cx="7016841" cy="341925"/>
          </a:xfrm>
          <a:prstGeom prst="rect">
            <a:avLst/>
          </a:prstGeom>
        </p:spPr>
        <p:txBody>
          <a:bodyPr>
            <a:normAutofit/>
          </a:bodyPr>
          <a:lstStyle>
            <a:lvl1pPr marL="0" indent="0">
              <a:buNone/>
              <a:defRPr sz="1800" b="0"/>
            </a:lvl1pPr>
          </a:lstStyle>
          <a:p>
            <a:pPr lvl="0"/>
            <a:r>
              <a:rPr lang="de-DE"/>
              <a:t>Location/Meeting Information</a:t>
            </a:r>
          </a:p>
        </p:txBody>
      </p:sp>
      <p:sp>
        <p:nvSpPr>
          <p:cNvPr id="40" name="Textplatzhalter 33" title="Subtitle">
            <a:extLst>
              <a:ext uri="{FF2B5EF4-FFF2-40B4-BE49-F238E27FC236}">
                <a16:creationId xmlns:a16="http://schemas.microsoft.com/office/drawing/2014/main" id="{BD7EDD23-0E2C-4A22-9AF3-6482A755A5F6}"/>
              </a:ext>
            </a:extLst>
          </p:cNvPr>
          <p:cNvSpPr>
            <a:spLocks noGrp="1"/>
          </p:cNvSpPr>
          <p:nvPr>
            <p:ph type="body" sz="quarter" idx="13" hasCustomPrompt="1"/>
          </p:nvPr>
        </p:nvSpPr>
        <p:spPr>
          <a:xfrm>
            <a:off x="740175" y="5535578"/>
            <a:ext cx="7016841" cy="324913"/>
          </a:xfrm>
          <a:prstGeom prst="rect">
            <a:avLst/>
          </a:prstGeom>
        </p:spPr>
        <p:txBody>
          <a:bodyPr>
            <a:normAutofit/>
          </a:bodyPr>
          <a:lstStyle>
            <a:lvl1pPr marL="0" indent="0">
              <a:buNone/>
              <a:defRPr sz="1400" b="0"/>
            </a:lvl1pPr>
          </a:lstStyle>
          <a:p>
            <a:pPr lvl="0"/>
            <a:r>
              <a:rPr lang="de-DE"/>
              <a:t>Organizer</a:t>
            </a:r>
          </a:p>
        </p:txBody>
      </p:sp>
      <p:sp>
        <p:nvSpPr>
          <p:cNvPr id="41" name="Textplatzhalter 33" title="Subtitle">
            <a:extLst>
              <a:ext uri="{FF2B5EF4-FFF2-40B4-BE49-F238E27FC236}">
                <a16:creationId xmlns:a16="http://schemas.microsoft.com/office/drawing/2014/main" id="{ED16559F-CC1E-4182-9939-1229083D085F}"/>
              </a:ext>
            </a:extLst>
          </p:cNvPr>
          <p:cNvSpPr>
            <a:spLocks noGrp="1"/>
          </p:cNvSpPr>
          <p:nvPr>
            <p:ph type="body" sz="quarter" idx="14" hasCustomPrompt="1"/>
          </p:nvPr>
        </p:nvSpPr>
        <p:spPr>
          <a:xfrm>
            <a:off x="740175" y="5319554"/>
            <a:ext cx="7016841" cy="324913"/>
          </a:xfrm>
          <a:prstGeom prst="rect">
            <a:avLst/>
          </a:prstGeom>
        </p:spPr>
        <p:txBody>
          <a:bodyPr>
            <a:normAutofit/>
          </a:bodyPr>
          <a:lstStyle>
            <a:lvl1pPr marL="0" indent="0">
              <a:buNone/>
              <a:defRPr sz="1400" b="1"/>
            </a:lvl1pPr>
          </a:lstStyle>
          <a:p>
            <a:pPr lvl="0"/>
            <a:r>
              <a:rPr lang="de-DE"/>
              <a:t>Date</a:t>
            </a:r>
          </a:p>
        </p:txBody>
      </p:sp>
      <p:pic>
        <p:nvPicPr>
          <p:cNvPr id="4" name="Grafik 3">
            <a:extLst>
              <a:ext uri="{FF2B5EF4-FFF2-40B4-BE49-F238E27FC236}">
                <a16:creationId xmlns:a16="http://schemas.microsoft.com/office/drawing/2014/main" id="{60FBD9F0-EF1A-436E-AAE3-C17B1C600C5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66278" y="6093296"/>
            <a:ext cx="3526659" cy="570616"/>
          </a:xfrm>
          <a:prstGeom prst="rect">
            <a:avLst/>
          </a:prstGeom>
        </p:spPr>
      </p:pic>
    </p:spTree>
    <p:extLst>
      <p:ext uri="{BB962C8B-B14F-4D97-AF65-F5344CB8AC3E}">
        <p14:creationId xmlns:p14="http://schemas.microsoft.com/office/powerpoint/2010/main" val="3152045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BE3776C-FDBF-4563-8B30-62E072ED903B}"/>
              </a:ext>
            </a:extLst>
          </p:cNvPr>
          <p:cNvGraphicFramePr>
            <a:graphicFrameLocks noChangeAspect="1"/>
          </p:cNvGraphicFramePr>
          <p:nvPr userDrawn="1">
            <p:custDataLst>
              <p:tags r:id="rId1"/>
            </p:custDataLst>
          </p:nvPr>
        </p:nvGraphicFramePr>
        <p:xfrm>
          <a:off x="1719" y="1588"/>
          <a:ext cx="1720"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6" name="Objekt 5" hidden="1">
                        <a:extLst>
                          <a:ext uri="{FF2B5EF4-FFF2-40B4-BE49-F238E27FC236}">
                            <a16:creationId xmlns:a16="http://schemas.microsoft.com/office/drawing/2014/main" id="{0BE3776C-FDBF-4563-8B30-62E072ED903B}"/>
                          </a:ext>
                        </a:extLst>
                      </p:cNvPr>
                      <p:cNvPicPr/>
                      <p:nvPr/>
                    </p:nvPicPr>
                    <p:blipFill>
                      <a:blip r:embed="rId5"/>
                      <a:stretch>
                        <a:fillRect/>
                      </a:stretch>
                    </p:blipFill>
                    <p:spPr>
                      <a:xfrm>
                        <a:off x="1719" y="1588"/>
                        <a:ext cx="1720" cy="1588"/>
                      </a:xfrm>
                      <a:prstGeom prst="rect">
                        <a:avLst/>
                      </a:prstGeom>
                    </p:spPr>
                  </p:pic>
                </p:oleObj>
              </mc:Fallback>
            </mc:AlternateContent>
          </a:graphicData>
        </a:graphic>
      </p:graphicFrame>
      <p:sp>
        <p:nvSpPr>
          <p:cNvPr id="13" name="Rechteck 12" hidden="1">
            <a:extLst>
              <a:ext uri="{FF2B5EF4-FFF2-40B4-BE49-F238E27FC236}">
                <a16:creationId xmlns:a16="http://schemas.microsoft.com/office/drawing/2014/main" id="{5C401561-6A58-4943-BC48-F5A6EF61D640}"/>
              </a:ext>
            </a:extLst>
          </p:cNvPr>
          <p:cNvSpPr/>
          <p:nvPr userDrawn="1">
            <p:custDataLst>
              <p:tags r:id="rId2"/>
            </p:custDataLst>
          </p:nvPr>
        </p:nvSpPr>
        <p:spPr>
          <a:xfrm>
            <a:off x="0" y="0"/>
            <a:ext cx="171896"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a:latin typeface="Calibri" panose="020F0502020204030204" pitchFamily="34" charset="0"/>
              <a:ea typeface="+mn-ea"/>
              <a:cs typeface="+mn-cs"/>
              <a:sym typeface="Calibri" panose="020F0502020204030204" pitchFamily="34" charset="0"/>
            </a:endParaRPr>
          </a:p>
        </p:txBody>
      </p:sp>
      <p:sp>
        <p:nvSpPr>
          <p:cNvPr id="8" name="Inhaltsplatzhalter 7">
            <a:extLst>
              <a:ext uri="{FF2B5EF4-FFF2-40B4-BE49-F238E27FC236}">
                <a16:creationId xmlns:a16="http://schemas.microsoft.com/office/drawing/2014/main" id="{CD991232-A066-4DF5-8907-14473F8D31B7}"/>
              </a:ext>
            </a:extLst>
          </p:cNvPr>
          <p:cNvSpPr>
            <a:spLocks noGrp="1"/>
          </p:cNvSpPr>
          <p:nvPr>
            <p:ph sz="quarter" idx="13" hasCustomPrompt="1"/>
          </p:nvPr>
        </p:nvSpPr>
        <p:spPr>
          <a:xfrm>
            <a:off x="680710" y="1125538"/>
            <a:ext cx="8725466" cy="5111750"/>
          </a:xfrm>
          <a:prstGeom prst="rect">
            <a:avLst/>
          </a:prstGeom>
        </p:spPr>
        <p:txBody>
          <a:bodyPr/>
          <a:lstStyle>
            <a:lvl1pPr>
              <a:defRPr sz="1800"/>
            </a:lvl1pPr>
            <a:lvl2pPr>
              <a:defRPr sz="1800"/>
            </a:lvl2pPr>
            <a:lvl3pPr>
              <a:defRPr sz="1800"/>
            </a:lvl3pPr>
            <a:lvl4pPr>
              <a:defRPr sz="1800"/>
            </a:lvl4pPr>
            <a:lvl5pPr>
              <a:defRPr sz="1800"/>
            </a:lvl5pPr>
          </a:lstStyle>
          <a:p>
            <a:pPr lvl="0"/>
            <a:r>
              <a:rPr lang="de-DE"/>
              <a:t>Enter Content</a:t>
            </a:r>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12" name="Titel 11">
            <a:extLst>
              <a:ext uri="{FF2B5EF4-FFF2-40B4-BE49-F238E27FC236}">
                <a16:creationId xmlns:a16="http://schemas.microsoft.com/office/drawing/2014/main" id="{A9B7AC91-3DD5-4E76-996B-7E8B7563FAD4}"/>
              </a:ext>
            </a:extLst>
          </p:cNvPr>
          <p:cNvSpPr>
            <a:spLocks noGrp="1"/>
          </p:cNvSpPr>
          <p:nvPr>
            <p:ph type="title" hasCustomPrompt="1"/>
          </p:nvPr>
        </p:nvSpPr>
        <p:spPr/>
        <p:txBody>
          <a:bodyPr/>
          <a:lstStyle>
            <a:lvl1pPr>
              <a:defRPr/>
            </a:lvl1pPr>
          </a:lstStyle>
          <a:p>
            <a:r>
              <a:rPr lang="de-DE"/>
              <a:t>Title</a:t>
            </a:r>
          </a:p>
        </p:txBody>
      </p:sp>
      <p:sp>
        <p:nvSpPr>
          <p:cNvPr id="2" name="Foliennummernplatzhalter 1">
            <a:extLst>
              <a:ext uri="{FF2B5EF4-FFF2-40B4-BE49-F238E27FC236}">
                <a16:creationId xmlns:a16="http://schemas.microsoft.com/office/drawing/2014/main" id="{15A4FAA9-BD39-44B6-AD3E-2F110DDE30F4}"/>
              </a:ext>
            </a:extLst>
          </p:cNvPr>
          <p:cNvSpPr>
            <a:spLocks noGrp="1"/>
          </p:cNvSpPr>
          <p:nvPr>
            <p:ph type="sldNum" sz="quarter" idx="14"/>
          </p:nvPr>
        </p:nvSpPr>
        <p:spPr/>
        <p:txBody>
          <a:bodyPr/>
          <a:lstStyle/>
          <a:p>
            <a:fld id="{7B8E2B6B-92C8-4058-B5A5-20555B1EC8E1}" type="slidenum">
              <a:rPr lang="da-DK" smtClean="0"/>
              <a:pPr/>
              <a:t>‹#›</a:t>
            </a:fld>
            <a:endParaRPr lang="da-DK"/>
          </a:p>
        </p:txBody>
      </p:sp>
    </p:spTree>
    <p:extLst>
      <p:ext uri="{BB962C8B-B14F-4D97-AF65-F5344CB8AC3E}">
        <p14:creationId xmlns:p14="http://schemas.microsoft.com/office/powerpoint/2010/main" val="8190856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26C88C0-CB8B-4524-AE36-F79B0B3B991B}"/>
              </a:ext>
            </a:extLst>
          </p:cNvPr>
          <p:cNvGraphicFramePr>
            <a:graphicFrameLocks noChangeAspect="1"/>
          </p:cNvGraphicFramePr>
          <p:nvPr userDrawn="1">
            <p:custDataLst>
              <p:tags r:id="rId1"/>
            </p:custDataLst>
          </p:nvPr>
        </p:nvGraphicFramePr>
        <p:xfrm>
          <a:off x="1719" y="1588"/>
          <a:ext cx="1720" cy="1588"/>
        </p:xfrm>
        <a:graphic>
          <a:graphicData uri="http://schemas.openxmlformats.org/presentationml/2006/ole">
            <mc:AlternateContent xmlns:mc="http://schemas.openxmlformats.org/markup-compatibility/2006">
              <mc:Choice xmlns:v="urn:schemas-microsoft-com:vml" Requires="v">
                <p:oleObj name="think-cell Folie" r:id="rId3" imgW="421" imgH="420" progId="TCLayout.ActiveDocument.1">
                  <p:embed/>
                </p:oleObj>
              </mc:Choice>
              <mc:Fallback>
                <p:oleObj name="think-cell Folie" r:id="rId3" imgW="421" imgH="420" progId="TCLayout.ActiveDocument.1">
                  <p:embed/>
                  <p:pic>
                    <p:nvPicPr>
                      <p:cNvPr id="7" name="Objekt 6" hidden="1">
                        <a:extLst>
                          <a:ext uri="{FF2B5EF4-FFF2-40B4-BE49-F238E27FC236}">
                            <a16:creationId xmlns:a16="http://schemas.microsoft.com/office/drawing/2014/main" id="{626C88C0-CB8B-4524-AE36-F79B0B3B991B}"/>
                          </a:ext>
                        </a:extLst>
                      </p:cNvPr>
                      <p:cNvPicPr/>
                      <p:nvPr/>
                    </p:nvPicPr>
                    <p:blipFill>
                      <a:blip r:embed="rId4"/>
                      <a:stretch>
                        <a:fillRect/>
                      </a:stretch>
                    </p:blipFill>
                    <p:spPr>
                      <a:xfrm>
                        <a:off x="1719" y="1588"/>
                        <a:ext cx="1720" cy="1588"/>
                      </a:xfrm>
                      <a:prstGeom prst="rect">
                        <a:avLst/>
                      </a:prstGeom>
                    </p:spPr>
                  </p:pic>
                </p:oleObj>
              </mc:Fallback>
            </mc:AlternateContent>
          </a:graphicData>
        </a:graphic>
      </p:graphicFrame>
      <p:pic>
        <p:nvPicPr>
          <p:cNvPr id="23" name="Billede 3" descr="Logo_gray.png">
            <a:extLst>
              <a:ext uri="{FF2B5EF4-FFF2-40B4-BE49-F238E27FC236}">
                <a16:creationId xmlns:a16="http://schemas.microsoft.com/office/drawing/2014/main" id="{A2737C24-37BE-43DF-A4C8-77139A41F11B}"/>
              </a:ext>
            </a:extLst>
          </p:cNvPr>
          <p:cNvPicPr>
            <a:picLocks noChangeAspect="1"/>
          </p:cNvPicPr>
          <p:nvPr userDrawn="1"/>
        </p:nvPicPr>
        <p:blipFill>
          <a:blip r:embed="rId5" cstate="print"/>
          <a:stretch>
            <a:fillRect/>
          </a:stretch>
        </p:blipFill>
        <p:spPr>
          <a:xfrm>
            <a:off x="4353109" y="3875446"/>
            <a:ext cx="4981852" cy="3996406"/>
          </a:xfrm>
          <a:prstGeom prst="rect">
            <a:avLst/>
          </a:prstGeom>
        </p:spPr>
      </p:pic>
      <p:pic>
        <p:nvPicPr>
          <p:cNvPr id="24" name="Billede 4" descr="RFC3-ScanMed_medium.JPG">
            <a:extLst>
              <a:ext uri="{FF2B5EF4-FFF2-40B4-BE49-F238E27FC236}">
                <a16:creationId xmlns:a16="http://schemas.microsoft.com/office/drawing/2014/main" id="{4EEFE208-801A-4C85-85E9-C8F4645CA7F0}"/>
              </a:ext>
            </a:extLst>
          </p:cNvPr>
          <p:cNvPicPr/>
          <p:nvPr userDrawn="1"/>
        </p:nvPicPr>
        <p:blipFill>
          <a:blip r:embed="rId6" cstate="print"/>
          <a:stretch>
            <a:fillRect/>
          </a:stretch>
        </p:blipFill>
        <p:spPr>
          <a:xfrm>
            <a:off x="6588014" y="476672"/>
            <a:ext cx="2746947" cy="672028"/>
          </a:xfrm>
          <a:prstGeom prst="rect">
            <a:avLst/>
          </a:prstGeom>
        </p:spPr>
      </p:pic>
      <p:grpSp>
        <p:nvGrpSpPr>
          <p:cNvPr id="26" name="Group 2">
            <a:extLst>
              <a:ext uri="{FF2B5EF4-FFF2-40B4-BE49-F238E27FC236}">
                <a16:creationId xmlns:a16="http://schemas.microsoft.com/office/drawing/2014/main" id="{BDF30C32-E497-4962-B9D3-0E77F8DB4CA9}"/>
              </a:ext>
            </a:extLst>
          </p:cNvPr>
          <p:cNvGrpSpPr>
            <a:grpSpLocks noChangeAspect="1"/>
          </p:cNvGrpSpPr>
          <p:nvPr userDrawn="1"/>
        </p:nvGrpSpPr>
        <p:grpSpPr bwMode="auto">
          <a:xfrm>
            <a:off x="740176" y="3447346"/>
            <a:ext cx="8536894" cy="53975"/>
            <a:chOff x="2241" y="2818"/>
            <a:chExt cx="6887" cy="85"/>
          </a:xfrm>
        </p:grpSpPr>
        <p:sp>
          <p:nvSpPr>
            <p:cNvPr id="27" name="Rectangle 3">
              <a:extLst>
                <a:ext uri="{FF2B5EF4-FFF2-40B4-BE49-F238E27FC236}">
                  <a16:creationId xmlns:a16="http://schemas.microsoft.com/office/drawing/2014/main" id="{7B802CF8-5F7B-45E7-A1DD-98D6A1036E92}"/>
                </a:ext>
              </a:extLst>
            </p:cNvPr>
            <p:cNvSpPr>
              <a:spLocks noChangeArrowheads="1"/>
            </p:cNvSpPr>
            <p:nvPr/>
          </p:nvSpPr>
          <p:spPr bwMode="auto">
            <a:xfrm>
              <a:off x="4621" y="2818"/>
              <a:ext cx="2028" cy="85"/>
            </a:xfrm>
            <a:prstGeom prst="rect">
              <a:avLst/>
            </a:prstGeom>
            <a:solidFill>
              <a:srgbClr val="00B2B4"/>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8" name="Rectangle 4">
              <a:extLst>
                <a:ext uri="{FF2B5EF4-FFF2-40B4-BE49-F238E27FC236}">
                  <a16:creationId xmlns:a16="http://schemas.microsoft.com/office/drawing/2014/main" id="{CC4AE02E-6B47-4661-B8AC-F255791A89FB}"/>
                </a:ext>
              </a:extLst>
            </p:cNvPr>
            <p:cNvSpPr>
              <a:spLocks noChangeArrowheads="1"/>
            </p:cNvSpPr>
            <p:nvPr/>
          </p:nvSpPr>
          <p:spPr bwMode="auto">
            <a:xfrm>
              <a:off x="2241" y="2818"/>
              <a:ext cx="2354" cy="85"/>
            </a:xfrm>
            <a:prstGeom prst="rect">
              <a:avLst/>
            </a:prstGeom>
            <a:solidFill>
              <a:srgbClr val="00ACE1"/>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9" name="Rectangle 5">
              <a:extLst>
                <a:ext uri="{FF2B5EF4-FFF2-40B4-BE49-F238E27FC236}">
                  <a16:creationId xmlns:a16="http://schemas.microsoft.com/office/drawing/2014/main" id="{86B75A4E-F586-4729-8711-D74FAFD759BE}"/>
                </a:ext>
              </a:extLst>
            </p:cNvPr>
            <p:cNvSpPr>
              <a:spLocks noChangeArrowheads="1"/>
            </p:cNvSpPr>
            <p:nvPr/>
          </p:nvSpPr>
          <p:spPr bwMode="auto">
            <a:xfrm>
              <a:off x="6675" y="2818"/>
              <a:ext cx="1553" cy="85"/>
            </a:xfrm>
            <a:prstGeom prst="rect">
              <a:avLst/>
            </a:prstGeom>
            <a:solidFill>
              <a:srgbClr val="7FC00F"/>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30" name="Rectangle 6">
              <a:extLst>
                <a:ext uri="{FF2B5EF4-FFF2-40B4-BE49-F238E27FC236}">
                  <a16:creationId xmlns:a16="http://schemas.microsoft.com/office/drawing/2014/main" id="{82997C06-6961-43E8-B05E-1851DCA94C85}"/>
                </a:ext>
              </a:extLst>
            </p:cNvPr>
            <p:cNvSpPr>
              <a:spLocks noChangeArrowheads="1"/>
            </p:cNvSpPr>
            <p:nvPr/>
          </p:nvSpPr>
          <p:spPr bwMode="auto">
            <a:xfrm>
              <a:off x="8255" y="2818"/>
              <a:ext cx="873" cy="85"/>
            </a:xfrm>
            <a:prstGeom prst="rect">
              <a:avLst/>
            </a:prstGeom>
            <a:solidFill>
              <a:srgbClr val="DEDC00"/>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grpSp>
      <p:sp>
        <p:nvSpPr>
          <p:cNvPr id="34" name="Textplatzhalter 33">
            <a:extLst>
              <a:ext uri="{FF2B5EF4-FFF2-40B4-BE49-F238E27FC236}">
                <a16:creationId xmlns:a16="http://schemas.microsoft.com/office/drawing/2014/main" id="{AA842A1E-948A-48EC-A328-191DB5CD89EB}"/>
              </a:ext>
            </a:extLst>
          </p:cNvPr>
          <p:cNvSpPr>
            <a:spLocks noGrp="1"/>
          </p:cNvSpPr>
          <p:nvPr>
            <p:ph type="body" sz="quarter" idx="10" hasCustomPrompt="1"/>
          </p:nvPr>
        </p:nvSpPr>
        <p:spPr>
          <a:xfrm>
            <a:off x="740176" y="2717473"/>
            <a:ext cx="7016841" cy="575717"/>
          </a:xfrm>
          <a:prstGeom prst="rect">
            <a:avLst/>
          </a:prstGeom>
        </p:spPr>
        <p:txBody>
          <a:bodyPr/>
          <a:lstStyle>
            <a:lvl1pPr marL="0" indent="0">
              <a:buNone/>
              <a:defRPr b="1"/>
            </a:lvl1pPr>
          </a:lstStyle>
          <a:p>
            <a:pPr lvl="0"/>
            <a:r>
              <a:rPr lang="en-US" noProof="0"/>
              <a:t>Title Subchapter</a:t>
            </a:r>
          </a:p>
        </p:txBody>
      </p:sp>
      <p:sp>
        <p:nvSpPr>
          <p:cNvPr id="35" name="Textplatzhalter 33" title="Subtitle">
            <a:extLst>
              <a:ext uri="{FF2B5EF4-FFF2-40B4-BE49-F238E27FC236}">
                <a16:creationId xmlns:a16="http://schemas.microsoft.com/office/drawing/2014/main" id="{FA14C959-36DC-41E8-BFA9-EA7C0BC8415A}"/>
              </a:ext>
            </a:extLst>
          </p:cNvPr>
          <p:cNvSpPr>
            <a:spLocks noGrp="1"/>
          </p:cNvSpPr>
          <p:nvPr>
            <p:ph type="body" sz="quarter" idx="11" hasCustomPrompt="1"/>
          </p:nvPr>
        </p:nvSpPr>
        <p:spPr>
          <a:xfrm>
            <a:off x="740176" y="3655477"/>
            <a:ext cx="7016841" cy="439941"/>
          </a:xfrm>
          <a:prstGeom prst="rect">
            <a:avLst/>
          </a:prstGeom>
        </p:spPr>
        <p:txBody>
          <a:bodyPr>
            <a:normAutofit/>
          </a:bodyPr>
          <a:lstStyle>
            <a:lvl1pPr marL="0" indent="0">
              <a:buNone/>
              <a:defRPr sz="2500" b="0"/>
            </a:lvl1pPr>
          </a:lstStyle>
          <a:p>
            <a:pPr lvl="0"/>
            <a:r>
              <a:rPr lang="en-US" noProof="0"/>
              <a:t>Subtitle Subchapter</a:t>
            </a:r>
          </a:p>
        </p:txBody>
      </p:sp>
    </p:spTree>
    <p:extLst>
      <p:ext uri="{BB962C8B-B14F-4D97-AF65-F5344CB8AC3E}">
        <p14:creationId xmlns:p14="http://schemas.microsoft.com/office/powerpoint/2010/main" val="1458122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Slajd tytułowy">
    <p:spTree>
      <p:nvGrpSpPr>
        <p:cNvPr id="1" name=""/>
        <p:cNvGrpSpPr/>
        <p:nvPr/>
      </p:nvGrpSpPr>
      <p:grpSpPr>
        <a:xfrm>
          <a:off x="0" y="0"/>
          <a:ext cx="0" cy="0"/>
          <a:chOff x="0" y="0"/>
          <a:chExt cx="0" cy="0"/>
        </a:xfrm>
      </p:grpSpPr>
      <p:sp>
        <p:nvSpPr>
          <p:cNvPr id="2" name="Tytuł 1"/>
          <p:cNvSpPr>
            <a:spLocks noGrp="1"/>
          </p:cNvSpPr>
          <p:nvPr>
            <p:ph type="ctrTitle"/>
          </p:nvPr>
        </p:nvSpPr>
        <p:spPr>
          <a:xfrm>
            <a:off x="742593" y="2130426"/>
            <a:ext cx="8416052" cy="1470025"/>
          </a:xfrm>
        </p:spPr>
        <p:txBody>
          <a:bodyPr/>
          <a:lstStyle/>
          <a:p>
            <a:r>
              <a:rPr lang="pl-PL"/>
              <a:t>Kliknij, aby edytować styl</a:t>
            </a:r>
          </a:p>
        </p:txBody>
      </p:sp>
      <p:sp>
        <p:nvSpPr>
          <p:cNvPr id="3" name="Podtytuł 2"/>
          <p:cNvSpPr>
            <a:spLocks noGrp="1"/>
          </p:cNvSpPr>
          <p:nvPr>
            <p:ph type="subTitle" idx="1"/>
          </p:nvPr>
        </p:nvSpPr>
        <p:spPr>
          <a:xfrm>
            <a:off x="1485186" y="3886200"/>
            <a:ext cx="6930867"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l-PL"/>
              <a:t>Kliknij, aby edytować styl wzorca podtytułu</a:t>
            </a:r>
          </a:p>
        </p:txBody>
      </p:sp>
      <p:sp>
        <p:nvSpPr>
          <p:cNvPr id="4" name="Symbol zastępczy daty 3"/>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5" name="Symbol zastępczy stopki 4"/>
          <p:cNvSpPr>
            <a:spLocks noGrp="1"/>
          </p:cNvSpPr>
          <p:nvPr>
            <p:ph type="ftr" sz="quarter" idx="11"/>
          </p:nvPr>
        </p:nvSpPr>
        <p:spPr/>
        <p:txBody>
          <a:bodyPr/>
          <a:lstStyle/>
          <a:p>
            <a:endParaRPr lang="pl-PL"/>
          </a:p>
        </p:txBody>
      </p:sp>
      <p:sp>
        <p:nvSpPr>
          <p:cNvPr id="6" name="Symbol zastępczy numeru slajdu 5"/>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1274381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BE3776C-FDBF-4563-8B30-62E072ED903B}"/>
              </a:ext>
            </a:extLst>
          </p:cNvPr>
          <p:cNvGraphicFramePr>
            <a:graphicFrameLocks noChangeAspect="1"/>
          </p:cNvGraphicFramePr>
          <p:nvPr userDrawn="1">
            <p:custDataLst>
              <p:tags r:id="rId1"/>
            </p:custDataLst>
          </p:nvPr>
        </p:nvGraphicFramePr>
        <p:xfrm>
          <a:off x="1719" y="1588"/>
          <a:ext cx="1720"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6" name="Objekt 5" hidden="1">
                        <a:extLst>
                          <a:ext uri="{FF2B5EF4-FFF2-40B4-BE49-F238E27FC236}">
                            <a16:creationId xmlns:a16="http://schemas.microsoft.com/office/drawing/2014/main" id="{0BE3776C-FDBF-4563-8B30-62E072ED903B}"/>
                          </a:ext>
                        </a:extLst>
                      </p:cNvPr>
                      <p:cNvPicPr/>
                      <p:nvPr/>
                    </p:nvPicPr>
                    <p:blipFill>
                      <a:blip r:embed="rId5"/>
                      <a:stretch>
                        <a:fillRect/>
                      </a:stretch>
                    </p:blipFill>
                    <p:spPr>
                      <a:xfrm>
                        <a:off x="1719" y="1588"/>
                        <a:ext cx="1720" cy="1588"/>
                      </a:xfrm>
                      <a:prstGeom prst="rect">
                        <a:avLst/>
                      </a:prstGeom>
                    </p:spPr>
                  </p:pic>
                </p:oleObj>
              </mc:Fallback>
            </mc:AlternateContent>
          </a:graphicData>
        </a:graphic>
      </p:graphicFrame>
      <p:sp>
        <p:nvSpPr>
          <p:cNvPr id="13" name="Rechteck 12" hidden="1">
            <a:extLst>
              <a:ext uri="{FF2B5EF4-FFF2-40B4-BE49-F238E27FC236}">
                <a16:creationId xmlns:a16="http://schemas.microsoft.com/office/drawing/2014/main" id="{5C401561-6A58-4943-BC48-F5A6EF61D640}"/>
              </a:ext>
            </a:extLst>
          </p:cNvPr>
          <p:cNvSpPr/>
          <p:nvPr userDrawn="1">
            <p:custDataLst>
              <p:tags r:id="rId2"/>
            </p:custDataLst>
          </p:nvPr>
        </p:nvSpPr>
        <p:spPr>
          <a:xfrm>
            <a:off x="0" y="0"/>
            <a:ext cx="171896"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a:latin typeface="Calibri" panose="020F0502020204030204" pitchFamily="34" charset="0"/>
              <a:ea typeface="+mn-ea"/>
              <a:cs typeface="+mn-cs"/>
              <a:sym typeface="Calibri" panose="020F0502020204030204" pitchFamily="34" charset="0"/>
            </a:endParaRPr>
          </a:p>
        </p:txBody>
      </p:sp>
      <p:sp>
        <p:nvSpPr>
          <p:cNvPr id="8" name="Inhaltsplatzhalter 7">
            <a:extLst>
              <a:ext uri="{FF2B5EF4-FFF2-40B4-BE49-F238E27FC236}">
                <a16:creationId xmlns:a16="http://schemas.microsoft.com/office/drawing/2014/main" id="{CD991232-A066-4DF5-8907-14473F8D31B7}"/>
              </a:ext>
            </a:extLst>
          </p:cNvPr>
          <p:cNvSpPr>
            <a:spLocks noGrp="1"/>
          </p:cNvSpPr>
          <p:nvPr>
            <p:ph sz="quarter" idx="13" hasCustomPrompt="1"/>
          </p:nvPr>
        </p:nvSpPr>
        <p:spPr>
          <a:xfrm>
            <a:off x="680710" y="1125538"/>
            <a:ext cx="8725466" cy="5111750"/>
          </a:xfrm>
          <a:prstGeom prst="rect">
            <a:avLst/>
          </a:prstGeom>
        </p:spPr>
        <p:txBody>
          <a:bodyPr/>
          <a:lstStyle>
            <a:lvl1pPr>
              <a:defRPr sz="1800"/>
            </a:lvl1pPr>
            <a:lvl2pPr>
              <a:defRPr sz="1800"/>
            </a:lvl2pPr>
            <a:lvl3pPr>
              <a:defRPr sz="1800"/>
            </a:lvl3pPr>
            <a:lvl4pPr>
              <a:defRPr sz="1800"/>
            </a:lvl4pPr>
            <a:lvl5pPr>
              <a:defRPr sz="1800"/>
            </a:lvl5pPr>
          </a:lstStyle>
          <a:p>
            <a:pPr lvl="0"/>
            <a:r>
              <a:rPr lang="de-DE"/>
              <a:t>Enter Content</a:t>
            </a:r>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12" name="Titel 11">
            <a:extLst>
              <a:ext uri="{FF2B5EF4-FFF2-40B4-BE49-F238E27FC236}">
                <a16:creationId xmlns:a16="http://schemas.microsoft.com/office/drawing/2014/main" id="{A9B7AC91-3DD5-4E76-996B-7E8B7563FAD4}"/>
              </a:ext>
            </a:extLst>
          </p:cNvPr>
          <p:cNvSpPr>
            <a:spLocks noGrp="1"/>
          </p:cNvSpPr>
          <p:nvPr>
            <p:ph type="title" hasCustomPrompt="1"/>
          </p:nvPr>
        </p:nvSpPr>
        <p:spPr/>
        <p:txBody>
          <a:bodyPr/>
          <a:lstStyle>
            <a:lvl1pPr>
              <a:defRPr/>
            </a:lvl1pPr>
          </a:lstStyle>
          <a:p>
            <a:r>
              <a:rPr lang="de-DE"/>
              <a:t>Title</a:t>
            </a:r>
          </a:p>
        </p:txBody>
      </p:sp>
      <p:sp>
        <p:nvSpPr>
          <p:cNvPr id="2" name="Foliennummernplatzhalter 1">
            <a:extLst>
              <a:ext uri="{FF2B5EF4-FFF2-40B4-BE49-F238E27FC236}">
                <a16:creationId xmlns:a16="http://schemas.microsoft.com/office/drawing/2014/main" id="{15A4FAA9-BD39-44B6-AD3E-2F110DDE30F4}"/>
              </a:ext>
            </a:extLst>
          </p:cNvPr>
          <p:cNvSpPr>
            <a:spLocks noGrp="1"/>
          </p:cNvSpPr>
          <p:nvPr>
            <p:ph type="sldNum" sz="quarter" idx="14"/>
          </p:nvPr>
        </p:nvSpPr>
        <p:spPr/>
        <p:txBody>
          <a:bodyPr/>
          <a:lstStyle/>
          <a:p>
            <a:fld id="{7B8E2B6B-92C8-4058-B5A5-20555B1EC8E1}" type="slidenum">
              <a:rPr lang="da-DK" smtClean="0"/>
              <a:pPr/>
              <a:t>‹#›</a:t>
            </a:fld>
            <a:endParaRPr lang="da-DK"/>
          </a:p>
        </p:txBody>
      </p:sp>
    </p:spTree>
    <p:extLst>
      <p:ext uri="{BB962C8B-B14F-4D97-AF65-F5344CB8AC3E}">
        <p14:creationId xmlns:p14="http://schemas.microsoft.com/office/powerpoint/2010/main" val="5720608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ytuł i zawartość">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a:t>Kliknij, aby edytować styl</a:t>
            </a:r>
          </a:p>
        </p:txBody>
      </p:sp>
      <p:sp>
        <p:nvSpPr>
          <p:cNvPr id="3" name="Symbol zastępczy zawartości 2"/>
          <p:cNvSpPr>
            <a:spLocks noGrp="1"/>
          </p:cNvSpPr>
          <p:nvPr>
            <p:ph idx="1"/>
          </p:nvPr>
        </p:nvSpPr>
        <p:spPr/>
        <p:txBody>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daty 3"/>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5" name="Symbol zastępczy stopki 4"/>
          <p:cNvSpPr>
            <a:spLocks noGrp="1"/>
          </p:cNvSpPr>
          <p:nvPr>
            <p:ph type="ftr" sz="quarter" idx="11"/>
          </p:nvPr>
        </p:nvSpPr>
        <p:spPr/>
        <p:txBody>
          <a:bodyPr/>
          <a:lstStyle/>
          <a:p>
            <a:endParaRPr lang="pl-PL"/>
          </a:p>
        </p:txBody>
      </p:sp>
      <p:sp>
        <p:nvSpPr>
          <p:cNvPr id="6" name="Symbol zastępczy numeru slajdu 5"/>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42393472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Nagłówek sekcji">
    <p:spTree>
      <p:nvGrpSpPr>
        <p:cNvPr id="1" name=""/>
        <p:cNvGrpSpPr/>
        <p:nvPr/>
      </p:nvGrpSpPr>
      <p:grpSpPr>
        <a:xfrm>
          <a:off x="0" y="0"/>
          <a:ext cx="0" cy="0"/>
          <a:chOff x="0" y="0"/>
          <a:chExt cx="0" cy="0"/>
        </a:xfrm>
      </p:grpSpPr>
      <p:sp>
        <p:nvSpPr>
          <p:cNvPr id="2" name="Tytuł 1"/>
          <p:cNvSpPr>
            <a:spLocks noGrp="1"/>
          </p:cNvSpPr>
          <p:nvPr>
            <p:ph type="title"/>
          </p:nvPr>
        </p:nvSpPr>
        <p:spPr>
          <a:xfrm>
            <a:off x="782130" y="4406901"/>
            <a:ext cx="8416052" cy="1362075"/>
          </a:xfrm>
        </p:spPr>
        <p:txBody>
          <a:bodyPr anchor="t"/>
          <a:lstStyle>
            <a:lvl1pPr algn="l">
              <a:defRPr sz="4000" b="1" cap="all"/>
            </a:lvl1pPr>
          </a:lstStyle>
          <a:p>
            <a:r>
              <a:rPr lang="pl-PL"/>
              <a:t>Kliknij, aby edytować styl</a:t>
            </a:r>
          </a:p>
        </p:txBody>
      </p:sp>
      <p:sp>
        <p:nvSpPr>
          <p:cNvPr id="3" name="Symbol zastępczy tekstu 2"/>
          <p:cNvSpPr>
            <a:spLocks noGrp="1"/>
          </p:cNvSpPr>
          <p:nvPr>
            <p:ph type="body" idx="1"/>
          </p:nvPr>
        </p:nvSpPr>
        <p:spPr>
          <a:xfrm>
            <a:off x="782130" y="2906713"/>
            <a:ext cx="8416052"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l-PL"/>
              <a:t>Kliknij, aby edytować style wzorca tekstu</a:t>
            </a:r>
          </a:p>
        </p:txBody>
      </p:sp>
      <p:sp>
        <p:nvSpPr>
          <p:cNvPr id="4" name="Symbol zastępczy daty 3"/>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5" name="Symbol zastępczy stopki 4"/>
          <p:cNvSpPr>
            <a:spLocks noGrp="1"/>
          </p:cNvSpPr>
          <p:nvPr>
            <p:ph type="ftr" sz="quarter" idx="11"/>
          </p:nvPr>
        </p:nvSpPr>
        <p:spPr/>
        <p:txBody>
          <a:bodyPr/>
          <a:lstStyle/>
          <a:p>
            <a:endParaRPr lang="pl-PL"/>
          </a:p>
        </p:txBody>
      </p:sp>
      <p:sp>
        <p:nvSpPr>
          <p:cNvPr id="6" name="Symbol zastępczy numeru slajdu 5"/>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34527045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Dwa elementy zawartości">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a:t>Kliknij, aby edytować styl</a:t>
            </a:r>
          </a:p>
        </p:txBody>
      </p:sp>
      <p:sp>
        <p:nvSpPr>
          <p:cNvPr id="3" name="Symbol zastępczy zawartości 2"/>
          <p:cNvSpPr>
            <a:spLocks noGrp="1"/>
          </p:cNvSpPr>
          <p:nvPr>
            <p:ph sz="half" idx="1"/>
          </p:nvPr>
        </p:nvSpPr>
        <p:spPr>
          <a:xfrm>
            <a:off x="495062" y="1600201"/>
            <a:ext cx="4373047"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zawartości 3"/>
          <p:cNvSpPr>
            <a:spLocks noGrp="1"/>
          </p:cNvSpPr>
          <p:nvPr>
            <p:ph sz="half" idx="2"/>
          </p:nvPr>
        </p:nvSpPr>
        <p:spPr>
          <a:xfrm>
            <a:off x="5033129" y="1600201"/>
            <a:ext cx="4373047"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5" name="Symbol zastępczy daty 4"/>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6" name="Symbol zastępczy stopki 5"/>
          <p:cNvSpPr>
            <a:spLocks noGrp="1"/>
          </p:cNvSpPr>
          <p:nvPr>
            <p:ph type="ftr" sz="quarter" idx="11"/>
          </p:nvPr>
        </p:nvSpPr>
        <p:spPr/>
        <p:txBody>
          <a:bodyPr/>
          <a:lstStyle/>
          <a:p>
            <a:endParaRPr lang="pl-PL"/>
          </a:p>
        </p:txBody>
      </p:sp>
      <p:sp>
        <p:nvSpPr>
          <p:cNvPr id="7" name="Symbol zastępczy numeru slajdu 6"/>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3407345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Porównanie">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lvl1pPr>
              <a:defRPr/>
            </a:lvl1pPr>
          </a:lstStyle>
          <a:p>
            <a:r>
              <a:rPr lang="pl-PL"/>
              <a:t>Kliknij, aby edytować styl</a:t>
            </a:r>
          </a:p>
        </p:txBody>
      </p:sp>
      <p:sp>
        <p:nvSpPr>
          <p:cNvPr id="3" name="Symbol zastępczy tekstu 2"/>
          <p:cNvSpPr>
            <a:spLocks noGrp="1"/>
          </p:cNvSpPr>
          <p:nvPr>
            <p:ph type="body" idx="1"/>
          </p:nvPr>
        </p:nvSpPr>
        <p:spPr>
          <a:xfrm>
            <a:off x="495062" y="1535113"/>
            <a:ext cx="437476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l-PL"/>
              <a:t>Kliknij, aby edytować style wzorca tekstu</a:t>
            </a:r>
          </a:p>
        </p:txBody>
      </p:sp>
      <p:sp>
        <p:nvSpPr>
          <p:cNvPr id="4" name="Symbol zastępczy zawartości 3"/>
          <p:cNvSpPr>
            <a:spLocks noGrp="1"/>
          </p:cNvSpPr>
          <p:nvPr>
            <p:ph sz="half" idx="2"/>
          </p:nvPr>
        </p:nvSpPr>
        <p:spPr>
          <a:xfrm>
            <a:off x="495062" y="2174875"/>
            <a:ext cx="43747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5" name="Symbol zastępczy tekstu 4"/>
          <p:cNvSpPr>
            <a:spLocks noGrp="1"/>
          </p:cNvSpPr>
          <p:nvPr>
            <p:ph type="body" sz="quarter" idx="3"/>
          </p:nvPr>
        </p:nvSpPr>
        <p:spPr>
          <a:xfrm>
            <a:off x="5029692" y="1535113"/>
            <a:ext cx="437648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l-PL"/>
              <a:t>Kliknij, aby edytować style wzorca tekstu</a:t>
            </a:r>
          </a:p>
        </p:txBody>
      </p:sp>
      <p:sp>
        <p:nvSpPr>
          <p:cNvPr id="6" name="Symbol zastępczy zawartości 5"/>
          <p:cNvSpPr>
            <a:spLocks noGrp="1"/>
          </p:cNvSpPr>
          <p:nvPr>
            <p:ph sz="quarter" idx="4"/>
          </p:nvPr>
        </p:nvSpPr>
        <p:spPr>
          <a:xfrm>
            <a:off x="5029692" y="2174875"/>
            <a:ext cx="437648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7" name="Symbol zastępczy daty 6"/>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8" name="Symbol zastępczy stopki 7"/>
          <p:cNvSpPr>
            <a:spLocks noGrp="1"/>
          </p:cNvSpPr>
          <p:nvPr>
            <p:ph type="ftr" sz="quarter" idx="11"/>
          </p:nvPr>
        </p:nvSpPr>
        <p:spPr/>
        <p:txBody>
          <a:bodyPr/>
          <a:lstStyle/>
          <a:p>
            <a:endParaRPr lang="pl-PL"/>
          </a:p>
        </p:txBody>
      </p:sp>
      <p:sp>
        <p:nvSpPr>
          <p:cNvPr id="9" name="Symbol zastępczy numeru slajdu 8"/>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27482856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ylko tytuł">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a:t>Kliknij, aby edytować styl</a:t>
            </a:r>
          </a:p>
        </p:txBody>
      </p:sp>
      <p:sp>
        <p:nvSpPr>
          <p:cNvPr id="3" name="Symbol zastępczy daty 2"/>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4" name="Symbol zastępczy stopki 3"/>
          <p:cNvSpPr>
            <a:spLocks noGrp="1"/>
          </p:cNvSpPr>
          <p:nvPr>
            <p:ph type="ftr" sz="quarter" idx="11"/>
          </p:nvPr>
        </p:nvSpPr>
        <p:spPr/>
        <p:txBody>
          <a:bodyPr/>
          <a:lstStyle/>
          <a:p>
            <a:endParaRPr lang="pl-PL"/>
          </a:p>
        </p:txBody>
      </p:sp>
      <p:sp>
        <p:nvSpPr>
          <p:cNvPr id="5" name="Symbol zastępczy numeru slajdu 4"/>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8530978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Pusty">
    <p:spTree>
      <p:nvGrpSpPr>
        <p:cNvPr id="1" name=""/>
        <p:cNvGrpSpPr/>
        <p:nvPr/>
      </p:nvGrpSpPr>
      <p:grpSpPr>
        <a:xfrm>
          <a:off x="0" y="0"/>
          <a:ext cx="0" cy="0"/>
          <a:chOff x="0" y="0"/>
          <a:chExt cx="0" cy="0"/>
        </a:xfrm>
      </p:grpSpPr>
      <p:sp>
        <p:nvSpPr>
          <p:cNvPr id="2" name="Symbol zastępczy daty 1"/>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3" name="Symbol zastępczy stopki 2"/>
          <p:cNvSpPr>
            <a:spLocks noGrp="1"/>
          </p:cNvSpPr>
          <p:nvPr>
            <p:ph type="ftr" sz="quarter" idx="11"/>
          </p:nvPr>
        </p:nvSpPr>
        <p:spPr/>
        <p:txBody>
          <a:bodyPr/>
          <a:lstStyle/>
          <a:p>
            <a:endParaRPr lang="pl-PL"/>
          </a:p>
        </p:txBody>
      </p:sp>
      <p:sp>
        <p:nvSpPr>
          <p:cNvPr id="4" name="Symbol zastępczy numeru slajdu 3"/>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20390899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Zawartość z podpisem">
    <p:spTree>
      <p:nvGrpSpPr>
        <p:cNvPr id="1" name=""/>
        <p:cNvGrpSpPr/>
        <p:nvPr/>
      </p:nvGrpSpPr>
      <p:grpSpPr>
        <a:xfrm>
          <a:off x="0" y="0"/>
          <a:ext cx="0" cy="0"/>
          <a:chOff x="0" y="0"/>
          <a:chExt cx="0" cy="0"/>
        </a:xfrm>
      </p:grpSpPr>
      <p:sp>
        <p:nvSpPr>
          <p:cNvPr id="2" name="Tytuł 1"/>
          <p:cNvSpPr>
            <a:spLocks noGrp="1"/>
          </p:cNvSpPr>
          <p:nvPr>
            <p:ph type="title"/>
          </p:nvPr>
        </p:nvSpPr>
        <p:spPr>
          <a:xfrm>
            <a:off x="495062" y="273050"/>
            <a:ext cx="3257439" cy="1162050"/>
          </a:xfrm>
        </p:spPr>
        <p:txBody>
          <a:bodyPr anchor="b"/>
          <a:lstStyle>
            <a:lvl1pPr algn="l">
              <a:defRPr sz="2000" b="1"/>
            </a:lvl1pPr>
          </a:lstStyle>
          <a:p>
            <a:r>
              <a:rPr lang="pl-PL"/>
              <a:t>Kliknij, aby edytować styl</a:t>
            </a:r>
          </a:p>
        </p:txBody>
      </p:sp>
      <p:sp>
        <p:nvSpPr>
          <p:cNvPr id="3" name="Symbol zastępczy zawartości 2"/>
          <p:cNvSpPr>
            <a:spLocks noGrp="1"/>
          </p:cNvSpPr>
          <p:nvPr>
            <p:ph idx="1"/>
          </p:nvPr>
        </p:nvSpPr>
        <p:spPr>
          <a:xfrm>
            <a:off x="3871109" y="273051"/>
            <a:ext cx="55350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tekstu 3"/>
          <p:cNvSpPr>
            <a:spLocks noGrp="1"/>
          </p:cNvSpPr>
          <p:nvPr>
            <p:ph type="body" sz="half" idx="2"/>
          </p:nvPr>
        </p:nvSpPr>
        <p:spPr>
          <a:xfrm>
            <a:off x="495062" y="1435101"/>
            <a:ext cx="32574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l-PL"/>
              <a:t>Kliknij, aby edytować style wzorca tekstu</a:t>
            </a:r>
          </a:p>
        </p:txBody>
      </p:sp>
      <p:sp>
        <p:nvSpPr>
          <p:cNvPr id="5" name="Symbol zastępczy daty 4"/>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6" name="Symbol zastępczy stopki 5"/>
          <p:cNvSpPr>
            <a:spLocks noGrp="1"/>
          </p:cNvSpPr>
          <p:nvPr>
            <p:ph type="ftr" sz="quarter" idx="11"/>
          </p:nvPr>
        </p:nvSpPr>
        <p:spPr/>
        <p:txBody>
          <a:bodyPr/>
          <a:lstStyle/>
          <a:p>
            <a:endParaRPr lang="pl-PL"/>
          </a:p>
        </p:txBody>
      </p:sp>
      <p:sp>
        <p:nvSpPr>
          <p:cNvPr id="7" name="Symbol zastępczy numeru slajdu 6"/>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38778793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Obraz z podpisem">
    <p:spTree>
      <p:nvGrpSpPr>
        <p:cNvPr id="1" name=""/>
        <p:cNvGrpSpPr/>
        <p:nvPr/>
      </p:nvGrpSpPr>
      <p:grpSpPr>
        <a:xfrm>
          <a:off x="0" y="0"/>
          <a:ext cx="0" cy="0"/>
          <a:chOff x="0" y="0"/>
          <a:chExt cx="0" cy="0"/>
        </a:xfrm>
      </p:grpSpPr>
      <p:sp>
        <p:nvSpPr>
          <p:cNvPr id="2" name="Tytuł 1"/>
          <p:cNvSpPr>
            <a:spLocks noGrp="1"/>
          </p:cNvSpPr>
          <p:nvPr>
            <p:ph type="title"/>
          </p:nvPr>
        </p:nvSpPr>
        <p:spPr>
          <a:xfrm>
            <a:off x="1940712" y="4800600"/>
            <a:ext cx="5940743" cy="566738"/>
          </a:xfrm>
        </p:spPr>
        <p:txBody>
          <a:bodyPr anchor="b"/>
          <a:lstStyle>
            <a:lvl1pPr algn="l">
              <a:defRPr sz="2000" b="1"/>
            </a:lvl1pPr>
          </a:lstStyle>
          <a:p>
            <a:r>
              <a:rPr lang="pl-PL"/>
              <a:t>Kliknij, aby edytować styl</a:t>
            </a:r>
          </a:p>
        </p:txBody>
      </p:sp>
      <p:sp>
        <p:nvSpPr>
          <p:cNvPr id="3" name="Symbol zastępczy obrazu 2"/>
          <p:cNvSpPr>
            <a:spLocks noGrp="1"/>
          </p:cNvSpPr>
          <p:nvPr>
            <p:ph type="pic" idx="1"/>
          </p:nvPr>
        </p:nvSpPr>
        <p:spPr>
          <a:xfrm>
            <a:off x="1940712" y="612775"/>
            <a:ext cx="594074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l-PL"/>
          </a:p>
        </p:txBody>
      </p:sp>
      <p:sp>
        <p:nvSpPr>
          <p:cNvPr id="4" name="Symbol zastępczy tekstu 3"/>
          <p:cNvSpPr>
            <a:spLocks noGrp="1"/>
          </p:cNvSpPr>
          <p:nvPr>
            <p:ph type="body" sz="half" idx="2"/>
          </p:nvPr>
        </p:nvSpPr>
        <p:spPr>
          <a:xfrm>
            <a:off x="1940712" y="5367338"/>
            <a:ext cx="594074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l-PL"/>
              <a:t>Kliknij, aby edytować style wzorca tekstu</a:t>
            </a:r>
          </a:p>
        </p:txBody>
      </p:sp>
      <p:sp>
        <p:nvSpPr>
          <p:cNvPr id="5" name="Symbol zastępczy daty 4"/>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6" name="Symbol zastępczy stopki 5"/>
          <p:cNvSpPr>
            <a:spLocks noGrp="1"/>
          </p:cNvSpPr>
          <p:nvPr>
            <p:ph type="ftr" sz="quarter" idx="11"/>
          </p:nvPr>
        </p:nvSpPr>
        <p:spPr/>
        <p:txBody>
          <a:bodyPr/>
          <a:lstStyle/>
          <a:p>
            <a:endParaRPr lang="pl-PL"/>
          </a:p>
        </p:txBody>
      </p:sp>
      <p:sp>
        <p:nvSpPr>
          <p:cNvPr id="7" name="Symbol zastępczy numeru slajdu 6"/>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23731647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ytuł i tekst pionowy">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a:t>Kliknij, aby edytować styl</a:t>
            </a:r>
          </a:p>
        </p:txBody>
      </p:sp>
      <p:sp>
        <p:nvSpPr>
          <p:cNvPr id="3" name="Symbol zastępczy tytułu pionowego 2"/>
          <p:cNvSpPr>
            <a:spLocks noGrp="1"/>
          </p:cNvSpPr>
          <p:nvPr>
            <p:ph type="body" orient="vert" idx="1"/>
          </p:nvPr>
        </p:nvSpPr>
        <p:spPr/>
        <p:txBody>
          <a:bodyPr vert="eaVert"/>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daty 3"/>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5" name="Symbol zastępczy stopki 4"/>
          <p:cNvSpPr>
            <a:spLocks noGrp="1"/>
          </p:cNvSpPr>
          <p:nvPr>
            <p:ph type="ftr" sz="quarter" idx="11"/>
          </p:nvPr>
        </p:nvSpPr>
        <p:spPr/>
        <p:txBody>
          <a:bodyPr/>
          <a:lstStyle/>
          <a:p>
            <a:endParaRPr lang="pl-PL"/>
          </a:p>
        </p:txBody>
      </p:sp>
      <p:sp>
        <p:nvSpPr>
          <p:cNvPr id="6" name="Symbol zastępczy numeru slajdu 5"/>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24674157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Tytuł pionowy i tekst">
    <p:spTree>
      <p:nvGrpSpPr>
        <p:cNvPr id="1" name=""/>
        <p:cNvGrpSpPr/>
        <p:nvPr/>
      </p:nvGrpSpPr>
      <p:grpSpPr>
        <a:xfrm>
          <a:off x="0" y="0"/>
          <a:ext cx="0" cy="0"/>
          <a:chOff x="0" y="0"/>
          <a:chExt cx="0" cy="0"/>
        </a:xfrm>
      </p:grpSpPr>
      <p:sp>
        <p:nvSpPr>
          <p:cNvPr id="2" name="Tytuł pionowy 1"/>
          <p:cNvSpPr>
            <a:spLocks noGrp="1"/>
          </p:cNvSpPr>
          <p:nvPr>
            <p:ph type="title" orient="vert"/>
          </p:nvPr>
        </p:nvSpPr>
        <p:spPr>
          <a:xfrm>
            <a:off x="7178397" y="274639"/>
            <a:ext cx="2227779" cy="5851525"/>
          </a:xfrm>
        </p:spPr>
        <p:txBody>
          <a:bodyPr vert="eaVert"/>
          <a:lstStyle/>
          <a:p>
            <a:r>
              <a:rPr lang="pl-PL"/>
              <a:t>Kliknij, aby edytować styl</a:t>
            </a:r>
          </a:p>
        </p:txBody>
      </p:sp>
      <p:sp>
        <p:nvSpPr>
          <p:cNvPr id="3" name="Symbol zastępczy tytułu pionowego 2"/>
          <p:cNvSpPr>
            <a:spLocks noGrp="1"/>
          </p:cNvSpPr>
          <p:nvPr>
            <p:ph type="body" orient="vert" idx="1"/>
          </p:nvPr>
        </p:nvSpPr>
        <p:spPr>
          <a:xfrm>
            <a:off x="495062" y="274639"/>
            <a:ext cx="6518315" cy="5851525"/>
          </a:xfrm>
        </p:spPr>
        <p:txBody>
          <a:bodyPr vert="eaVert"/>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daty 3"/>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5" name="Symbol zastępczy stopki 4"/>
          <p:cNvSpPr>
            <a:spLocks noGrp="1"/>
          </p:cNvSpPr>
          <p:nvPr>
            <p:ph type="ftr" sz="quarter" idx="11"/>
          </p:nvPr>
        </p:nvSpPr>
        <p:spPr/>
        <p:txBody>
          <a:bodyPr/>
          <a:lstStyle/>
          <a:p>
            <a:endParaRPr lang="pl-PL"/>
          </a:p>
        </p:txBody>
      </p:sp>
      <p:sp>
        <p:nvSpPr>
          <p:cNvPr id="6" name="Symbol zastępczy numeru slajdu 5"/>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36943728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26C88C0-CB8B-4524-AE36-F79B0B3B991B}"/>
              </a:ext>
            </a:extLst>
          </p:cNvPr>
          <p:cNvGraphicFramePr>
            <a:graphicFrameLocks noChangeAspect="1"/>
          </p:cNvGraphicFramePr>
          <p:nvPr userDrawn="1">
            <p:custDataLst>
              <p:tags r:id="rId1"/>
            </p:custDataLst>
          </p:nvPr>
        </p:nvGraphicFramePr>
        <p:xfrm>
          <a:off x="1719" y="1588"/>
          <a:ext cx="1720" cy="1588"/>
        </p:xfrm>
        <a:graphic>
          <a:graphicData uri="http://schemas.openxmlformats.org/presentationml/2006/ole">
            <mc:AlternateContent xmlns:mc="http://schemas.openxmlformats.org/markup-compatibility/2006">
              <mc:Choice xmlns:v="urn:schemas-microsoft-com:vml" Requires="v">
                <p:oleObj name="think-cell Folie" r:id="rId3" imgW="421" imgH="420" progId="TCLayout.ActiveDocument.1">
                  <p:embed/>
                </p:oleObj>
              </mc:Choice>
              <mc:Fallback>
                <p:oleObj name="think-cell Folie" r:id="rId3" imgW="421" imgH="420" progId="TCLayout.ActiveDocument.1">
                  <p:embed/>
                  <p:pic>
                    <p:nvPicPr>
                      <p:cNvPr id="7" name="Objekt 6" hidden="1">
                        <a:extLst>
                          <a:ext uri="{FF2B5EF4-FFF2-40B4-BE49-F238E27FC236}">
                            <a16:creationId xmlns:a16="http://schemas.microsoft.com/office/drawing/2014/main" id="{626C88C0-CB8B-4524-AE36-F79B0B3B991B}"/>
                          </a:ext>
                        </a:extLst>
                      </p:cNvPr>
                      <p:cNvPicPr/>
                      <p:nvPr/>
                    </p:nvPicPr>
                    <p:blipFill>
                      <a:blip r:embed="rId4"/>
                      <a:stretch>
                        <a:fillRect/>
                      </a:stretch>
                    </p:blipFill>
                    <p:spPr>
                      <a:xfrm>
                        <a:off x="1719" y="1588"/>
                        <a:ext cx="1720" cy="1588"/>
                      </a:xfrm>
                      <a:prstGeom prst="rect">
                        <a:avLst/>
                      </a:prstGeom>
                    </p:spPr>
                  </p:pic>
                </p:oleObj>
              </mc:Fallback>
            </mc:AlternateContent>
          </a:graphicData>
        </a:graphic>
      </p:graphicFrame>
      <p:pic>
        <p:nvPicPr>
          <p:cNvPr id="23" name="Billede 3" descr="Logo_gray.png">
            <a:extLst>
              <a:ext uri="{FF2B5EF4-FFF2-40B4-BE49-F238E27FC236}">
                <a16:creationId xmlns:a16="http://schemas.microsoft.com/office/drawing/2014/main" id="{A2737C24-37BE-43DF-A4C8-77139A41F11B}"/>
              </a:ext>
            </a:extLst>
          </p:cNvPr>
          <p:cNvPicPr>
            <a:picLocks noChangeAspect="1"/>
          </p:cNvPicPr>
          <p:nvPr userDrawn="1"/>
        </p:nvPicPr>
        <p:blipFill>
          <a:blip r:embed="rId5" cstate="print"/>
          <a:stretch>
            <a:fillRect/>
          </a:stretch>
        </p:blipFill>
        <p:spPr>
          <a:xfrm>
            <a:off x="4353109" y="3875446"/>
            <a:ext cx="4981852" cy="3996406"/>
          </a:xfrm>
          <a:prstGeom prst="rect">
            <a:avLst/>
          </a:prstGeom>
        </p:spPr>
      </p:pic>
      <p:pic>
        <p:nvPicPr>
          <p:cNvPr id="24" name="Billede 4" descr="RFC3-ScanMed_medium.JPG">
            <a:extLst>
              <a:ext uri="{FF2B5EF4-FFF2-40B4-BE49-F238E27FC236}">
                <a16:creationId xmlns:a16="http://schemas.microsoft.com/office/drawing/2014/main" id="{4EEFE208-801A-4C85-85E9-C8F4645CA7F0}"/>
              </a:ext>
            </a:extLst>
          </p:cNvPr>
          <p:cNvPicPr/>
          <p:nvPr userDrawn="1"/>
        </p:nvPicPr>
        <p:blipFill>
          <a:blip r:embed="rId6" cstate="print"/>
          <a:stretch>
            <a:fillRect/>
          </a:stretch>
        </p:blipFill>
        <p:spPr>
          <a:xfrm>
            <a:off x="6588014" y="476672"/>
            <a:ext cx="2746947" cy="672028"/>
          </a:xfrm>
          <a:prstGeom prst="rect">
            <a:avLst/>
          </a:prstGeom>
        </p:spPr>
      </p:pic>
      <p:grpSp>
        <p:nvGrpSpPr>
          <p:cNvPr id="26" name="Group 2">
            <a:extLst>
              <a:ext uri="{FF2B5EF4-FFF2-40B4-BE49-F238E27FC236}">
                <a16:creationId xmlns:a16="http://schemas.microsoft.com/office/drawing/2014/main" id="{BDF30C32-E497-4962-B9D3-0E77F8DB4CA9}"/>
              </a:ext>
            </a:extLst>
          </p:cNvPr>
          <p:cNvGrpSpPr>
            <a:grpSpLocks noChangeAspect="1"/>
          </p:cNvGrpSpPr>
          <p:nvPr userDrawn="1"/>
        </p:nvGrpSpPr>
        <p:grpSpPr bwMode="auto">
          <a:xfrm>
            <a:off x="740176" y="3447346"/>
            <a:ext cx="8536894" cy="53975"/>
            <a:chOff x="2241" y="2818"/>
            <a:chExt cx="6887" cy="85"/>
          </a:xfrm>
        </p:grpSpPr>
        <p:sp>
          <p:nvSpPr>
            <p:cNvPr id="27" name="Rectangle 3">
              <a:extLst>
                <a:ext uri="{FF2B5EF4-FFF2-40B4-BE49-F238E27FC236}">
                  <a16:creationId xmlns:a16="http://schemas.microsoft.com/office/drawing/2014/main" id="{7B802CF8-5F7B-45E7-A1DD-98D6A1036E92}"/>
                </a:ext>
              </a:extLst>
            </p:cNvPr>
            <p:cNvSpPr>
              <a:spLocks noChangeArrowheads="1"/>
            </p:cNvSpPr>
            <p:nvPr/>
          </p:nvSpPr>
          <p:spPr bwMode="auto">
            <a:xfrm>
              <a:off x="4621" y="2818"/>
              <a:ext cx="2028" cy="85"/>
            </a:xfrm>
            <a:prstGeom prst="rect">
              <a:avLst/>
            </a:prstGeom>
            <a:solidFill>
              <a:srgbClr val="00B2B4"/>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8" name="Rectangle 4">
              <a:extLst>
                <a:ext uri="{FF2B5EF4-FFF2-40B4-BE49-F238E27FC236}">
                  <a16:creationId xmlns:a16="http://schemas.microsoft.com/office/drawing/2014/main" id="{CC4AE02E-6B47-4661-B8AC-F255791A89FB}"/>
                </a:ext>
              </a:extLst>
            </p:cNvPr>
            <p:cNvSpPr>
              <a:spLocks noChangeArrowheads="1"/>
            </p:cNvSpPr>
            <p:nvPr/>
          </p:nvSpPr>
          <p:spPr bwMode="auto">
            <a:xfrm>
              <a:off x="2241" y="2818"/>
              <a:ext cx="2354" cy="85"/>
            </a:xfrm>
            <a:prstGeom prst="rect">
              <a:avLst/>
            </a:prstGeom>
            <a:solidFill>
              <a:srgbClr val="00ACE1"/>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9" name="Rectangle 5">
              <a:extLst>
                <a:ext uri="{FF2B5EF4-FFF2-40B4-BE49-F238E27FC236}">
                  <a16:creationId xmlns:a16="http://schemas.microsoft.com/office/drawing/2014/main" id="{86B75A4E-F586-4729-8711-D74FAFD759BE}"/>
                </a:ext>
              </a:extLst>
            </p:cNvPr>
            <p:cNvSpPr>
              <a:spLocks noChangeArrowheads="1"/>
            </p:cNvSpPr>
            <p:nvPr/>
          </p:nvSpPr>
          <p:spPr bwMode="auto">
            <a:xfrm>
              <a:off x="6675" y="2818"/>
              <a:ext cx="1553" cy="85"/>
            </a:xfrm>
            <a:prstGeom prst="rect">
              <a:avLst/>
            </a:prstGeom>
            <a:solidFill>
              <a:srgbClr val="7FC00F"/>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30" name="Rectangle 6">
              <a:extLst>
                <a:ext uri="{FF2B5EF4-FFF2-40B4-BE49-F238E27FC236}">
                  <a16:creationId xmlns:a16="http://schemas.microsoft.com/office/drawing/2014/main" id="{82997C06-6961-43E8-B05E-1851DCA94C85}"/>
                </a:ext>
              </a:extLst>
            </p:cNvPr>
            <p:cNvSpPr>
              <a:spLocks noChangeArrowheads="1"/>
            </p:cNvSpPr>
            <p:nvPr/>
          </p:nvSpPr>
          <p:spPr bwMode="auto">
            <a:xfrm>
              <a:off x="8255" y="2818"/>
              <a:ext cx="873" cy="85"/>
            </a:xfrm>
            <a:prstGeom prst="rect">
              <a:avLst/>
            </a:prstGeom>
            <a:solidFill>
              <a:srgbClr val="DEDC00"/>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grpSp>
      <p:sp>
        <p:nvSpPr>
          <p:cNvPr id="34" name="Textplatzhalter 33">
            <a:extLst>
              <a:ext uri="{FF2B5EF4-FFF2-40B4-BE49-F238E27FC236}">
                <a16:creationId xmlns:a16="http://schemas.microsoft.com/office/drawing/2014/main" id="{AA842A1E-948A-48EC-A328-191DB5CD89EB}"/>
              </a:ext>
            </a:extLst>
          </p:cNvPr>
          <p:cNvSpPr>
            <a:spLocks noGrp="1"/>
          </p:cNvSpPr>
          <p:nvPr>
            <p:ph type="body" sz="quarter" idx="10" hasCustomPrompt="1"/>
          </p:nvPr>
        </p:nvSpPr>
        <p:spPr>
          <a:xfrm>
            <a:off x="740176" y="2717473"/>
            <a:ext cx="7016841" cy="575717"/>
          </a:xfrm>
          <a:prstGeom prst="rect">
            <a:avLst/>
          </a:prstGeom>
        </p:spPr>
        <p:txBody>
          <a:bodyPr/>
          <a:lstStyle>
            <a:lvl1pPr marL="0" indent="0">
              <a:buNone/>
              <a:defRPr b="1"/>
            </a:lvl1pPr>
          </a:lstStyle>
          <a:p>
            <a:pPr lvl="0"/>
            <a:r>
              <a:rPr lang="en-US" noProof="0"/>
              <a:t>Title Subchapter</a:t>
            </a:r>
          </a:p>
        </p:txBody>
      </p:sp>
      <p:sp>
        <p:nvSpPr>
          <p:cNvPr id="35" name="Textplatzhalter 33" title="Subtitle">
            <a:extLst>
              <a:ext uri="{FF2B5EF4-FFF2-40B4-BE49-F238E27FC236}">
                <a16:creationId xmlns:a16="http://schemas.microsoft.com/office/drawing/2014/main" id="{FA14C959-36DC-41E8-BFA9-EA7C0BC8415A}"/>
              </a:ext>
            </a:extLst>
          </p:cNvPr>
          <p:cNvSpPr>
            <a:spLocks noGrp="1"/>
          </p:cNvSpPr>
          <p:nvPr>
            <p:ph type="body" sz="quarter" idx="11" hasCustomPrompt="1"/>
          </p:nvPr>
        </p:nvSpPr>
        <p:spPr>
          <a:xfrm>
            <a:off x="740176" y="3655477"/>
            <a:ext cx="7016841" cy="439941"/>
          </a:xfrm>
          <a:prstGeom prst="rect">
            <a:avLst/>
          </a:prstGeom>
        </p:spPr>
        <p:txBody>
          <a:bodyPr>
            <a:normAutofit/>
          </a:bodyPr>
          <a:lstStyle>
            <a:lvl1pPr marL="0" indent="0">
              <a:buNone/>
              <a:defRPr sz="2500" b="0"/>
            </a:lvl1pPr>
          </a:lstStyle>
          <a:p>
            <a:pPr lvl="0"/>
            <a:r>
              <a:rPr lang="en-US" noProof="0"/>
              <a:t>Subtitle Subchapter</a:t>
            </a:r>
          </a:p>
        </p:txBody>
      </p:sp>
    </p:spTree>
    <p:extLst>
      <p:ext uri="{BB962C8B-B14F-4D97-AF65-F5344CB8AC3E}">
        <p14:creationId xmlns:p14="http://schemas.microsoft.com/office/powerpoint/2010/main" val="653023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ytuł i zawartość">
    <p:spTree>
      <p:nvGrpSpPr>
        <p:cNvPr id="1" name=""/>
        <p:cNvGrpSpPr/>
        <p:nvPr/>
      </p:nvGrpSpPr>
      <p:grpSpPr>
        <a:xfrm>
          <a:off x="0" y="0"/>
          <a:ext cx="0" cy="0"/>
          <a:chOff x="0" y="0"/>
          <a:chExt cx="0" cy="0"/>
        </a:xfrm>
      </p:grpSpPr>
      <p:pic>
        <p:nvPicPr>
          <p:cNvPr id="9" name="Obraz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506651"/>
            <a:ext cx="9901238" cy="351349"/>
          </a:xfrm>
          <a:prstGeom prst="rect">
            <a:avLst/>
          </a:prstGeom>
        </p:spPr>
      </p:pic>
      <p:sp>
        <p:nvSpPr>
          <p:cNvPr id="10" name="Prostokąt 9"/>
          <p:cNvSpPr/>
          <p:nvPr userDrawn="1"/>
        </p:nvSpPr>
        <p:spPr>
          <a:xfrm>
            <a:off x="9005120" y="6506652"/>
            <a:ext cx="389856" cy="35134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600"/>
          </a:p>
        </p:txBody>
      </p:sp>
      <p:sp>
        <p:nvSpPr>
          <p:cNvPr id="11" name="pole tekstowe 10"/>
          <p:cNvSpPr txBox="1"/>
          <p:nvPr userDrawn="1"/>
        </p:nvSpPr>
        <p:spPr>
          <a:xfrm>
            <a:off x="9005120" y="6543826"/>
            <a:ext cx="389856" cy="461665"/>
          </a:xfrm>
          <a:prstGeom prst="rect">
            <a:avLst/>
          </a:prstGeom>
          <a:noFill/>
        </p:spPr>
        <p:txBody>
          <a:bodyPr wrap="square" rtlCol="0">
            <a:spAutoFit/>
          </a:bodyPr>
          <a:lstStyle/>
          <a:p>
            <a:pPr algn="ctr"/>
            <a:fld id="{B13DDB92-8240-4ADB-8D32-311E8B7EEF15}" type="slidenum">
              <a:rPr lang="pl-PL" sz="1200" smtClean="0">
                <a:solidFill>
                  <a:schemeClr val="bg1"/>
                </a:solidFill>
              </a:rPr>
              <a:pPr algn="ctr"/>
              <a:t>‹#›</a:t>
            </a:fld>
            <a:endParaRPr lang="pl-PL" sz="1200">
              <a:solidFill>
                <a:schemeClr val="bg1"/>
              </a:solidFill>
            </a:endParaRPr>
          </a:p>
        </p:txBody>
      </p:sp>
      <p:pic>
        <p:nvPicPr>
          <p:cNvPr id="2" name="Obraz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901238" cy="878372"/>
          </a:xfrm>
          <a:prstGeom prst="rect">
            <a:avLst/>
          </a:prstGeom>
        </p:spPr>
      </p:pic>
    </p:spTree>
    <p:extLst>
      <p:ext uri="{BB962C8B-B14F-4D97-AF65-F5344CB8AC3E}">
        <p14:creationId xmlns:p14="http://schemas.microsoft.com/office/powerpoint/2010/main" val="20519758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Slajd tytułowy">
    <p:spTree>
      <p:nvGrpSpPr>
        <p:cNvPr id="1" name=""/>
        <p:cNvGrpSpPr/>
        <p:nvPr/>
      </p:nvGrpSpPr>
      <p:grpSpPr>
        <a:xfrm>
          <a:off x="0" y="0"/>
          <a:ext cx="0" cy="0"/>
          <a:chOff x="0" y="0"/>
          <a:chExt cx="0" cy="0"/>
        </a:xfrm>
      </p:grpSpPr>
      <p:sp>
        <p:nvSpPr>
          <p:cNvPr id="2" name="Tytuł 1"/>
          <p:cNvSpPr>
            <a:spLocks noGrp="1"/>
          </p:cNvSpPr>
          <p:nvPr>
            <p:ph type="ctrTitle"/>
          </p:nvPr>
        </p:nvSpPr>
        <p:spPr>
          <a:xfrm>
            <a:off x="742593" y="2130426"/>
            <a:ext cx="8416052" cy="1470025"/>
          </a:xfrm>
        </p:spPr>
        <p:txBody>
          <a:bodyPr/>
          <a:lstStyle/>
          <a:p>
            <a:r>
              <a:rPr lang="pl-PL"/>
              <a:t>Kliknij, aby edytować styl</a:t>
            </a:r>
          </a:p>
        </p:txBody>
      </p:sp>
      <p:sp>
        <p:nvSpPr>
          <p:cNvPr id="3" name="Podtytuł 2"/>
          <p:cNvSpPr>
            <a:spLocks noGrp="1"/>
          </p:cNvSpPr>
          <p:nvPr>
            <p:ph type="subTitle" idx="1"/>
          </p:nvPr>
        </p:nvSpPr>
        <p:spPr>
          <a:xfrm>
            <a:off x="1485186" y="3886200"/>
            <a:ext cx="6930867"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l-PL"/>
              <a:t>Kliknij, aby edytować styl wzorca podtytułu</a:t>
            </a:r>
          </a:p>
        </p:txBody>
      </p:sp>
      <p:sp>
        <p:nvSpPr>
          <p:cNvPr id="4" name="Symbol zastępczy daty 3"/>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5" name="Symbol zastępczy stopki 4"/>
          <p:cNvSpPr>
            <a:spLocks noGrp="1"/>
          </p:cNvSpPr>
          <p:nvPr>
            <p:ph type="ftr" sz="quarter" idx="11"/>
          </p:nvPr>
        </p:nvSpPr>
        <p:spPr/>
        <p:txBody>
          <a:bodyPr/>
          <a:lstStyle/>
          <a:p>
            <a:endParaRPr lang="pl-PL"/>
          </a:p>
        </p:txBody>
      </p:sp>
      <p:sp>
        <p:nvSpPr>
          <p:cNvPr id="6" name="Symbol zastępczy numeru slajdu 5"/>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41595086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ytuł i zawartość">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a:t>Kliknij, aby edytować styl</a:t>
            </a:r>
          </a:p>
        </p:txBody>
      </p:sp>
      <p:sp>
        <p:nvSpPr>
          <p:cNvPr id="3" name="Symbol zastępczy zawartości 2"/>
          <p:cNvSpPr>
            <a:spLocks noGrp="1"/>
          </p:cNvSpPr>
          <p:nvPr>
            <p:ph idx="1"/>
          </p:nvPr>
        </p:nvSpPr>
        <p:spPr/>
        <p:txBody>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daty 3"/>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5" name="Symbol zastępczy stopki 4"/>
          <p:cNvSpPr>
            <a:spLocks noGrp="1"/>
          </p:cNvSpPr>
          <p:nvPr>
            <p:ph type="ftr" sz="quarter" idx="11"/>
          </p:nvPr>
        </p:nvSpPr>
        <p:spPr/>
        <p:txBody>
          <a:bodyPr/>
          <a:lstStyle/>
          <a:p>
            <a:endParaRPr lang="pl-PL"/>
          </a:p>
        </p:txBody>
      </p:sp>
      <p:sp>
        <p:nvSpPr>
          <p:cNvPr id="6" name="Symbol zastępczy numeru slajdu 5"/>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5459417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Nagłówek sekcji">
    <p:spTree>
      <p:nvGrpSpPr>
        <p:cNvPr id="1" name=""/>
        <p:cNvGrpSpPr/>
        <p:nvPr/>
      </p:nvGrpSpPr>
      <p:grpSpPr>
        <a:xfrm>
          <a:off x="0" y="0"/>
          <a:ext cx="0" cy="0"/>
          <a:chOff x="0" y="0"/>
          <a:chExt cx="0" cy="0"/>
        </a:xfrm>
      </p:grpSpPr>
      <p:sp>
        <p:nvSpPr>
          <p:cNvPr id="2" name="Tytuł 1"/>
          <p:cNvSpPr>
            <a:spLocks noGrp="1"/>
          </p:cNvSpPr>
          <p:nvPr>
            <p:ph type="title"/>
          </p:nvPr>
        </p:nvSpPr>
        <p:spPr>
          <a:xfrm>
            <a:off x="782130" y="4406901"/>
            <a:ext cx="8416052" cy="1362075"/>
          </a:xfrm>
        </p:spPr>
        <p:txBody>
          <a:bodyPr anchor="t"/>
          <a:lstStyle>
            <a:lvl1pPr algn="l">
              <a:defRPr sz="4000" b="1" cap="all"/>
            </a:lvl1pPr>
          </a:lstStyle>
          <a:p>
            <a:r>
              <a:rPr lang="pl-PL"/>
              <a:t>Kliknij, aby edytować styl</a:t>
            </a:r>
          </a:p>
        </p:txBody>
      </p:sp>
      <p:sp>
        <p:nvSpPr>
          <p:cNvPr id="3" name="Symbol zastępczy tekstu 2"/>
          <p:cNvSpPr>
            <a:spLocks noGrp="1"/>
          </p:cNvSpPr>
          <p:nvPr>
            <p:ph type="body" idx="1"/>
          </p:nvPr>
        </p:nvSpPr>
        <p:spPr>
          <a:xfrm>
            <a:off x="782130" y="2906713"/>
            <a:ext cx="8416052"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l-PL"/>
              <a:t>Kliknij, aby edytować style wzorca tekstu</a:t>
            </a:r>
          </a:p>
        </p:txBody>
      </p:sp>
      <p:sp>
        <p:nvSpPr>
          <p:cNvPr id="4" name="Symbol zastępczy daty 3"/>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5" name="Symbol zastępczy stopki 4"/>
          <p:cNvSpPr>
            <a:spLocks noGrp="1"/>
          </p:cNvSpPr>
          <p:nvPr>
            <p:ph type="ftr" sz="quarter" idx="11"/>
          </p:nvPr>
        </p:nvSpPr>
        <p:spPr/>
        <p:txBody>
          <a:bodyPr/>
          <a:lstStyle/>
          <a:p>
            <a:endParaRPr lang="pl-PL"/>
          </a:p>
        </p:txBody>
      </p:sp>
      <p:sp>
        <p:nvSpPr>
          <p:cNvPr id="6" name="Symbol zastępczy numeru slajdu 5"/>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38136161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Dwa elementy zawartości">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a:t>Kliknij, aby edytować styl</a:t>
            </a:r>
          </a:p>
        </p:txBody>
      </p:sp>
      <p:sp>
        <p:nvSpPr>
          <p:cNvPr id="3" name="Symbol zastępczy zawartości 2"/>
          <p:cNvSpPr>
            <a:spLocks noGrp="1"/>
          </p:cNvSpPr>
          <p:nvPr>
            <p:ph sz="half" idx="1"/>
          </p:nvPr>
        </p:nvSpPr>
        <p:spPr>
          <a:xfrm>
            <a:off x="495062" y="1600201"/>
            <a:ext cx="4373047"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zawartości 3"/>
          <p:cNvSpPr>
            <a:spLocks noGrp="1"/>
          </p:cNvSpPr>
          <p:nvPr>
            <p:ph sz="half" idx="2"/>
          </p:nvPr>
        </p:nvSpPr>
        <p:spPr>
          <a:xfrm>
            <a:off x="5033129" y="1600201"/>
            <a:ext cx="4373047"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5" name="Symbol zastępczy daty 4"/>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6" name="Symbol zastępczy stopki 5"/>
          <p:cNvSpPr>
            <a:spLocks noGrp="1"/>
          </p:cNvSpPr>
          <p:nvPr>
            <p:ph type="ftr" sz="quarter" idx="11"/>
          </p:nvPr>
        </p:nvSpPr>
        <p:spPr/>
        <p:txBody>
          <a:bodyPr/>
          <a:lstStyle/>
          <a:p>
            <a:endParaRPr lang="pl-PL"/>
          </a:p>
        </p:txBody>
      </p:sp>
      <p:sp>
        <p:nvSpPr>
          <p:cNvPr id="7" name="Symbol zastępczy numeru slajdu 6"/>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38452244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Porównanie">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lvl1pPr>
              <a:defRPr/>
            </a:lvl1pPr>
          </a:lstStyle>
          <a:p>
            <a:r>
              <a:rPr lang="pl-PL"/>
              <a:t>Kliknij, aby edytować styl</a:t>
            </a:r>
          </a:p>
        </p:txBody>
      </p:sp>
      <p:sp>
        <p:nvSpPr>
          <p:cNvPr id="3" name="Symbol zastępczy tekstu 2"/>
          <p:cNvSpPr>
            <a:spLocks noGrp="1"/>
          </p:cNvSpPr>
          <p:nvPr>
            <p:ph type="body" idx="1"/>
          </p:nvPr>
        </p:nvSpPr>
        <p:spPr>
          <a:xfrm>
            <a:off x="495062" y="1535113"/>
            <a:ext cx="437476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l-PL"/>
              <a:t>Kliknij, aby edytować style wzorca tekstu</a:t>
            </a:r>
          </a:p>
        </p:txBody>
      </p:sp>
      <p:sp>
        <p:nvSpPr>
          <p:cNvPr id="4" name="Symbol zastępczy zawartości 3"/>
          <p:cNvSpPr>
            <a:spLocks noGrp="1"/>
          </p:cNvSpPr>
          <p:nvPr>
            <p:ph sz="half" idx="2"/>
          </p:nvPr>
        </p:nvSpPr>
        <p:spPr>
          <a:xfrm>
            <a:off x="495062" y="2174875"/>
            <a:ext cx="43747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5" name="Symbol zastępczy tekstu 4"/>
          <p:cNvSpPr>
            <a:spLocks noGrp="1"/>
          </p:cNvSpPr>
          <p:nvPr>
            <p:ph type="body" sz="quarter" idx="3"/>
          </p:nvPr>
        </p:nvSpPr>
        <p:spPr>
          <a:xfrm>
            <a:off x="5029692" y="1535113"/>
            <a:ext cx="437648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l-PL"/>
              <a:t>Kliknij, aby edytować style wzorca tekstu</a:t>
            </a:r>
          </a:p>
        </p:txBody>
      </p:sp>
      <p:sp>
        <p:nvSpPr>
          <p:cNvPr id="6" name="Symbol zastępczy zawartości 5"/>
          <p:cNvSpPr>
            <a:spLocks noGrp="1"/>
          </p:cNvSpPr>
          <p:nvPr>
            <p:ph sz="quarter" idx="4"/>
          </p:nvPr>
        </p:nvSpPr>
        <p:spPr>
          <a:xfrm>
            <a:off x="5029692" y="2174875"/>
            <a:ext cx="437648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7" name="Symbol zastępczy daty 6"/>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8" name="Symbol zastępczy stopki 7"/>
          <p:cNvSpPr>
            <a:spLocks noGrp="1"/>
          </p:cNvSpPr>
          <p:nvPr>
            <p:ph type="ftr" sz="quarter" idx="11"/>
          </p:nvPr>
        </p:nvSpPr>
        <p:spPr/>
        <p:txBody>
          <a:bodyPr/>
          <a:lstStyle/>
          <a:p>
            <a:endParaRPr lang="pl-PL"/>
          </a:p>
        </p:txBody>
      </p:sp>
      <p:sp>
        <p:nvSpPr>
          <p:cNvPr id="9" name="Symbol zastępczy numeru slajdu 8"/>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18960647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ylko tytuł">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a:t>Kliknij, aby edytować styl</a:t>
            </a:r>
          </a:p>
        </p:txBody>
      </p:sp>
      <p:sp>
        <p:nvSpPr>
          <p:cNvPr id="3" name="Symbol zastępczy daty 2"/>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4" name="Symbol zastępczy stopki 3"/>
          <p:cNvSpPr>
            <a:spLocks noGrp="1"/>
          </p:cNvSpPr>
          <p:nvPr>
            <p:ph type="ftr" sz="quarter" idx="11"/>
          </p:nvPr>
        </p:nvSpPr>
        <p:spPr/>
        <p:txBody>
          <a:bodyPr/>
          <a:lstStyle/>
          <a:p>
            <a:endParaRPr lang="pl-PL"/>
          </a:p>
        </p:txBody>
      </p:sp>
      <p:sp>
        <p:nvSpPr>
          <p:cNvPr id="5" name="Symbol zastępczy numeru slajdu 4"/>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36480711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Pusty">
    <p:spTree>
      <p:nvGrpSpPr>
        <p:cNvPr id="1" name=""/>
        <p:cNvGrpSpPr/>
        <p:nvPr/>
      </p:nvGrpSpPr>
      <p:grpSpPr>
        <a:xfrm>
          <a:off x="0" y="0"/>
          <a:ext cx="0" cy="0"/>
          <a:chOff x="0" y="0"/>
          <a:chExt cx="0" cy="0"/>
        </a:xfrm>
      </p:grpSpPr>
      <p:sp>
        <p:nvSpPr>
          <p:cNvPr id="2" name="Symbol zastępczy daty 1"/>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3" name="Symbol zastępczy stopki 2"/>
          <p:cNvSpPr>
            <a:spLocks noGrp="1"/>
          </p:cNvSpPr>
          <p:nvPr>
            <p:ph type="ftr" sz="quarter" idx="11"/>
          </p:nvPr>
        </p:nvSpPr>
        <p:spPr/>
        <p:txBody>
          <a:bodyPr/>
          <a:lstStyle/>
          <a:p>
            <a:endParaRPr lang="pl-PL"/>
          </a:p>
        </p:txBody>
      </p:sp>
      <p:sp>
        <p:nvSpPr>
          <p:cNvPr id="4" name="Symbol zastępczy numeru slajdu 3"/>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139227163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Zawartość z podpisem">
    <p:spTree>
      <p:nvGrpSpPr>
        <p:cNvPr id="1" name=""/>
        <p:cNvGrpSpPr/>
        <p:nvPr/>
      </p:nvGrpSpPr>
      <p:grpSpPr>
        <a:xfrm>
          <a:off x="0" y="0"/>
          <a:ext cx="0" cy="0"/>
          <a:chOff x="0" y="0"/>
          <a:chExt cx="0" cy="0"/>
        </a:xfrm>
      </p:grpSpPr>
      <p:sp>
        <p:nvSpPr>
          <p:cNvPr id="2" name="Tytuł 1"/>
          <p:cNvSpPr>
            <a:spLocks noGrp="1"/>
          </p:cNvSpPr>
          <p:nvPr>
            <p:ph type="title"/>
          </p:nvPr>
        </p:nvSpPr>
        <p:spPr>
          <a:xfrm>
            <a:off x="495062" y="273050"/>
            <a:ext cx="3257439" cy="1162050"/>
          </a:xfrm>
        </p:spPr>
        <p:txBody>
          <a:bodyPr anchor="b"/>
          <a:lstStyle>
            <a:lvl1pPr algn="l">
              <a:defRPr sz="2000" b="1"/>
            </a:lvl1pPr>
          </a:lstStyle>
          <a:p>
            <a:r>
              <a:rPr lang="pl-PL"/>
              <a:t>Kliknij, aby edytować styl</a:t>
            </a:r>
          </a:p>
        </p:txBody>
      </p:sp>
      <p:sp>
        <p:nvSpPr>
          <p:cNvPr id="3" name="Symbol zastępczy zawartości 2"/>
          <p:cNvSpPr>
            <a:spLocks noGrp="1"/>
          </p:cNvSpPr>
          <p:nvPr>
            <p:ph idx="1"/>
          </p:nvPr>
        </p:nvSpPr>
        <p:spPr>
          <a:xfrm>
            <a:off x="3871109" y="273051"/>
            <a:ext cx="55350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tekstu 3"/>
          <p:cNvSpPr>
            <a:spLocks noGrp="1"/>
          </p:cNvSpPr>
          <p:nvPr>
            <p:ph type="body" sz="half" idx="2"/>
          </p:nvPr>
        </p:nvSpPr>
        <p:spPr>
          <a:xfrm>
            <a:off x="495062" y="1435101"/>
            <a:ext cx="32574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l-PL"/>
              <a:t>Kliknij, aby edytować style wzorca tekstu</a:t>
            </a:r>
          </a:p>
        </p:txBody>
      </p:sp>
      <p:sp>
        <p:nvSpPr>
          <p:cNvPr id="5" name="Symbol zastępczy daty 4"/>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6" name="Symbol zastępczy stopki 5"/>
          <p:cNvSpPr>
            <a:spLocks noGrp="1"/>
          </p:cNvSpPr>
          <p:nvPr>
            <p:ph type="ftr" sz="quarter" idx="11"/>
          </p:nvPr>
        </p:nvSpPr>
        <p:spPr/>
        <p:txBody>
          <a:bodyPr/>
          <a:lstStyle/>
          <a:p>
            <a:endParaRPr lang="pl-PL"/>
          </a:p>
        </p:txBody>
      </p:sp>
      <p:sp>
        <p:nvSpPr>
          <p:cNvPr id="7" name="Symbol zastępczy numeru slajdu 6"/>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9256580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Obraz z podpisem">
    <p:spTree>
      <p:nvGrpSpPr>
        <p:cNvPr id="1" name=""/>
        <p:cNvGrpSpPr/>
        <p:nvPr/>
      </p:nvGrpSpPr>
      <p:grpSpPr>
        <a:xfrm>
          <a:off x="0" y="0"/>
          <a:ext cx="0" cy="0"/>
          <a:chOff x="0" y="0"/>
          <a:chExt cx="0" cy="0"/>
        </a:xfrm>
      </p:grpSpPr>
      <p:sp>
        <p:nvSpPr>
          <p:cNvPr id="2" name="Tytuł 1"/>
          <p:cNvSpPr>
            <a:spLocks noGrp="1"/>
          </p:cNvSpPr>
          <p:nvPr>
            <p:ph type="title"/>
          </p:nvPr>
        </p:nvSpPr>
        <p:spPr>
          <a:xfrm>
            <a:off x="1940712" y="4800600"/>
            <a:ext cx="5940743" cy="566738"/>
          </a:xfrm>
        </p:spPr>
        <p:txBody>
          <a:bodyPr anchor="b"/>
          <a:lstStyle>
            <a:lvl1pPr algn="l">
              <a:defRPr sz="2000" b="1"/>
            </a:lvl1pPr>
          </a:lstStyle>
          <a:p>
            <a:r>
              <a:rPr lang="pl-PL"/>
              <a:t>Kliknij, aby edytować styl</a:t>
            </a:r>
          </a:p>
        </p:txBody>
      </p:sp>
      <p:sp>
        <p:nvSpPr>
          <p:cNvPr id="3" name="Symbol zastępczy obrazu 2"/>
          <p:cNvSpPr>
            <a:spLocks noGrp="1"/>
          </p:cNvSpPr>
          <p:nvPr>
            <p:ph type="pic" idx="1"/>
          </p:nvPr>
        </p:nvSpPr>
        <p:spPr>
          <a:xfrm>
            <a:off x="1940712" y="612775"/>
            <a:ext cx="594074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l-PL"/>
          </a:p>
        </p:txBody>
      </p:sp>
      <p:sp>
        <p:nvSpPr>
          <p:cNvPr id="4" name="Symbol zastępczy tekstu 3"/>
          <p:cNvSpPr>
            <a:spLocks noGrp="1"/>
          </p:cNvSpPr>
          <p:nvPr>
            <p:ph type="body" sz="half" idx="2"/>
          </p:nvPr>
        </p:nvSpPr>
        <p:spPr>
          <a:xfrm>
            <a:off x="1940712" y="5367338"/>
            <a:ext cx="594074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l-PL"/>
              <a:t>Kliknij, aby edytować style wzorca tekstu</a:t>
            </a:r>
          </a:p>
        </p:txBody>
      </p:sp>
      <p:sp>
        <p:nvSpPr>
          <p:cNvPr id="5" name="Symbol zastępczy daty 4"/>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6" name="Symbol zastępczy stopki 5"/>
          <p:cNvSpPr>
            <a:spLocks noGrp="1"/>
          </p:cNvSpPr>
          <p:nvPr>
            <p:ph type="ftr" sz="quarter" idx="11"/>
          </p:nvPr>
        </p:nvSpPr>
        <p:spPr/>
        <p:txBody>
          <a:bodyPr/>
          <a:lstStyle/>
          <a:p>
            <a:endParaRPr lang="pl-PL"/>
          </a:p>
        </p:txBody>
      </p:sp>
      <p:sp>
        <p:nvSpPr>
          <p:cNvPr id="7" name="Symbol zastępczy numeru slajdu 6"/>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32233219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26C88C0-CB8B-4524-AE36-F79B0B3B991B}"/>
              </a:ext>
            </a:extLst>
          </p:cNvPr>
          <p:cNvGraphicFramePr>
            <a:graphicFrameLocks noChangeAspect="1"/>
          </p:cNvGraphicFramePr>
          <p:nvPr userDrawn="1">
            <p:custDataLst>
              <p:tags r:id="rId1"/>
            </p:custDataLst>
          </p:nvPr>
        </p:nvGraphicFramePr>
        <p:xfrm>
          <a:off x="1719" y="1588"/>
          <a:ext cx="1720" cy="1588"/>
        </p:xfrm>
        <a:graphic>
          <a:graphicData uri="http://schemas.openxmlformats.org/presentationml/2006/ole">
            <mc:AlternateContent xmlns:mc="http://schemas.openxmlformats.org/markup-compatibility/2006">
              <mc:Choice xmlns:v="urn:schemas-microsoft-com:vml" Requires="v">
                <p:oleObj name="think-cell Folie" r:id="rId3" imgW="421" imgH="420" progId="TCLayout.ActiveDocument.1">
                  <p:embed/>
                </p:oleObj>
              </mc:Choice>
              <mc:Fallback>
                <p:oleObj name="think-cell Folie" r:id="rId3" imgW="421" imgH="420" progId="TCLayout.ActiveDocument.1">
                  <p:embed/>
                  <p:pic>
                    <p:nvPicPr>
                      <p:cNvPr id="7" name="Objekt 6" hidden="1">
                        <a:extLst>
                          <a:ext uri="{FF2B5EF4-FFF2-40B4-BE49-F238E27FC236}">
                            <a16:creationId xmlns:a16="http://schemas.microsoft.com/office/drawing/2014/main" id="{626C88C0-CB8B-4524-AE36-F79B0B3B991B}"/>
                          </a:ext>
                        </a:extLst>
                      </p:cNvPr>
                      <p:cNvPicPr/>
                      <p:nvPr/>
                    </p:nvPicPr>
                    <p:blipFill>
                      <a:blip r:embed="rId4"/>
                      <a:stretch>
                        <a:fillRect/>
                      </a:stretch>
                    </p:blipFill>
                    <p:spPr>
                      <a:xfrm>
                        <a:off x="1719" y="1588"/>
                        <a:ext cx="1720" cy="1588"/>
                      </a:xfrm>
                      <a:prstGeom prst="rect">
                        <a:avLst/>
                      </a:prstGeom>
                    </p:spPr>
                  </p:pic>
                </p:oleObj>
              </mc:Fallback>
            </mc:AlternateContent>
          </a:graphicData>
        </a:graphic>
      </p:graphicFrame>
      <p:pic>
        <p:nvPicPr>
          <p:cNvPr id="23" name="Billede 3" descr="Logo_gray.png">
            <a:extLst>
              <a:ext uri="{FF2B5EF4-FFF2-40B4-BE49-F238E27FC236}">
                <a16:creationId xmlns:a16="http://schemas.microsoft.com/office/drawing/2014/main" id="{A2737C24-37BE-43DF-A4C8-77139A41F11B}"/>
              </a:ext>
            </a:extLst>
          </p:cNvPr>
          <p:cNvPicPr>
            <a:picLocks noChangeAspect="1"/>
          </p:cNvPicPr>
          <p:nvPr userDrawn="1"/>
        </p:nvPicPr>
        <p:blipFill>
          <a:blip r:embed="rId5" cstate="print"/>
          <a:stretch>
            <a:fillRect/>
          </a:stretch>
        </p:blipFill>
        <p:spPr>
          <a:xfrm>
            <a:off x="4353109" y="3875446"/>
            <a:ext cx="4981852" cy="3996406"/>
          </a:xfrm>
          <a:prstGeom prst="rect">
            <a:avLst/>
          </a:prstGeom>
        </p:spPr>
      </p:pic>
      <p:pic>
        <p:nvPicPr>
          <p:cNvPr id="24" name="Billede 4" descr="RFC3-ScanMed_medium.JPG">
            <a:extLst>
              <a:ext uri="{FF2B5EF4-FFF2-40B4-BE49-F238E27FC236}">
                <a16:creationId xmlns:a16="http://schemas.microsoft.com/office/drawing/2014/main" id="{4EEFE208-801A-4C85-85E9-C8F4645CA7F0}"/>
              </a:ext>
            </a:extLst>
          </p:cNvPr>
          <p:cNvPicPr/>
          <p:nvPr userDrawn="1"/>
        </p:nvPicPr>
        <p:blipFill>
          <a:blip r:embed="rId6" cstate="print"/>
          <a:stretch>
            <a:fillRect/>
          </a:stretch>
        </p:blipFill>
        <p:spPr>
          <a:xfrm>
            <a:off x="6588014" y="476672"/>
            <a:ext cx="2746947" cy="672028"/>
          </a:xfrm>
          <a:prstGeom prst="rect">
            <a:avLst/>
          </a:prstGeom>
        </p:spPr>
      </p:pic>
      <p:grpSp>
        <p:nvGrpSpPr>
          <p:cNvPr id="26" name="Group 2">
            <a:extLst>
              <a:ext uri="{FF2B5EF4-FFF2-40B4-BE49-F238E27FC236}">
                <a16:creationId xmlns:a16="http://schemas.microsoft.com/office/drawing/2014/main" id="{BDF30C32-E497-4962-B9D3-0E77F8DB4CA9}"/>
              </a:ext>
            </a:extLst>
          </p:cNvPr>
          <p:cNvGrpSpPr>
            <a:grpSpLocks noChangeAspect="1"/>
          </p:cNvGrpSpPr>
          <p:nvPr userDrawn="1"/>
        </p:nvGrpSpPr>
        <p:grpSpPr bwMode="auto">
          <a:xfrm>
            <a:off x="740176" y="3447346"/>
            <a:ext cx="8536894" cy="53975"/>
            <a:chOff x="2241" y="2818"/>
            <a:chExt cx="6887" cy="85"/>
          </a:xfrm>
        </p:grpSpPr>
        <p:sp>
          <p:nvSpPr>
            <p:cNvPr id="27" name="Rectangle 3">
              <a:extLst>
                <a:ext uri="{FF2B5EF4-FFF2-40B4-BE49-F238E27FC236}">
                  <a16:creationId xmlns:a16="http://schemas.microsoft.com/office/drawing/2014/main" id="{7B802CF8-5F7B-45E7-A1DD-98D6A1036E92}"/>
                </a:ext>
              </a:extLst>
            </p:cNvPr>
            <p:cNvSpPr>
              <a:spLocks noChangeArrowheads="1"/>
            </p:cNvSpPr>
            <p:nvPr/>
          </p:nvSpPr>
          <p:spPr bwMode="auto">
            <a:xfrm>
              <a:off x="4621" y="2818"/>
              <a:ext cx="2028" cy="85"/>
            </a:xfrm>
            <a:prstGeom prst="rect">
              <a:avLst/>
            </a:prstGeom>
            <a:solidFill>
              <a:srgbClr val="00B2B4"/>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8" name="Rectangle 4">
              <a:extLst>
                <a:ext uri="{FF2B5EF4-FFF2-40B4-BE49-F238E27FC236}">
                  <a16:creationId xmlns:a16="http://schemas.microsoft.com/office/drawing/2014/main" id="{CC4AE02E-6B47-4661-B8AC-F255791A89FB}"/>
                </a:ext>
              </a:extLst>
            </p:cNvPr>
            <p:cNvSpPr>
              <a:spLocks noChangeArrowheads="1"/>
            </p:cNvSpPr>
            <p:nvPr/>
          </p:nvSpPr>
          <p:spPr bwMode="auto">
            <a:xfrm>
              <a:off x="2241" y="2818"/>
              <a:ext cx="2354" cy="85"/>
            </a:xfrm>
            <a:prstGeom prst="rect">
              <a:avLst/>
            </a:prstGeom>
            <a:solidFill>
              <a:srgbClr val="00ACE1"/>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9" name="Rectangle 5">
              <a:extLst>
                <a:ext uri="{FF2B5EF4-FFF2-40B4-BE49-F238E27FC236}">
                  <a16:creationId xmlns:a16="http://schemas.microsoft.com/office/drawing/2014/main" id="{86B75A4E-F586-4729-8711-D74FAFD759BE}"/>
                </a:ext>
              </a:extLst>
            </p:cNvPr>
            <p:cNvSpPr>
              <a:spLocks noChangeArrowheads="1"/>
            </p:cNvSpPr>
            <p:nvPr/>
          </p:nvSpPr>
          <p:spPr bwMode="auto">
            <a:xfrm>
              <a:off x="6675" y="2818"/>
              <a:ext cx="1553" cy="85"/>
            </a:xfrm>
            <a:prstGeom prst="rect">
              <a:avLst/>
            </a:prstGeom>
            <a:solidFill>
              <a:srgbClr val="7FC00F"/>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30" name="Rectangle 6">
              <a:extLst>
                <a:ext uri="{FF2B5EF4-FFF2-40B4-BE49-F238E27FC236}">
                  <a16:creationId xmlns:a16="http://schemas.microsoft.com/office/drawing/2014/main" id="{82997C06-6961-43E8-B05E-1851DCA94C85}"/>
                </a:ext>
              </a:extLst>
            </p:cNvPr>
            <p:cNvSpPr>
              <a:spLocks noChangeArrowheads="1"/>
            </p:cNvSpPr>
            <p:nvPr/>
          </p:nvSpPr>
          <p:spPr bwMode="auto">
            <a:xfrm>
              <a:off x="8255" y="2818"/>
              <a:ext cx="873" cy="85"/>
            </a:xfrm>
            <a:prstGeom prst="rect">
              <a:avLst/>
            </a:prstGeom>
            <a:solidFill>
              <a:srgbClr val="DEDC00"/>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grpSp>
      <p:sp>
        <p:nvSpPr>
          <p:cNvPr id="34" name="Textplatzhalter 33">
            <a:extLst>
              <a:ext uri="{FF2B5EF4-FFF2-40B4-BE49-F238E27FC236}">
                <a16:creationId xmlns:a16="http://schemas.microsoft.com/office/drawing/2014/main" id="{AA842A1E-948A-48EC-A328-191DB5CD89EB}"/>
              </a:ext>
            </a:extLst>
          </p:cNvPr>
          <p:cNvSpPr>
            <a:spLocks noGrp="1"/>
          </p:cNvSpPr>
          <p:nvPr>
            <p:ph type="body" sz="quarter" idx="10" hasCustomPrompt="1"/>
          </p:nvPr>
        </p:nvSpPr>
        <p:spPr>
          <a:xfrm>
            <a:off x="740176" y="2717473"/>
            <a:ext cx="7016841" cy="575717"/>
          </a:xfrm>
          <a:prstGeom prst="rect">
            <a:avLst/>
          </a:prstGeom>
        </p:spPr>
        <p:txBody>
          <a:bodyPr/>
          <a:lstStyle>
            <a:lvl1pPr marL="0" indent="0">
              <a:buNone/>
              <a:defRPr b="1"/>
            </a:lvl1pPr>
          </a:lstStyle>
          <a:p>
            <a:pPr lvl="0"/>
            <a:r>
              <a:rPr lang="de-DE"/>
              <a:t>Title</a:t>
            </a:r>
          </a:p>
        </p:txBody>
      </p:sp>
      <p:sp>
        <p:nvSpPr>
          <p:cNvPr id="35" name="Textplatzhalter 33" title="Subtitle">
            <a:extLst>
              <a:ext uri="{FF2B5EF4-FFF2-40B4-BE49-F238E27FC236}">
                <a16:creationId xmlns:a16="http://schemas.microsoft.com/office/drawing/2014/main" id="{FA14C959-36DC-41E8-BFA9-EA7C0BC8415A}"/>
              </a:ext>
            </a:extLst>
          </p:cNvPr>
          <p:cNvSpPr>
            <a:spLocks noGrp="1"/>
          </p:cNvSpPr>
          <p:nvPr>
            <p:ph type="body" sz="quarter" idx="11" hasCustomPrompt="1"/>
          </p:nvPr>
        </p:nvSpPr>
        <p:spPr>
          <a:xfrm>
            <a:off x="740176" y="3655477"/>
            <a:ext cx="7016841" cy="439941"/>
          </a:xfrm>
          <a:prstGeom prst="rect">
            <a:avLst/>
          </a:prstGeom>
        </p:spPr>
        <p:txBody>
          <a:bodyPr>
            <a:normAutofit/>
          </a:bodyPr>
          <a:lstStyle>
            <a:lvl1pPr marL="0" indent="0">
              <a:buNone/>
              <a:defRPr sz="2500" b="0"/>
            </a:lvl1pPr>
          </a:lstStyle>
          <a:p>
            <a:pPr lvl="0"/>
            <a:r>
              <a:rPr lang="de-DE" err="1"/>
              <a:t>Subtitle</a:t>
            </a:r>
            <a:endParaRPr lang="de-DE"/>
          </a:p>
        </p:txBody>
      </p:sp>
      <p:sp>
        <p:nvSpPr>
          <p:cNvPr id="36" name="Textplatzhalter 33" title="Subtitle">
            <a:extLst>
              <a:ext uri="{FF2B5EF4-FFF2-40B4-BE49-F238E27FC236}">
                <a16:creationId xmlns:a16="http://schemas.microsoft.com/office/drawing/2014/main" id="{D4D9714C-3D56-488F-8BF9-61D03CA7DA46}"/>
              </a:ext>
            </a:extLst>
          </p:cNvPr>
          <p:cNvSpPr>
            <a:spLocks noGrp="1"/>
          </p:cNvSpPr>
          <p:nvPr>
            <p:ph type="body" sz="quarter" idx="12" hasCustomPrompt="1"/>
          </p:nvPr>
        </p:nvSpPr>
        <p:spPr>
          <a:xfrm>
            <a:off x="740175" y="4527466"/>
            <a:ext cx="7016841" cy="341925"/>
          </a:xfrm>
          <a:prstGeom prst="rect">
            <a:avLst/>
          </a:prstGeom>
        </p:spPr>
        <p:txBody>
          <a:bodyPr>
            <a:normAutofit/>
          </a:bodyPr>
          <a:lstStyle>
            <a:lvl1pPr marL="0" indent="0">
              <a:buNone/>
              <a:defRPr sz="1800" b="0"/>
            </a:lvl1pPr>
          </a:lstStyle>
          <a:p>
            <a:pPr lvl="0"/>
            <a:r>
              <a:rPr lang="de-DE"/>
              <a:t>Location/Meeting Information</a:t>
            </a:r>
          </a:p>
        </p:txBody>
      </p:sp>
      <p:sp>
        <p:nvSpPr>
          <p:cNvPr id="40" name="Textplatzhalter 33" title="Subtitle">
            <a:extLst>
              <a:ext uri="{FF2B5EF4-FFF2-40B4-BE49-F238E27FC236}">
                <a16:creationId xmlns:a16="http://schemas.microsoft.com/office/drawing/2014/main" id="{BD7EDD23-0E2C-4A22-9AF3-6482A755A5F6}"/>
              </a:ext>
            </a:extLst>
          </p:cNvPr>
          <p:cNvSpPr>
            <a:spLocks noGrp="1"/>
          </p:cNvSpPr>
          <p:nvPr>
            <p:ph type="body" sz="quarter" idx="13" hasCustomPrompt="1"/>
          </p:nvPr>
        </p:nvSpPr>
        <p:spPr>
          <a:xfrm>
            <a:off x="740175" y="5535578"/>
            <a:ext cx="7016841" cy="324913"/>
          </a:xfrm>
          <a:prstGeom prst="rect">
            <a:avLst/>
          </a:prstGeom>
        </p:spPr>
        <p:txBody>
          <a:bodyPr>
            <a:normAutofit/>
          </a:bodyPr>
          <a:lstStyle>
            <a:lvl1pPr marL="0" indent="0">
              <a:buNone/>
              <a:defRPr sz="1400" b="0"/>
            </a:lvl1pPr>
          </a:lstStyle>
          <a:p>
            <a:pPr lvl="0"/>
            <a:r>
              <a:rPr lang="de-DE"/>
              <a:t>Organizer</a:t>
            </a:r>
          </a:p>
        </p:txBody>
      </p:sp>
      <p:sp>
        <p:nvSpPr>
          <p:cNvPr id="41" name="Textplatzhalter 33" title="Subtitle">
            <a:extLst>
              <a:ext uri="{FF2B5EF4-FFF2-40B4-BE49-F238E27FC236}">
                <a16:creationId xmlns:a16="http://schemas.microsoft.com/office/drawing/2014/main" id="{ED16559F-CC1E-4182-9939-1229083D085F}"/>
              </a:ext>
            </a:extLst>
          </p:cNvPr>
          <p:cNvSpPr>
            <a:spLocks noGrp="1"/>
          </p:cNvSpPr>
          <p:nvPr>
            <p:ph type="body" sz="quarter" idx="14" hasCustomPrompt="1"/>
          </p:nvPr>
        </p:nvSpPr>
        <p:spPr>
          <a:xfrm>
            <a:off x="740175" y="5319554"/>
            <a:ext cx="7016841" cy="324913"/>
          </a:xfrm>
          <a:prstGeom prst="rect">
            <a:avLst/>
          </a:prstGeom>
        </p:spPr>
        <p:txBody>
          <a:bodyPr>
            <a:normAutofit/>
          </a:bodyPr>
          <a:lstStyle>
            <a:lvl1pPr marL="0" indent="0">
              <a:buNone/>
              <a:defRPr sz="1400" b="1"/>
            </a:lvl1pPr>
          </a:lstStyle>
          <a:p>
            <a:pPr lvl="0"/>
            <a:r>
              <a:rPr lang="de-DE"/>
              <a:t>Date</a:t>
            </a:r>
          </a:p>
        </p:txBody>
      </p:sp>
      <p:pic>
        <p:nvPicPr>
          <p:cNvPr id="4" name="Grafik 3">
            <a:extLst>
              <a:ext uri="{FF2B5EF4-FFF2-40B4-BE49-F238E27FC236}">
                <a16:creationId xmlns:a16="http://schemas.microsoft.com/office/drawing/2014/main" id="{60FBD9F0-EF1A-436E-AAE3-C17B1C600C5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66278" y="6093296"/>
            <a:ext cx="3526659" cy="570616"/>
          </a:xfrm>
          <a:prstGeom prst="rect">
            <a:avLst/>
          </a:prstGeom>
        </p:spPr>
      </p:pic>
    </p:spTree>
    <p:extLst>
      <p:ext uri="{BB962C8B-B14F-4D97-AF65-F5344CB8AC3E}">
        <p14:creationId xmlns:p14="http://schemas.microsoft.com/office/powerpoint/2010/main" val="35010899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ytuł i tekst pionowy">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a:t>Kliknij, aby edytować styl</a:t>
            </a:r>
          </a:p>
        </p:txBody>
      </p:sp>
      <p:sp>
        <p:nvSpPr>
          <p:cNvPr id="3" name="Symbol zastępczy tytułu pionowego 2"/>
          <p:cNvSpPr>
            <a:spLocks noGrp="1"/>
          </p:cNvSpPr>
          <p:nvPr>
            <p:ph type="body" orient="vert" idx="1"/>
          </p:nvPr>
        </p:nvSpPr>
        <p:spPr/>
        <p:txBody>
          <a:bodyPr vert="eaVert"/>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daty 3"/>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5" name="Symbol zastępczy stopki 4"/>
          <p:cNvSpPr>
            <a:spLocks noGrp="1"/>
          </p:cNvSpPr>
          <p:nvPr>
            <p:ph type="ftr" sz="quarter" idx="11"/>
          </p:nvPr>
        </p:nvSpPr>
        <p:spPr/>
        <p:txBody>
          <a:bodyPr/>
          <a:lstStyle/>
          <a:p>
            <a:endParaRPr lang="pl-PL"/>
          </a:p>
        </p:txBody>
      </p:sp>
      <p:sp>
        <p:nvSpPr>
          <p:cNvPr id="6" name="Symbol zastępczy numeru slajdu 5"/>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36485045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Tytuł pionowy i tekst">
    <p:spTree>
      <p:nvGrpSpPr>
        <p:cNvPr id="1" name=""/>
        <p:cNvGrpSpPr/>
        <p:nvPr/>
      </p:nvGrpSpPr>
      <p:grpSpPr>
        <a:xfrm>
          <a:off x="0" y="0"/>
          <a:ext cx="0" cy="0"/>
          <a:chOff x="0" y="0"/>
          <a:chExt cx="0" cy="0"/>
        </a:xfrm>
      </p:grpSpPr>
      <p:sp>
        <p:nvSpPr>
          <p:cNvPr id="2" name="Tytuł pionowy 1"/>
          <p:cNvSpPr>
            <a:spLocks noGrp="1"/>
          </p:cNvSpPr>
          <p:nvPr>
            <p:ph type="title" orient="vert"/>
          </p:nvPr>
        </p:nvSpPr>
        <p:spPr>
          <a:xfrm>
            <a:off x="7178397" y="274639"/>
            <a:ext cx="2227779" cy="5851525"/>
          </a:xfrm>
        </p:spPr>
        <p:txBody>
          <a:bodyPr vert="eaVert"/>
          <a:lstStyle/>
          <a:p>
            <a:r>
              <a:rPr lang="pl-PL"/>
              <a:t>Kliknij, aby edytować styl</a:t>
            </a:r>
          </a:p>
        </p:txBody>
      </p:sp>
      <p:sp>
        <p:nvSpPr>
          <p:cNvPr id="3" name="Symbol zastępczy tytułu pionowego 2"/>
          <p:cNvSpPr>
            <a:spLocks noGrp="1"/>
          </p:cNvSpPr>
          <p:nvPr>
            <p:ph type="body" orient="vert" idx="1"/>
          </p:nvPr>
        </p:nvSpPr>
        <p:spPr>
          <a:xfrm>
            <a:off x="495062" y="274639"/>
            <a:ext cx="6518315" cy="5851525"/>
          </a:xfrm>
        </p:spPr>
        <p:txBody>
          <a:bodyPr vert="eaVert"/>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daty 3"/>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5" name="Symbol zastępczy stopki 4"/>
          <p:cNvSpPr>
            <a:spLocks noGrp="1"/>
          </p:cNvSpPr>
          <p:nvPr>
            <p:ph type="ftr" sz="quarter" idx="11"/>
          </p:nvPr>
        </p:nvSpPr>
        <p:spPr/>
        <p:txBody>
          <a:bodyPr/>
          <a:lstStyle/>
          <a:p>
            <a:endParaRPr lang="pl-PL"/>
          </a:p>
        </p:txBody>
      </p:sp>
      <p:sp>
        <p:nvSpPr>
          <p:cNvPr id="6" name="Symbol zastępczy numeru slajdu 5"/>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14872790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Slajd tytułowy">
    <p:spTree>
      <p:nvGrpSpPr>
        <p:cNvPr id="1" name=""/>
        <p:cNvGrpSpPr/>
        <p:nvPr/>
      </p:nvGrpSpPr>
      <p:grpSpPr>
        <a:xfrm>
          <a:off x="0" y="0"/>
          <a:ext cx="0" cy="0"/>
          <a:chOff x="0" y="0"/>
          <a:chExt cx="0" cy="0"/>
        </a:xfrm>
      </p:grpSpPr>
      <p:sp>
        <p:nvSpPr>
          <p:cNvPr id="2" name="Tytuł 1"/>
          <p:cNvSpPr>
            <a:spLocks noGrp="1"/>
          </p:cNvSpPr>
          <p:nvPr>
            <p:ph type="ctrTitle"/>
          </p:nvPr>
        </p:nvSpPr>
        <p:spPr>
          <a:xfrm>
            <a:off x="742593" y="2130426"/>
            <a:ext cx="8416052" cy="1470025"/>
          </a:xfrm>
        </p:spPr>
        <p:txBody>
          <a:bodyPr/>
          <a:lstStyle/>
          <a:p>
            <a:r>
              <a:rPr lang="pl-PL"/>
              <a:t>Kliknij, aby edytować styl</a:t>
            </a:r>
          </a:p>
        </p:txBody>
      </p:sp>
      <p:sp>
        <p:nvSpPr>
          <p:cNvPr id="3" name="Podtytuł 2"/>
          <p:cNvSpPr>
            <a:spLocks noGrp="1"/>
          </p:cNvSpPr>
          <p:nvPr>
            <p:ph type="subTitle" idx="1"/>
          </p:nvPr>
        </p:nvSpPr>
        <p:spPr>
          <a:xfrm>
            <a:off x="1485186" y="3886200"/>
            <a:ext cx="6930867"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l-PL"/>
              <a:t>Kliknij, aby edytować styl wzorca podtytułu</a:t>
            </a:r>
          </a:p>
        </p:txBody>
      </p:sp>
      <p:sp>
        <p:nvSpPr>
          <p:cNvPr id="4" name="Symbol zastępczy daty 3"/>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5" name="Symbol zastępczy stopki 4"/>
          <p:cNvSpPr>
            <a:spLocks noGrp="1"/>
          </p:cNvSpPr>
          <p:nvPr>
            <p:ph type="ftr" sz="quarter" idx="11"/>
          </p:nvPr>
        </p:nvSpPr>
        <p:spPr/>
        <p:txBody>
          <a:bodyPr/>
          <a:lstStyle/>
          <a:p>
            <a:endParaRPr lang="pl-PL"/>
          </a:p>
        </p:txBody>
      </p:sp>
      <p:sp>
        <p:nvSpPr>
          <p:cNvPr id="6" name="Symbol zastępczy numeru slajdu 5"/>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228330439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ytuł i zawartość">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a:t>Kliknij, aby edytować styl</a:t>
            </a:r>
          </a:p>
        </p:txBody>
      </p:sp>
      <p:sp>
        <p:nvSpPr>
          <p:cNvPr id="3" name="Symbol zastępczy zawartości 2"/>
          <p:cNvSpPr>
            <a:spLocks noGrp="1"/>
          </p:cNvSpPr>
          <p:nvPr>
            <p:ph idx="1"/>
          </p:nvPr>
        </p:nvSpPr>
        <p:spPr/>
        <p:txBody>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daty 3"/>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5" name="Symbol zastępczy stopki 4"/>
          <p:cNvSpPr>
            <a:spLocks noGrp="1"/>
          </p:cNvSpPr>
          <p:nvPr>
            <p:ph type="ftr" sz="quarter" idx="11"/>
          </p:nvPr>
        </p:nvSpPr>
        <p:spPr/>
        <p:txBody>
          <a:bodyPr/>
          <a:lstStyle/>
          <a:p>
            <a:endParaRPr lang="pl-PL"/>
          </a:p>
        </p:txBody>
      </p:sp>
      <p:sp>
        <p:nvSpPr>
          <p:cNvPr id="6" name="Symbol zastępczy numeru slajdu 5"/>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16887669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Nagłówek sekcji">
    <p:spTree>
      <p:nvGrpSpPr>
        <p:cNvPr id="1" name=""/>
        <p:cNvGrpSpPr/>
        <p:nvPr/>
      </p:nvGrpSpPr>
      <p:grpSpPr>
        <a:xfrm>
          <a:off x="0" y="0"/>
          <a:ext cx="0" cy="0"/>
          <a:chOff x="0" y="0"/>
          <a:chExt cx="0" cy="0"/>
        </a:xfrm>
      </p:grpSpPr>
      <p:sp>
        <p:nvSpPr>
          <p:cNvPr id="2" name="Tytuł 1"/>
          <p:cNvSpPr>
            <a:spLocks noGrp="1"/>
          </p:cNvSpPr>
          <p:nvPr>
            <p:ph type="title"/>
          </p:nvPr>
        </p:nvSpPr>
        <p:spPr>
          <a:xfrm>
            <a:off x="782130" y="4406901"/>
            <a:ext cx="8416052" cy="1362075"/>
          </a:xfrm>
        </p:spPr>
        <p:txBody>
          <a:bodyPr anchor="t"/>
          <a:lstStyle>
            <a:lvl1pPr algn="l">
              <a:defRPr sz="4000" b="1" cap="all"/>
            </a:lvl1pPr>
          </a:lstStyle>
          <a:p>
            <a:r>
              <a:rPr lang="pl-PL"/>
              <a:t>Kliknij, aby edytować styl</a:t>
            </a:r>
          </a:p>
        </p:txBody>
      </p:sp>
      <p:sp>
        <p:nvSpPr>
          <p:cNvPr id="3" name="Symbol zastępczy tekstu 2"/>
          <p:cNvSpPr>
            <a:spLocks noGrp="1"/>
          </p:cNvSpPr>
          <p:nvPr>
            <p:ph type="body" idx="1"/>
          </p:nvPr>
        </p:nvSpPr>
        <p:spPr>
          <a:xfrm>
            <a:off x="782130" y="2906713"/>
            <a:ext cx="8416052"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l-PL"/>
              <a:t>Kliknij, aby edytować style wzorca tekstu</a:t>
            </a:r>
          </a:p>
        </p:txBody>
      </p:sp>
      <p:sp>
        <p:nvSpPr>
          <p:cNvPr id="4" name="Symbol zastępczy daty 3"/>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5" name="Symbol zastępczy stopki 4"/>
          <p:cNvSpPr>
            <a:spLocks noGrp="1"/>
          </p:cNvSpPr>
          <p:nvPr>
            <p:ph type="ftr" sz="quarter" idx="11"/>
          </p:nvPr>
        </p:nvSpPr>
        <p:spPr/>
        <p:txBody>
          <a:bodyPr/>
          <a:lstStyle/>
          <a:p>
            <a:endParaRPr lang="pl-PL"/>
          </a:p>
        </p:txBody>
      </p:sp>
      <p:sp>
        <p:nvSpPr>
          <p:cNvPr id="6" name="Symbol zastępczy numeru slajdu 5"/>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41078839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Dwa elementy zawartości">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a:t>Kliknij, aby edytować styl</a:t>
            </a:r>
          </a:p>
        </p:txBody>
      </p:sp>
      <p:sp>
        <p:nvSpPr>
          <p:cNvPr id="3" name="Symbol zastępczy zawartości 2"/>
          <p:cNvSpPr>
            <a:spLocks noGrp="1"/>
          </p:cNvSpPr>
          <p:nvPr>
            <p:ph sz="half" idx="1"/>
          </p:nvPr>
        </p:nvSpPr>
        <p:spPr>
          <a:xfrm>
            <a:off x="495062" y="1600201"/>
            <a:ext cx="4373047"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zawartości 3"/>
          <p:cNvSpPr>
            <a:spLocks noGrp="1"/>
          </p:cNvSpPr>
          <p:nvPr>
            <p:ph sz="half" idx="2"/>
          </p:nvPr>
        </p:nvSpPr>
        <p:spPr>
          <a:xfrm>
            <a:off x="5033129" y="1600201"/>
            <a:ext cx="4373047"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5" name="Symbol zastępczy daty 4"/>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6" name="Symbol zastępczy stopki 5"/>
          <p:cNvSpPr>
            <a:spLocks noGrp="1"/>
          </p:cNvSpPr>
          <p:nvPr>
            <p:ph type="ftr" sz="quarter" idx="11"/>
          </p:nvPr>
        </p:nvSpPr>
        <p:spPr/>
        <p:txBody>
          <a:bodyPr/>
          <a:lstStyle/>
          <a:p>
            <a:endParaRPr lang="pl-PL"/>
          </a:p>
        </p:txBody>
      </p:sp>
      <p:sp>
        <p:nvSpPr>
          <p:cNvPr id="7" name="Symbol zastępczy numeru slajdu 6"/>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37626096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Porównanie">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lvl1pPr>
              <a:defRPr/>
            </a:lvl1pPr>
          </a:lstStyle>
          <a:p>
            <a:r>
              <a:rPr lang="pl-PL"/>
              <a:t>Kliknij, aby edytować styl</a:t>
            </a:r>
          </a:p>
        </p:txBody>
      </p:sp>
      <p:sp>
        <p:nvSpPr>
          <p:cNvPr id="3" name="Symbol zastępczy tekstu 2"/>
          <p:cNvSpPr>
            <a:spLocks noGrp="1"/>
          </p:cNvSpPr>
          <p:nvPr>
            <p:ph type="body" idx="1"/>
          </p:nvPr>
        </p:nvSpPr>
        <p:spPr>
          <a:xfrm>
            <a:off x="495062" y="1535113"/>
            <a:ext cx="437476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l-PL"/>
              <a:t>Kliknij, aby edytować style wzorca tekstu</a:t>
            </a:r>
          </a:p>
        </p:txBody>
      </p:sp>
      <p:sp>
        <p:nvSpPr>
          <p:cNvPr id="4" name="Symbol zastępczy zawartości 3"/>
          <p:cNvSpPr>
            <a:spLocks noGrp="1"/>
          </p:cNvSpPr>
          <p:nvPr>
            <p:ph sz="half" idx="2"/>
          </p:nvPr>
        </p:nvSpPr>
        <p:spPr>
          <a:xfrm>
            <a:off x="495062" y="2174875"/>
            <a:ext cx="43747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5" name="Symbol zastępczy tekstu 4"/>
          <p:cNvSpPr>
            <a:spLocks noGrp="1"/>
          </p:cNvSpPr>
          <p:nvPr>
            <p:ph type="body" sz="quarter" idx="3"/>
          </p:nvPr>
        </p:nvSpPr>
        <p:spPr>
          <a:xfrm>
            <a:off x="5029692" y="1535113"/>
            <a:ext cx="437648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l-PL"/>
              <a:t>Kliknij, aby edytować style wzorca tekstu</a:t>
            </a:r>
          </a:p>
        </p:txBody>
      </p:sp>
      <p:sp>
        <p:nvSpPr>
          <p:cNvPr id="6" name="Symbol zastępczy zawartości 5"/>
          <p:cNvSpPr>
            <a:spLocks noGrp="1"/>
          </p:cNvSpPr>
          <p:nvPr>
            <p:ph sz="quarter" idx="4"/>
          </p:nvPr>
        </p:nvSpPr>
        <p:spPr>
          <a:xfrm>
            <a:off x="5029692" y="2174875"/>
            <a:ext cx="437648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7" name="Symbol zastępczy daty 6"/>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8" name="Symbol zastępczy stopki 7"/>
          <p:cNvSpPr>
            <a:spLocks noGrp="1"/>
          </p:cNvSpPr>
          <p:nvPr>
            <p:ph type="ftr" sz="quarter" idx="11"/>
          </p:nvPr>
        </p:nvSpPr>
        <p:spPr/>
        <p:txBody>
          <a:bodyPr/>
          <a:lstStyle/>
          <a:p>
            <a:endParaRPr lang="pl-PL"/>
          </a:p>
        </p:txBody>
      </p:sp>
      <p:sp>
        <p:nvSpPr>
          <p:cNvPr id="9" name="Symbol zastępczy numeru slajdu 8"/>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16790304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ylko tytuł">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a:t>Kliknij, aby edytować styl</a:t>
            </a:r>
          </a:p>
        </p:txBody>
      </p:sp>
      <p:sp>
        <p:nvSpPr>
          <p:cNvPr id="3" name="Symbol zastępczy daty 2"/>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4" name="Symbol zastępczy stopki 3"/>
          <p:cNvSpPr>
            <a:spLocks noGrp="1"/>
          </p:cNvSpPr>
          <p:nvPr>
            <p:ph type="ftr" sz="quarter" idx="11"/>
          </p:nvPr>
        </p:nvSpPr>
        <p:spPr/>
        <p:txBody>
          <a:bodyPr/>
          <a:lstStyle/>
          <a:p>
            <a:endParaRPr lang="pl-PL"/>
          </a:p>
        </p:txBody>
      </p:sp>
      <p:sp>
        <p:nvSpPr>
          <p:cNvPr id="5" name="Symbol zastępczy numeru slajdu 4"/>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25826432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Pusty">
    <p:spTree>
      <p:nvGrpSpPr>
        <p:cNvPr id="1" name=""/>
        <p:cNvGrpSpPr/>
        <p:nvPr/>
      </p:nvGrpSpPr>
      <p:grpSpPr>
        <a:xfrm>
          <a:off x="0" y="0"/>
          <a:ext cx="0" cy="0"/>
          <a:chOff x="0" y="0"/>
          <a:chExt cx="0" cy="0"/>
        </a:xfrm>
      </p:grpSpPr>
      <p:sp>
        <p:nvSpPr>
          <p:cNvPr id="2" name="Symbol zastępczy daty 1"/>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3" name="Symbol zastępczy stopki 2"/>
          <p:cNvSpPr>
            <a:spLocks noGrp="1"/>
          </p:cNvSpPr>
          <p:nvPr>
            <p:ph type="ftr" sz="quarter" idx="11"/>
          </p:nvPr>
        </p:nvSpPr>
        <p:spPr/>
        <p:txBody>
          <a:bodyPr/>
          <a:lstStyle/>
          <a:p>
            <a:endParaRPr lang="pl-PL"/>
          </a:p>
        </p:txBody>
      </p:sp>
      <p:sp>
        <p:nvSpPr>
          <p:cNvPr id="4" name="Symbol zastępczy numeru slajdu 3"/>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4255876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Zawartość z podpisem">
    <p:spTree>
      <p:nvGrpSpPr>
        <p:cNvPr id="1" name=""/>
        <p:cNvGrpSpPr/>
        <p:nvPr/>
      </p:nvGrpSpPr>
      <p:grpSpPr>
        <a:xfrm>
          <a:off x="0" y="0"/>
          <a:ext cx="0" cy="0"/>
          <a:chOff x="0" y="0"/>
          <a:chExt cx="0" cy="0"/>
        </a:xfrm>
      </p:grpSpPr>
      <p:sp>
        <p:nvSpPr>
          <p:cNvPr id="2" name="Tytuł 1"/>
          <p:cNvSpPr>
            <a:spLocks noGrp="1"/>
          </p:cNvSpPr>
          <p:nvPr>
            <p:ph type="title"/>
          </p:nvPr>
        </p:nvSpPr>
        <p:spPr>
          <a:xfrm>
            <a:off x="495062" y="273050"/>
            <a:ext cx="3257439" cy="1162050"/>
          </a:xfrm>
        </p:spPr>
        <p:txBody>
          <a:bodyPr anchor="b"/>
          <a:lstStyle>
            <a:lvl1pPr algn="l">
              <a:defRPr sz="2000" b="1"/>
            </a:lvl1pPr>
          </a:lstStyle>
          <a:p>
            <a:r>
              <a:rPr lang="pl-PL"/>
              <a:t>Kliknij, aby edytować styl</a:t>
            </a:r>
          </a:p>
        </p:txBody>
      </p:sp>
      <p:sp>
        <p:nvSpPr>
          <p:cNvPr id="3" name="Symbol zastępczy zawartości 2"/>
          <p:cNvSpPr>
            <a:spLocks noGrp="1"/>
          </p:cNvSpPr>
          <p:nvPr>
            <p:ph idx="1"/>
          </p:nvPr>
        </p:nvSpPr>
        <p:spPr>
          <a:xfrm>
            <a:off x="3871109" y="273051"/>
            <a:ext cx="55350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tekstu 3"/>
          <p:cNvSpPr>
            <a:spLocks noGrp="1"/>
          </p:cNvSpPr>
          <p:nvPr>
            <p:ph type="body" sz="half" idx="2"/>
          </p:nvPr>
        </p:nvSpPr>
        <p:spPr>
          <a:xfrm>
            <a:off x="495062" y="1435101"/>
            <a:ext cx="32574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l-PL"/>
              <a:t>Kliknij, aby edytować style wzorca tekstu</a:t>
            </a:r>
          </a:p>
        </p:txBody>
      </p:sp>
      <p:sp>
        <p:nvSpPr>
          <p:cNvPr id="5" name="Symbol zastępczy daty 4"/>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6" name="Symbol zastępczy stopki 5"/>
          <p:cNvSpPr>
            <a:spLocks noGrp="1"/>
          </p:cNvSpPr>
          <p:nvPr>
            <p:ph type="ftr" sz="quarter" idx="11"/>
          </p:nvPr>
        </p:nvSpPr>
        <p:spPr/>
        <p:txBody>
          <a:bodyPr/>
          <a:lstStyle/>
          <a:p>
            <a:endParaRPr lang="pl-PL"/>
          </a:p>
        </p:txBody>
      </p:sp>
      <p:sp>
        <p:nvSpPr>
          <p:cNvPr id="7" name="Symbol zastępczy numeru slajdu 6"/>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3489964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BE3776C-FDBF-4563-8B30-62E072ED903B}"/>
              </a:ext>
            </a:extLst>
          </p:cNvPr>
          <p:cNvGraphicFramePr>
            <a:graphicFrameLocks noChangeAspect="1"/>
          </p:cNvGraphicFramePr>
          <p:nvPr userDrawn="1">
            <p:custDataLst>
              <p:tags r:id="rId1"/>
            </p:custDataLst>
          </p:nvPr>
        </p:nvGraphicFramePr>
        <p:xfrm>
          <a:off x="1719" y="1588"/>
          <a:ext cx="1720"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6" name="Objekt 5" hidden="1">
                        <a:extLst>
                          <a:ext uri="{FF2B5EF4-FFF2-40B4-BE49-F238E27FC236}">
                            <a16:creationId xmlns:a16="http://schemas.microsoft.com/office/drawing/2014/main" id="{0BE3776C-FDBF-4563-8B30-62E072ED903B}"/>
                          </a:ext>
                        </a:extLst>
                      </p:cNvPr>
                      <p:cNvPicPr/>
                      <p:nvPr/>
                    </p:nvPicPr>
                    <p:blipFill>
                      <a:blip r:embed="rId5"/>
                      <a:stretch>
                        <a:fillRect/>
                      </a:stretch>
                    </p:blipFill>
                    <p:spPr>
                      <a:xfrm>
                        <a:off x="1719" y="1588"/>
                        <a:ext cx="1720" cy="1588"/>
                      </a:xfrm>
                      <a:prstGeom prst="rect">
                        <a:avLst/>
                      </a:prstGeom>
                    </p:spPr>
                  </p:pic>
                </p:oleObj>
              </mc:Fallback>
            </mc:AlternateContent>
          </a:graphicData>
        </a:graphic>
      </p:graphicFrame>
      <p:sp>
        <p:nvSpPr>
          <p:cNvPr id="13" name="Rechteck 12" hidden="1">
            <a:extLst>
              <a:ext uri="{FF2B5EF4-FFF2-40B4-BE49-F238E27FC236}">
                <a16:creationId xmlns:a16="http://schemas.microsoft.com/office/drawing/2014/main" id="{5C401561-6A58-4943-BC48-F5A6EF61D640}"/>
              </a:ext>
            </a:extLst>
          </p:cNvPr>
          <p:cNvSpPr/>
          <p:nvPr userDrawn="1">
            <p:custDataLst>
              <p:tags r:id="rId2"/>
            </p:custDataLst>
          </p:nvPr>
        </p:nvSpPr>
        <p:spPr>
          <a:xfrm>
            <a:off x="0" y="0"/>
            <a:ext cx="171896"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a:latin typeface="Calibri" panose="020F0502020204030204" pitchFamily="34" charset="0"/>
              <a:ea typeface="+mn-ea"/>
              <a:cs typeface="+mn-cs"/>
              <a:sym typeface="Calibri" panose="020F0502020204030204" pitchFamily="34" charset="0"/>
            </a:endParaRPr>
          </a:p>
        </p:txBody>
      </p:sp>
      <p:sp>
        <p:nvSpPr>
          <p:cNvPr id="8" name="Inhaltsplatzhalter 7">
            <a:extLst>
              <a:ext uri="{FF2B5EF4-FFF2-40B4-BE49-F238E27FC236}">
                <a16:creationId xmlns:a16="http://schemas.microsoft.com/office/drawing/2014/main" id="{CD991232-A066-4DF5-8907-14473F8D31B7}"/>
              </a:ext>
            </a:extLst>
          </p:cNvPr>
          <p:cNvSpPr>
            <a:spLocks noGrp="1"/>
          </p:cNvSpPr>
          <p:nvPr>
            <p:ph sz="quarter" idx="13" hasCustomPrompt="1"/>
          </p:nvPr>
        </p:nvSpPr>
        <p:spPr>
          <a:xfrm>
            <a:off x="680710" y="1125538"/>
            <a:ext cx="8725466" cy="5111750"/>
          </a:xfrm>
          <a:prstGeom prst="rect">
            <a:avLst/>
          </a:prstGeom>
        </p:spPr>
        <p:txBody>
          <a:bodyPr/>
          <a:lstStyle>
            <a:lvl1pPr>
              <a:defRPr sz="1800"/>
            </a:lvl1pPr>
            <a:lvl2pPr>
              <a:defRPr sz="1800"/>
            </a:lvl2pPr>
            <a:lvl3pPr>
              <a:defRPr sz="1800"/>
            </a:lvl3pPr>
            <a:lvl4pPr>
              <a:defRPr sz="1800"/>
            </a:lvl4pPr>
            <a:lvl5pPr>
              <a:defRPr sz="1800"/>
            </a:lvl5pPr>
          </a:lstStyle>
          <a:p>
            <a:pPr lvl="0"/>
            <a:r>
              <a:rPr lang="de-DE"/>
              <a:t>Enter Content</a:t>
            </a:r>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12" name="Titel 11">
            <a:extLst>
              <a:ext uri="{FF2B5EF4-FFF2-40B4-BE49-F238E27FC236}">
                <a16:creationId xmlns:a16="http://schemas.microsoft.com/office/drawing/2014/main" id="{A9B7AC91-3DD5-4E76-996B-7E8B7563FAD4}"/>
              </a:ext>
            </a:extLst>
          </p:cNvPr>
          <p:cNvSpPr>
            <a:spLocks noGrp="1"/>
          </p:cNvSpPr>
          <p:nvPr>
            <p:ph type="title" hasCustomPrompt="1"/>
          </p:nvPr>
        </p:nvSpPr>
        <p:spPr/>
        <p:txBody>
          <a:bodyPr/>
          <a:lstStyle>
            <a:lvl1pPr>
              <a:defRPr/>
            </a:lvl1pPr>
          </a:lstStyle>
          <a:p>
            <a:r>
              <a:rPr lang="de-DE"/>
              <a:t>Title</a:t>
            </a:r>
          </a:p>
        </p:txBody>
      </p:sp>
      <p:sp>
        <p:nvSpPr>
          <p:cNvPr id="2" name="Foliennummernplatzhalter 1">
            <a:extLst>
              <a:ext uri="{FF2B5EF4-FFF2-40B4-BE49-F238E27FC236}">
                <a16:creationId xmlns:a16="http://schemas.microsoft.com/office/drawing/2014/main" id="{15A4FAA9-BD39-44B6-AD3E-2F110DDE30F4}"/>
              </a:ext>
            </a:extLst>
          </p:cNvPr>
          <p:cNvSpPr>
            <a:spLocks noGrp="1"/>
          </p:cNvSpPr>
          <p:nvPr>
            <p:ph type="sldNum" sz="quarter" idx="14"/>
          </p:nvPr>
        </p:nvSpPr>
        <p:spPr/>
        <p:txBody>
          <a:bodyPr/>
          <a:lstStyle/>
          <a:p>
            <a:fld id="{7B8E2B6B-92C8-4058-B5A5-20555B1EC8E1}" type="slidenum">
              <a:rPr lang="da-DK" smtClean="0"/>
              <a:pPr/>
              <a:t>‹#›</a:t>
            </a:fld>
            <a:endParaRPr lang="da-DK"/>
          </a:p>
        </p:txBody>
      </p:sp>
    </p:spTree>
    <p:extLst>
      <p:ext uri="{BB962C8B-B14F-4D97-AF65-F5344CB8AC3E}">
        <p14:creationId xmlns:p14="http://schemas.microsoft.com/office/powerpoint/2010/main" val="135615187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Obraz z podpisem">
    <p:spTree>
      <p:nvGrpSpPr>
        <p:cNvPr id="1" name=""/>
        <p:cNvGrpSpPr/>
        <p:nvPr/>
      </p:nvGrpSpPr>
      <p:grpSpPr>
        <a:xfrm>
          <a:off x="0" y="0"/>
          <a:ext cx="0" cy="0"/>
          <a:chOff x="0" y="0"/>
          <a:chExt cx="0" cy="0"/>
        </a:xfrm>
      </p:grpSpPr>
      <p:sp>
        <p:nvSpPr>
          <p:cNvPr id="2" name="Tytuł 1"/>
          <p:cNvSpPr>
            <a:spLocks noGrp="1"/>
          </p:cNvSpPr>
          <p:nvPr>
            <p:ph type="title"/>
          </p:nvPr>
        </p:nvSpPr>
        <p:spPr>
          <a:xfrm>
            <a:off x="1940712" y="4800600"/>
            <a:ext cx="5940743" cy="566738"/>
          </a:xfrm>
        </p:spPr>
        <p:txBody>
          <a:bodyPr anchor="b"/>
          <a:lstStyle>
            <a:lvl1pPr algn="l">
              <a:defRPr sz="2000" b="1"/>
            </a:lvl1pPr>
          </a:lstStyle>
          <a:p>
            <a:r>
              <a:rPr lang="pl-PL"/>
              <a:t>Kliknij, aby edytować styl</a:t>
            </a:r>
          </a:p>
        </p:txBody>
      </p:sp>
      <p:sp>
        <p:nvSpPr>
          <p:cNvPr id="3" name="Symbol zastępczy obrazu 2"/>
          <p:cNvSpPr>
            <a:spLocks noGrp="1"/>
          </p:cNvSpPr>
          <p:nvPr>
            <p:ph type="pic" idx="1"/>
          </p:nvPr>
        </p:nvSpPr>
        <p:spPr>
          <a:xfrm>
            <a:off x="1940712" y="612775"/>
            <a:ext cx="5940743"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l-PL"/>
          </a:p>
        </p:txBody>
      </p:sp>
      <p:sp>
        <p:nvSpPr>
          <p:cNvPr id="4" name="Symbol zastępczy tekstu 3"/>
          <p:cNvSpPr>
            <a:spLocks noGrp="1"/>
          </p:cNvSpPr>
          <p:nvPr>
            <p:ph type="body" sz="half" idx="2"/>
          </p:nvPr>
        </p:nvSpPr>
        <p:spPr>
          <a:xfrm>
            <a:off x="1940712" y="5367338"/>
            <a:ext cx="5940743"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l-PL"/>
              <a:t>Kliknij, aby edytować style wzorca tekstu</a:t>
            </a:r>
          </a:p>
        </p:txBody>
      </p:sp>
      <p:sp>
        <p:nvSpPr>
          <p:cNvPr id="5" name="Symbol zastępczy daty 4"/>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6" name="Symbol zastępczy stopki 5"/>
          <p:cNvSpPr>
            <a:spLocks noGrp="1"/>
          </p:cNvSpPr>
          <p:nvPr>
            <p:ph type="ftr" sz="quarter" idx="11"/>
          </p:nvPr>
        </p:nvSpPr>
        <p:spPr/>
        <p:txBody>
          <a:bodyPr/>
          <a:lstStyle/>
          <a:p>
            <a:endParaRPr lang="pl-PL"/>
          </a:p>
        </p:txBody>
      </p:sp>
      <p:sp>
        <p:nvSpPr>
          <p:cNvPr id="7" name="Symbol zastępczy numeru slajdu 6"/>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4224088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ytuł i tekst pionowy">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a:t>Kliknij, aby edytować styl</a:t>
            </a:r>
          </a:p>
        </p:txBody>
      </p:sp>
      <p:sp>
        <p:nvSpPr>
          <p:cNvPr id="3" name="Symbol zastępczy tytułu pionowego 2"/>
          <p:cNvSpPr>
            <a:spLocks noGrp="1"/>
          </p:cNvSpPr>
          <p:nvPr>
            <p:ph type="body" orient="vert" idx="1"/>
          </p:nvPr>
        </p:nvSpPr>
        <p:spPr/>
        <p:txBody>
          <a:bodyPr vert="eaVert"/>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daty 3"/>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5" name="Symbol zastępczy stopki 4"/>
          <p:cNvSpPr>
            <a:spLocks noGrp="1"/>
          </p:cNvSpPr>
          <p:nvPr>
            <p:ph type="ftr" sz="quarter" idx="11"/>
          </p:nvPr>
        </p:nvSpPr>
        <p:spPr/>
        <p:txBody>
          <a:bodyPr/>
          <a:lstStyle/>
          <a:p>
            <a:endParaRPr lang="pl-PL"/>
          </a:p>
        </p:txBody>
      </p:sp>
      <p:sp>
        <p:nvSpPr>
          <p:cNvPr id="6" name="Symbol zastępczy numeru slajdu 5"/>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109288473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Tytuł pionowy i tekst">
    <p:spTree>
      <p:nvGrpSpPr>
        <p:cNvPr id="1" name=""/>
        <p:cNvGrpSpPr/>
        <p:nvPr/>
      </p:nvGrpSpPr>
      <p:grpSpPr>
        <a:xfrm>
          <a:off x="0" y="0"/>
          <a:ext cx="0" cy="0"/>
          <a:chOff x="0" y="0"/>
          <a:chExt cx="0" cy="0"/>
        </a:xfrm>
      </p:grpSpPr>
      <p:sp>
        <p:nvSpPr>
          <p:cNvPr id="2" name="Tytuł pionowy 1"/>
          <p:cNvSpPr>
            <a:spLocks noGrp="1"/>
          </p:cNvSpPr>
          <p:nvPr>
            <p:ph type="title" orient="vert"/>
          </p:nvPr>
        </p:nvSpPr>
        <p:spPr>
          <a:xfrm>
            <a:off x="7178397" y="274639"/>
            <a:ext cx="2227779" cy="5851525"/>
          </a:xfrm>
        </p:spPr>
        <p:txBody>
          <a:bodyPr vert="eaVert"/>
          <a:lstStyle/>
          <a:p>
            <a:r>
              <a:rPr lang="pl-PL"/>
              <a:t>Kliknij, aby edytować styl</a:t>
            </a:r>
          </a:p>
        </p:txBody>
      </p:sp>
      <p:sp>
        <p:nvSpPr>
          <p:cNvPr id="3" name="Symbol zastępczy tytułu pionowego 2"/>
          <p:cNvSpPr>
            <a:spLocks noGrp="1"/>
          </p:cNvSpPr>
          <p:nvPr>
            <p:ph type="body" orient="vert" idx="1"/>
          </p:nvPr>
        </p:nvSpPr>
        <p:spPr>
          <a:xfrm>
            <a:off x="495062" y="274639"/>
            <a:ext cx="6518315" cy="5851525"/>
          </a:xfrm>
        </p:spPr>
        <p:txBody>
          <a:bodyPr vert="eaVert"/>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daty 3"/>
          <p:cNvSpPr>
            <a:spLocks noGrp="1"/>
          </p:cNvSpPr>
          <p:nvPr>
            <p:ph type="dt" sz="half" idx="10"/>
          </p:nvPr>
        </p:nvSpPr>
        <p:spPr/>
        <p:txBody>
          <a:bodyPr/>
          <a:lstStyle/>
          <a:p>
            <a:fld id="{ACB423F8-4482-42A0-B427-4C08D7A842AE}" type="datetimeFigureOut">
              <a:rPr lang="pl-PL" smtClean="0"/>
              <a:pPr/>
              <a:t>05.03.2025</a:t>
            </a:fld>
            <a:endParaRPr lang="pl-PL"/>
          </a:p>
        </p:txBody>
      </p:sp>
      <p:sp>
        <p:nvSpPr>
          <p:cNvPr id="5" name="Symbol zastępczy stopki 4"/>
          <p:cNvSpPr>
            <a:spLocks noGrp="1"/>
          </p:cNvSpPr>
          <p:nvPr>
            <p:ph type="ftr" sz="quarter" idx="11"/>
          </p:nvPr>
        </p:nvSpPr>
        <p:spPr/>
        <p:txBody>
          <a:bodyPr/>
          <a:lstStyle/>
          <a:p>
            <a:endParaRPr lang="pl-PL"/>
          </a:p>
        </p:txBody>
      </p:sp>
      <p:sp>
        <p:nvSpPr>
          <p:cNvPr id="6" name="Symbol zastępczy numeru slajdu 5"/>
          <p:cNvSpPr>
            <a:spLocks noGrp="1"/>
          </p:cNvSpPr>
          <p:nvPr>
            <p:ph type="sldNum" sz="quarter" idx="12"/>
          </p:nvPr>
        </p:nvSpPr>
        <p:spPr/>
        <p:txBody>
          <a:bodyPr/>
          <a:lstStyle/>
          <a:p>
            <a:fld id="{50139ED5-3447-4DEB-8D75-8223C2750F30}" type="slidenum">
              <a:rPr lang="pl-PL" smtClean="0"/>
              <a:pPr/>
              <a:t>‹#›</a:t>
            </a:fld>
            <a:endParaRPr lang="pl-PL"/>
          </a:p>
        </p:txBody>
      </p:sp>
    </p:spTree>
    <p:extLst>
      <p:ext uri="{BB962C8B-B14F-4D97-AF65-F5344CB8AC3E}">
        <p14:creationId xmlns:p14="http://schemas.microsoft.com/office/powerpoint/2010/main" val="18063099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26C88C0-CB8B-4524-AE36-F79B0B3B991B}"/>
              </a:ext>
            </a:extLst>
          </p:cNvPr>
          <p:cNvGraphicFramePr>
            <a:graphicFrameLocks noChangeAspect="1"/>
          </p:cNvGraphicFramePr>
          <p:nvPr userDrawn="1">
            <p:custDataLst>
              <p:tags r:id="rId1"/>
            </p:custDataLst>
          </p:nvPr>
        </p:nvGraphicFramePr>
        <p:xfrm>
          <a:off x="1719" y="1588"/>
          <a:ext cx="1720" cy="1588"/>
        </p:xfrm>
        <a:graphic>
          <a:graphicData uri="http://schemas.openxmlformats.org/presentationml/2006/ole">
            <mc:AlternateContent xmlns:mc="http://schemas.openxmlformats.org/markup-compatibility/2006">
              <mc:Choice xmlns:v="urn:schemas-microsoft-com:vml" Requires="v">
                <p:oleObj name="think-cell Folie" r:id="rId3" imgW="421" imgH="420" progId="TCLayout.ActiveDocument.1">
                  <p:embed/>
                </p:oleObj>
              </mc:Choice>
              <mc:Fallback>
                <p:oleObj name="think-cell Folie" r:id="rId3" imgW="421" imgH="420" progId="TCLayout.ActiveDocument.1">
                  <p:embed/>
                  <p:pic>
                    <p:nvPicPr>
                      <p:cNvPr id="7" name="Objekt 6" hidden="1">
                        <a:extLst>
                          <a:ext uri="{FF2B5EF4-FFF2-40B4-BE49-F238E27FC236}">
                            <a16:creationId xmlns:a16="http://schemas.microsoft.com/office/drawing/2014/main" id="{626C88C0-CB8B-4524-AE36-F79B0B3B991B}"/>
                          </a:ext>
                        </a:extLst>
                      </p:cNvPr>
                      <p:cNvPicPr/>
                      <p:nvPr/>
                    </p:nvPicPr>
                    <p:blipFill>
                      <a:blip r:embed="rId4"/>
                      <a:stretch>
                        <a:fillRect/>
                      </a:stretch>
                    </p:blipFill>
                    <p:spPr>
                      <a:xfrm>
                        <a:off x="1719" y="1588"/>
                        <a:ext cx="1720" cy="1588"/>
                      </a:xfrm>
                      <a:prstGeom prst="rect">
                        <a:avLst/>
                      </a:prstGeom>
                    </p:spPr>
                  </p:pic>
                </p:oleObj>
              </mc:Fallback>
            </mc:AlternateContent>
          </a:graphicData>
        </a:graphic>
      </p:graphicFrame>
      <p:pic>
        <p:nvPicPr>
          <p:cNvPr id="23" name="Billede 3" descr="Logo_gray.png">
            <a:extLst>
              <a:ext uri="{FF2B5EF4-FFF2-40B4-BE49-F238E27FC236}">
                <a16:creationId xmlns:a16="http://schemas.microsoft.com/office/drawing/2014/main" id="{A2737C24-37BE-43DF-A4C8-77139A41F11B}"/>
              </a:ext>
            </a:extLst>
          </p:cNvPr>
          <p:cNvPicPr>
            <a:picLocks noChangeAspect="1"/>
          </p:cNvPicPr>
          <p:nvPr userDrawn="1"/>
        </p:nvPicPr>
        <p:blipFill>
          <a:blip r:embed="rId5" cstate="print"/>
          <a:stretch>
            <a:fillRect/>
          </a:stretch>
        </p:blipFill>
        <p:spPr>
          <a:xfrm>
            <a:off x="4353109" y="3875446"/>
            <a:ext cx="4981852" cy="3996406"/>
          </a:xfrm>
          <a:prstGeom prst="rect">
            <a:avLst/>
          </a:prstGeom>
        </p:spPr>
      </p:pic>
      <p:pic>
        <p:nvPicPr>
          <p:cNvPr id="24" name="Billede 4" descr="RFC3-ScanMed_medium.JPG">
            <a:extLst>
              <a:ext uri="{FF2B5EF4-FFF2-40B4-BE49-F238E27FC236}">
                <a16:creationId xmlns:a16="http://schemas.microsoft.com/office/drawing/2014/main" id="{4EEFE208-801A-4C85-85E9-C8F4645CA7F0}"/>
              </a:ext>
            </a:extLst>
          </p:cNvPr>
          <p:cNvPicPr/>
          <p:nvPr userDrawn="1"/>
        </p:nvPicPr>
        <p:blipFill>
          <a:blip r:embed="rId6" cstate="print"/>
          <a:stretch>
            <a:fillRect/>
          </a:stretch>
        </p:blipFill>
        <p:spPr>
          <a:xfrm>
            <a:off x="6588014" y="476672"/>
            <a:ext cx="2746947" cy="672028"/>
          </a:xfrm>
          <a:prstGeom prst="rect">
            <a:avLst/>
          </a:prstGeom>
        </p:spPr>
      </p:pic>
      <p:grpSp>
        <p:nvGrpSpPr>
          <p:cNvPr id="26" name="Group 2">
            <a:extLst>
              <a:ext uri="{FF2B5EF4-FFF2-40B4-BE49-F238E27FC236}">
                <a16:creationId xmlns:a16="http://schemas.microsoft.com/office/drawing/2014/main" id="{BDF30C32-E497-4962-B9D3-0E77F8DB4CA9}"/>
              </a:ext>
            </a:extLst>
          </p:cNvPr>
          <p:cNvGrpSpPr>
            <a:grpSpLocks noChangeAspect="1"/>
          </p:cNvGrpSpPr>
          <p:nvPr userDrawn="1"/>
        </p:nvGrpSpPr>
        <p:grpSpPr bwMode="auto">
          <a:xfrm>
            <a:off x="740176" y="3447346"/>
            <a:ext cx="8536894" cy="53975"/>
            <a:chOff x="2241" y="2818"/>
            <a:chExt cx="6887" cy="85"/>
          </a:xfrm>
        </p:grpSpPr>
        <p:sp>
          <p:nvSpPr>
            <p:cNvPr id="27" name="Rectangle 3">
              <a:extLst>
                <a:ext uri="{FF2B5EF4-FFF2-40B4-BE49-F238E27FC236}">
                  <a16:creationId xmlns:a16="http://schemas.microsoft.com/office/drawing/2014/main" id="{7B802CF8-5F7B-45E7-A1DD-98D6A1036E92}"/>
                </a:ext>
              </a:extLst>
            </p:cNvPr>
            <p:cNvSpPr>
              <a:spLocks noChangeArrowheads="1"/>
            </p:cNvSpPr>
            <p:nvPr/>
          </p:nvSpPr>
          <p:spPr bwMode="auto">
            <a:xfrm>
              <a:off x="4621" y="2818"/>
              <a:ext cx="2028" cy="85"/>
            </a:xfrm>
            <a:prstGeom prst="rect">
              <a:avLst/>
            </a:prstGeom>
            <a:solidFill>
              <a:srgbClr val="00B2B4"/>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8" name="Rectangle 4">
              <a:extLst>
                <a:ext uri="{FF2B5EF4-FFF2-40B4-BE49-F238E27FC236}">
                  <a16:creationId xmlns:a16="http://schemas.microsoft.com/office/drawing/2014/main" id="{CC4AE02E-6B47-4661-B8AC-F255791A89FB}"/>
                </a:ext>
              </a:extLst>
            </p:cNvPr>
            <p:cNvSpPr>
              <a:spLocks noChangeArrowheads="1"/>
            </p:cNvSpPr>
            <p:nvPr/>
          </p:nvSpPr>
          <p:spPr bwMode="auto">
            <a:xfrm>
              <a:off x="2241" y="2818"/>
              <a:ext cx="2354" cy="85"/>
            </a:xfrm>
            <a:prstGeom prst="rect">
              <a:avLst/>
            </a:prstGeom>
            <a:solidFill>
              <a:srgbClr val="00ACE1"/>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9" name="Rectangle 5">
              <a:extLst>
                <a:ext uri="{FF2B5EF4-FFF2-40B4-BE49-F238E27FC236}">
                  <a16:creationId xmlns:a16="http://schemas.microsoft.com/office/drawing/2014/main" id="{86B75A4E-F586-4729-8711-D74FAFD759BE}"/>
                </a:ext>
              </a:extLst>
            </p:cNvPr>
            <p:cNvSpPr>
              <a:spLocks noChangeArrowheads="1"/>
            </p:cNvSpPr>
            <p:nvPr/>
          </p:nvSpPr>
          <p:spPr bwMode="auto">
            <a:xfrm>
              <a:off x="6675" y="2818"/>
              <a:ext cx="1553" cy="85"/>
            </a:xfrm>
            <a:prstGeom prst="rect">
              <a:avLst/>
            </a:prstGeom>
            <a:solidFill>
              <a:srgbClr val="7FC00F"/>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30" name="Rectangle 6">
              <a:extLst>
                <a:ext uri="{FF2B5EF4-FFF2-40B4-BE49-F238E27FC236}">
                  <a16:creationId xmlns:a16="http://schemas.microsoft.com/office/drawing/2014/main" id="{82997C06-6961-43E8-B05E-1851DCA94C85}"/>
                </a:ext>
              </a:extLst>
            </p:cNvPr>
            <p:cNvSpPr>
              <a:spLocks noChangeArrowheads="1"/>
            </p:cNvSpPr>
            <p:nvPr/>
          </p:nvSpPr>
          <p:spPr bwMode="auto">
            <a:xfrm>
              <a:off x="8255" y="2818"/>
              <a:ext cx="873" cy="85"/>
            </a:xfrm>
            <a:prstGeom prst="rect">
              <a:avLst/>
            </a:prstGeom>
            <a:solidFill>
              <a:srgbClr val="DEDC00"/>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grpSp>
      <p:sp>
        <p:nvSpPr>
          <p:cNvPr id="34" name="Textplatzhalter 33">
            <a:extLst>
              <a:ext uri="{FF2B5EF4-FFF2-40B4-BE49-F238E27FC236}">
                <a16:creationId xmlns:a16="http://schemas.microsoft.com/office/drawing/2014/main" id="{AA842A1E-948A-48EC-A328-191DB5CD89EB}"/>
              </a:ext>
            </a:extLst>
          </p:cNvPr>
          <p:cNvSpPr>
            <a:spLocks noGrp="1"/>
          </p:cNvSpPr>
          <p:nvPr>
            <p:ph type="body" sz="quarter" idx="10" hasCustomPrompt="1"/>
          </p:nvPr>
        </p:nvSpPr>
        <p:spPr>
          <a:xfrm>
            <a:off x="740176" y="2717473"/>
            <a:ext cx="7016841" cy="575717"/>
          </a:xfrm>
          <a:prstGeom prst="rect">
            <a:avLst/>
          </a:prstGeom>
        </p:spPr>
        <p:txBody>
          <a:bodyPr/>
          <a:lstStyle>
            <a:lvl1pPr marL="0" indent="0">
              <a:buNone/>
              <a:defRPr b="1"/>
            </a:lvl1pPr>
          </a:lstStyle>
          <a:p>
            <a:pPr lvl="0"/>
            <a:r>
              <a:rPr lang="en-US" noProof="0"/>
              <a:t>Title Subchapter</a:t>
            </a:r>
          </a:p>
        </p:txBody>
      </p:sp>
      <p:sp>
        <p:nvSpPr>
          <p:cNvPr id="35" name="Textplatzhalter 33" title="Subtitle">
            <a:extLst>
              <a:ext uri="{FF2B5EF4-FFF2-40B4-BE49-F238E27FC236}">
                <a16:creationId xmlns:a16="http://schemas.microsoft.com/office/drawing/2014/main" id="{FA14C959-36DC-41E8-BFA9-EA7C0BC8415A}"/>
              </a:ext>
            </a:extLst>
          </p:cNvPr>
          <p:cNvSpPr>
            <a:spLocks noGrp="1"/>
          </p:cNvSpPr>
          <p:nvPr>
            <p:ph type="body" sz="quarter" idx="11" hasCustomPrompt="1"/>
          </p:nvPr>
        </p:nvSpPr>
        <p:spPr>
          <a:xfrm>
            <a:off x="740176" y="3655477"/>
            <a:ext cx="7016841" cy="439941"/>
          </a:xfrm>
          <a:prstGeom prst="rect">
            <a:avLst/>
          </a:prstGeom>
        </p:spPr>
        <p:txBody>
          <a:bodyPr>
            <a:normAutofit/>
          </a:bodyPr>
          <a:lstStyle>
            <a:lvl1pPr marL="0" indent="0">
              <a:buNone/>
              <a:defRPr sz="2500" b="0"/>
            </a:lvl1pPr>
          </a:lstStyle>
          <a:p>
            <a:pPr lvl="0"/>
            <a:r>
              <a:rPr lang="en-US" noProof="0"/>
              <a:t>Subtitle Subchapter</a:t>
            </a:r>
          </a:p>
        </p:txBody>
      </p:sp>
    </p:spTree>
    <p:extLst>
      <p:ext uri="{BB962C8B-B14F-4D97-AF65-F5344CB8AC3E}">
        <p14:creationId xmlns:p14="http://schemas.microsoft.com/office/powerpoint/2010/main" val="27105778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26C88C0-CB8B-4524-AE36-F79B0B3B991B}"/>
              </a:ext>
            </a:extLst>
          </p:cNvPr>
          <p:cNvGraphicFramePr>
            <a:graphicFrameLocks noChangeAspect="1"/>
          </p:cNvGraphicFramePr>
          <p:nvPr userDrawn="1">
            <p:custDataLst>
              <p:tags r:id="rId1"/>
            </p:custDataLst>
          </p:nvPr>
        </p:nvGraphicFramePr>
        <p:xfrm>
          <a:off x="1719" y="1588"/>
          <a:ext cx="1720" cy="1588"/>
        </p:xfrm>
        <a:graphic>
          <a:graphicData uri="http://schemas.openxmlformats.org/presentationml/2006/ole">
            <mc:AlternateContent xmlns:mc="http://schemas.openxmlformats.org/markup-compatibility/2006">
              <mc:Choice xmlns:v="urn:schemas-microsoft-com:vml" Requires="v">
                <p:oleObj name="think-cell Folie" r:id="rId3" imgW="421" imgH="420" progId="TCLayout.ActiveDocument.1">
                  <p:embed/>
                </p:oleObj>
              </mc:Choice>
              <mc:Fallback>
                <p:oleObj name="think-cell Folie" r:id="rId3" imgW="421" imgH="420" progId="TCLayout.ActiveDocument.1">
                  <p:embed/>
                  <p:pic>
                    <p:nvPicPr>
                      <p:cNvPr id="7" name="Objekt 6" hidden="1">
                        <a:extLst>
                          <a:ext uri="{FF2B5EF4-FFF2-40B4-BE49-F238E27FC236}">
                            <a16:creationId xmlns:a16="http://schemas.microsoft.com/office/drawing/2014/main" id="{626C88C0-CB8B-4524-AE36-F79B0B3B991B}"/>
                          </a:ext>
                        </a:extLst>
                      </p:cNvPr>
                      <p:cNvPicPr/>
                      <p:nvPr/>
                    </p:nvPicPr>
                    <p:blipFill>
                      <a:blip r:embed="rId4"/>
                      <a:stretch>
                        <a:fillRect/>
                      </a:stretch>
                    </p:blipFill>
                    <p:spPr>
                      <a:xfrm>
                        <a:off x="1719" y="1588"/>
                        <a:ext cx="1720" cy="1588"/>
                      </a:xfrm>
                      <a:prstGeom prst="rect">
                        <a:avLst/>
                      </a:prstGeom>
                    </p:spPr>
                  </p:pic>
                </p:oleObj>
              </mc:Fallback>
            </mc:AlternateContent>
          </a:graphicData>
        </a:graphic>
      </p:graphicFrame>
      <p:pic>
        <p:nvPicPr>
          <p:cNvPr id="23" name="Billede 3" descr="Logo_gray.png">
            <a:extLst>
              <a:ext uri="{FF2B5EF4-FFF2-40B4-BE49-F238E27FC236}">
                <a16:creationId xmlns:a16="http://schemas.microsoft.com/office/drawing/2014/main" id="{A2737C24-37BE-43DF-A4C8-77139A41F11B}"/>
              </a:ext>
            </a:extLst>
          </p:cNvPr>
          <p:cNvPicPr>
            <a:picLocks noChangeAspect="1"/>
          </p:cNvPicPr>
          <p:nvPr userDrawn="1"/>
        </p:nvPicPr>
        <p:blipFill>
          <a:blip r:embed="rId5" cstate="print"/>
          <a:stretch>
            <a:fillRect/>
          </a:stretch>
        </p:blipFill>
        <p:spPr>
          <a:xfrm>
            <a:off x="4353109" y="3875446"/>
            <a:ext cx="4981852" cy="3996406"/>
          </a:xfrm>
          <a:prstGeom prst="rect">
            <a:avLst/>
          </a:prstGeom>
        </p:spPr>
      </p:pic>
      <p:pic>
        <p:nvPicPr>
          <p:cNvPr id="24" name="Billede 4" descr="RFC3-ScanMed_medium.JPG">
            <a:extLst>
              <a:ext uri="{FF2B5EF4-FFF2-40B4-BE49-F238E27FC236}">
                <a16:creationId xmlns:a16="http://schemas.microsoft.com/office/drawing/2014/main" id="{4EEFE208-801A-4C85-85E9-C8F4645CA7F0}"/>
              </a:ext>
            </a:extLst>
          </p:cNvPr>
          <p:cNvPicPr/>
          <p:nvPr userDrawn="1"/>
        </p:nvPicPr>
        <p:blipFill>
          <a:blip r:embed="rId6" cstate="print"/>
          <a:stretch>
            <a:fillRect/>
          </a:stretch>
        </p:blipFill>
        <p:spPr>
          <a:xfrm>
            <a:off x="6588014" y="476672"/>
            <a:ext cx="2746947" cy="672028"/>
          </a:xfrm>
          <a:prstGeom prst="rect">
            <a:avLst/>
          </a:prstGeom>
        </p:spPr>
      </p:pic>
      <p:grpSp>
        <p:nvGrpSpPr>
          <p:cNvPr id="26" name="Group 2">
            <a:extLst>
              <a:ext uri="{FF2B5EF4-FFF2-40B4-BE49-F238E27FC236}">
                <a16:creationId xmlns:a16="http://schemas.microsoft.com/office/drawing/2014/main" id="{BDF30C32-E497-4962-B9D3-0E77F8DB4CA9}"/>
              </a:ext>
            </a:extLst>
          </p:cNvPr>
          <p:cNvGrpSpPr>
            <a:grpSpLocks noChangeAspect="1"/>
          </p:cNvGrpSpPr>
          <p:nvPr userDrawn="1"/>
        </p:nvGrpSpPr>
        <p:grpSpPr bwMode="auto">
          <a:xfrm>
            <a:off x="740176" y="3447346"/>
            <a:ext cx="8536894" cy="53975"/>
            <a:chOff x="2241" y="2818"/>
            <a:chExt cx="6887" cy="85"/>
          </a:xfrm>
        </p:grpSpPr>
        <p:sp>
          <p:nvSpPr>
            <p:cNvPr id="27" name="Rectangle 3">
              <a:extLst>
                <a:ext uri="{FF2B5EF4-FFF2-40B4-BE49-F238E27FC236}">
                  <a16:creationId xmlns:a16="http://schemas.microsoft.com/office/drawing/2014/main" id="{7B802CF8-5F7B-45E7-A1DD-98D6A1036E92}"/>
                </a:ext>
              </a:extLst>
            </p:cNvPr>
            <p:cNvSpPr>
              <a:spLocks noChangeArrowheads="1"/>
            </p:cNvSpPr>
            <p:nvPr/>
          </p:nvSpPr>
          <p:spPr bwMode="auto">
            <a:xfrm>
              <a:off x="4621" y="2818"/>
              <a:ext cx="2028" cy="85"/>
            </a:xfrm>
            <a:prstGeom prst="rect">
              <a:avLst/>
            </a:prstGeom>
            <a:solidFill>
              <a:srgbClr val="00B2B4"/>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8" name="Rectangle 4">
              <a:extLst>
                <a:ext uri="{FF2B5EF4-FFF2-40B4-BE49-F238E27FC236}">
                  <a16:creationId xmlns:a16="http://schemas.microsoft.com/office/drawing/2014/main" id="{CC4AE02E-6B47-4661-B8AC-F255791A89FB}"/>
                </a:ext>
              </a:extLst>
            </p:cNvPr>
            <p:cNvSpPr>
              <a:spLocks noChangeArrowheads="1"/>
            </p:cNvSpPr>
            <p:nvPr/>
          </p:nvSpPr>
          <p:spPr bwMode="auto">
            <a:xfrm>
              <a:off x="2241" y="2818"/>
              <a:ext cx="2354" cy="85"/>
            </a:xfrm>
            <a:prstGeom prst="rect">
              <a:avLst/>
            </a:prstGeom>
            <a:solidFill>
              <a:srgbClr val="00ACE1"/>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9" name="Rectangle 5">
              <a:extLst>
                <a:ext uri="{FF2B5EF4-FFF2-40B4-BE49-F238E27FC236}">
                  <a16:creationId xmlns:a16="http://schemas.microsoft.com/office/drawing/2014/main" id="{86B75A4E-F586-4729-8711-D74FAFD759BE}"/>
                </a:ext>
              </a:extLst>
            </p:cNvPr>
            <p:cNvSpPr>
              <a:spLocks noChangeArrowheads="1"/>
            </p:cNvSpPr>
            <p:nvPr/>
          </p:nvSpPr>
          <p:spPr bwMode="auto">
            <a:xfrm>
              <a:off x="6675" y="2818"/>
              <a:ext cx="1553" cy="85"/>
            </a:xfrm>
            <a:prstGeom prst="rect">
              <a:avLst/>
            </a:prstGeom>
            <a:solidFill>
              <a:srgbClr val="7FC00F"/>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30" name="Rectangle 6">
              <a:extLst>
                <a:ext uri="{FF2B5EF4-FFF2-40B4-BE49-F238E27FC236}">
                  <a16:creationId xmlns:a16="http://schemas.microsoft.com/office/drawing/2014/main" id="{82997C06-6961-43E8-B05E-1851DCA94C85}"/>
                </a:ext>
              </a:extLst>
            </p:cNvPr>
            <p:cNvSpPr>
              <a:spLocks noChangeArrowheads="1"/>
            </p:cNvSpPr>
            <p:nvPr/>
          </p:nvSpPr>
          <p:spPr bwMode="auto">
            <a:xfrm>
              <a:off x="8255" y="2818"/>
              <a:ext cx="873" cy="85"/>
            </a:xfrm>
            <a:prstGeom prst="rect">
              <a:avLst/>
            </a:prstGeom>
            <a:solidFill>
              <a:srgbClr val="DEDC00"/>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grpSp>
      <p:sp>
        <p:nvSpPr>
          <p:cNvPr id="34" name="Textplatzhalter 33">
            <a:extLst>
              <a:ext uri="{FF2B5EF4-FFF2-40B4-BE49-F238E27FC236}">
                <a16:creationId xmlns:a16="http://schemas.microsoft.com/office/drawing/2014/main" id="{AA842A1E-948A-48EC-A328-191DB5CD89EB}"/>
              </a:ext>
            </a:extLst>
          </p:cNvPr>
          <p:cNvSpPr>
            <a:spLocks noGrp="1"/>
          </p:cNvSpPr>
          <p:nvPr>
            <p:ph type="body" sz="quarter" idx="10" hasCustomPrompt="1"/>
          </p:nvPr>
        </p:nvSpPr>
        <p:spPr>
          <a:xfrm>
            <a:off x="740176" y="2717473"/>
            <a:ext cx="7016841" cy="575717"/>
          </a:xfrm>
          <a:prstGeom prst="rect">
            <a:avLst/>
          </a:prstGeom>
        </p:spPr>
        <p:txBody>
          <a:bodyPr/>
          <a:lstStyle>
            <a:lvl1pPr marL="0" indent="0">
              <a:buNone/>
              <a:defRPr b="1"/>
            </a:lvl1pPr>
          </a:lstStyle>
          <a:p>
            <a:pPr lvl="0"/>
            <a:r>
              <a:rPr lang="de-DE"/>
              <a:t>Title</a:t>
            </a:r>
          </a:p>
        </p:txBody>
      </p:sp>
      <p:sp>
        <p:nvSpPr>
          <p:cNvPr id="35" name="Textplatzhalter 33" title="Subtitle">
            <a:extLst>
              <a:ext uri="{FF2B5EF4-FFF2-40B4-BE49-F238E27FC236}">
                <a16:creationId xmlns:a16="http://schemas.microsoft.com/office/drawing/2014/main" id="{FA14C959-36DC-41E8-BFA9-EA7C0BC8415A}"/>
              </a:ext>
            </a:extLst>
          </p:cNvPr>
          <p:cNvSpPr>
            <a:spLocks noGrp="1"/>
          </p:cNvSpPr>
          <p:nvPr>
            <p:ph type="body" sz="quarter" idx="11" hasCustomPrompt="1"/>
          </p:nvPr>
        </p:nvSpPr>
        <p:spPr>
          <a:xfrm>
            <a:off x="740176" y="3655477"/>
            <a:ext cx="7016841" cy="439941"/>
          </a:xfrm>
          <a:prstGeom prst="rect">
            <a:avLst/>
          </a:prstGeom>
        </p:spPr>
        <p:txBody>
          <a:bodyPr>
            <a:normAutofit/>
          </a:bodyPr>
          <a:lstStyle>
            <a:lvl1pPr marL="0" indent="0">
              <a:buNone/>
              <a:defRPr sz="2500" b="0"/>
            </a:lvl1pPr>
          </a:lstStyle>
          <a:p>
            <a:pPr lvl="0"/>
            <a:r>
              <a:rPr lang="de-DE" err="1"/>
              <a:t>Subtitle</a:t>
            </a:r>
            <a:endParaRPr lang="de-DE"/>
          </a:p>
        </p:txBody>
      </p:sp>
      <p:sp>
        <p:nvSpPr>
          <p:cNvPr id="36" name="Textplatzhalter 33" title="Subtitle">
            <a:extLst>
              <a:ext uri="{FF2B5EF4-FFF2-40B4-BE49-F238E27FC236}">
                <a16:creationId xmlns:a16="http://schemas.microsoft.com/office/drawing/2014/main" id="{D4D9714C-3D56-488F-8BF9-61D03CA7DA46}"/>
              </a:ext>
            </a:extLst>
          </p:cNvPr>
          <p:cNvSpPr>
            <a:spLocks noGrp="1"/>
          </p:cNvSpPr>
          <p:nvPr>
            <p:ph type="body" sz="quarter" idx="12" hasCustomPrompt="1"/>
          </p:nvPr>
        </p:nvSpPr>
        <p:spPr>
          <a:xfrm>
            <a:off x="740175" y="4527466"/>
            <a:ext cx="7016841" cy="341925"/>
          </a:xfrm>
          <a:prstGeom prst="rect">
            <a:avLst/>
          </a:prstGeom>
        </p:spPr>
        <p:txBody>
          <a:bodyPr>
            <a:normAutofit/>
          </a:bodyPr>
          <a:lstStyle>
            <a:lvl1pPr marL="0" indent="0">
              <a:buNone/>
              <a:defRPr sz="1800" b="0"/>
            </a:lvl1pPr>
          </a:lstStyle>
          <a:p>
            <a:pPr lvl="0"/>
            <a:r>
              <a:rPr lang="de-DE"/>
              <a:t>Location/Meeting Information</a:t>
            </a:r>
          </a:p>
        </p:txBody>
      </p:sp>
      <p:sp>
        <p:nvSpPr>
          <p:cNvPr id="40" name="Textplatzhalter 33" title="Subtitle">
            <a:extLst>
              <a:ext uri="{FF2B5EF4-FFF2-40B4-BE49-F238E27FC236}">
                <a16:creationId xmlns:a16="http://schemas.microsoft.com/office/drawing/2014/main" id="{BD7EDD23-0E2C-4A22-9AF3-6482A755A5F6}"/>
              </a:ext>
            </a:extLst>
          </p:cNvPr>
          <p:cNvSpPr>
            <a:spLocks noGrp="1"/>
          </p:cNvSpPr>
          <p:nvPr>
            <p:ph type="body" sz="quarter" idx="13" hasCustomPrompt="1"/>
          </p:nvPr>
        </p:nvSpPr>
        <p:spPr>
          <a:xfrm>
            <a:off x="740175" y="5535578"/>
            <a:ext cx="7016841" cy="324913"/>
          </a:xfrm>
          <a:prstGeom prst="rect">
            <a:avLst/>
          </a:prstGeom>
        </p:spPr>
        <p:txBody>
          <a:bodyPr>
            <a:normAutofit/>
          </a:bodyPr>
          <a:lstStyle>
            <a:lvl1pPr marL="0" indent="0">
              <a:buNone/>
              <a:defRPr sz="1400" b="0"/>
            </a:lvl1pPr>
          </a:lstStyle>
          <a:p>
            <a:pPr lvl="0"/>
            <a:r>
              <a:rPr lang="de-DE"/>
              <a:t>Organizer</a:t>
            </a:r>
          </a:p>
        </p:txBody>
      </p:sp>
      <p:sp>
        <p:nvSpPr>
          <p:cNvPr id="41" name="Textplatzhalter 33" title="Subtitle">
            <a:extLst>
              <a:ext uri="{FF2B5EF4-FFF2-40B4-BE49-F238E27FC236}">
                <a16:creationId xmlns:a16="http://schemas.microsoft.com/office/drawing/2014/main" id="{ED16559F-CC1E-4182-9939-1229083D085F}"/>
              </a:ext>
            </a:extLst>
          </p:cNvPr>
          <p:cNvSpPr>
            <a:spLocks noGrp="1"/>
          </p:cNvSpPr>
          <p:nvPr>
            <p:ph type="body" sz="quarter" idx="14" hasCustomPrompt="1"/>
          </p:nvPr>
        </p:nvSpPr>
        <p:spPr>
          <a:xfrm>
            <a:off x="740175" y="5319554"/>
            <a:ext cx="7016841" cy="324913"/>
          </a:xfrm>
          <a:prstGeom prst="rect">
            <a:avLst/>
          </a:prstGeom>
        </p:spPr>
        <p:txBody>
          <a:bodyPr>
            <a:normAutofit/>
          </a:bodyPr>
          <a:lstStyle>
            <a:lvl1pPr marL="0" indent="0">
              <a:buNone/>
              <a:defRPr sz="1400" b="1"/>
            </a:lvl1pPr>
          </a:lstStyle>
          <a:p>
            <a:pPr lvl="0"/>
            <a:r>
              <a:rPr lang="de-DE"/>
              <a:t>Date</a:t>
            </a:r>
          </a:p>
        </p:txBody>
      </p:sp>
      <p:pic>
        <p:nvPicPr>
          <p:cNvPr id="4" name="Grafik 3">
            <a:extLst>
              <a:ext uri="{FF2B5EF4-FFF2-40B4-BE49-F238E27FC236}">
                <a16:creationId xmlns:a16="http://schemas.microsoft.com/office/drawing/2014/main" id="{60FBD9F0-EF1A-436E-AAE3-C17B1C600C5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66278" y="6093296"/>
            <a:ext cx="3526659" cy="570616"/>
          </a:xfrm>
          <a:prstGeom prst="rect">
            <a:avLst/>
          </a:prstGeom>
        </p:spPr>
      </p:pic>
    </p:spTree>
    <p:extLst>
      <p:ext uri="{BB962C8B-B14F-4D97-AF65-F5344CB8AC3E}">
        <p14:creationId xmlns:p14="http://schemas.microsoft.com/office/powerpoint/2010/main" val="16272458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BE3776C-FDBF-4563-8B30-62E072ED903B}"/>
              </a:ext>
            </a:extLst>
          </p:cNvPr>
          <p:cNvGraphicFramePr>
            <a:graphicFrameLocks noChangeAspect="1"/>
          </p:cNvGraphicFramePr>
          <p:nvPr userDrawn="1">
            <p:custDataLst>
              <p:tags r:id="rId1"/>
            </p:custDataLst>
          </p:nvPr>
        </p:nvGraphicFramePr>
        <p:xfrm>
          <a:off x="1719" y="1588"/>
          <a:ext cx="1720"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6" name="Objekt 5" hidden="1">
                        <a:extLst>
                          <a:ext uri="{FF2B5EF4-FFF2-40B4-BE49-F238E27FC236}">
                            <a16:creationId xmlns:a16="http://schemas.microsoft.com/office/drawing/2014/main" id="{0BE3776C-FDBF-4563-8B30-62E072ED903B}"/>
                          </a:ext>
                        </a:extLst>
                      </p:cNvPr>
                      <p:cNvPicPr/>
                      <p:nvPr/>
                    </p:nvPicPr>
                    <p:blipFill>
                      <a:blip r:embed="rId5"/>
                      <a:stretch>
                        <a:fillRect/>
                      </a:stretch>
                    </p:blipFill>
                    <p:spPr>
                      <a:xfrm>
                        <a:off x="1719" y="1588"/>
                        <a:ext cx="1720" cy="1588"/>
                      </a:xfrm>
                      <a:prstGeom prst="rect">
                        <a:avLst/>
                      </a:prstGeom>
                    </p:spPr>
                  </p:pic>
                </p:oleObj>
              </mc:Fallback>
            </mc:AlternateContent>
          </a:graphicData>
        </a:graphic>
      </p:graphicFrame>
      <p:sp>
        <p:nvSpPr>
          <p:cNvPr id="13" name="Rechteck 12" hidden="1">
            <a:extLst>
              <a:ext uri="{FF2B5EF4-FFF2-40B4-BE49-F238E27FC236}">
                <a16:creationId xmlns:a16="http://schemas.microsoft.com/office/drawing/2014/main" id="{5C401561-6A58-4943-BC48-F5A6EF61D640}"/>
              </a:ext>
            </a:extLst>
          </p:cNvPr>
          <p:cNvSpPr/>
          <p:nvPr userDrawn="1">
            <p:custDataLst>
              <p:tags r:id="rId2"/>
            </p:custDataLst>
          </p:nvPr>
        </p:nvSpPr>
        <p:spPr>
          <a:xfrm>
            <a:off x="0" y="0"/>
            <a:ext cx="171896"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a:latin typeface="Calibri" panose="020F0502020204030204" pitchFamily="34" charset="0"/>
              <a:ea typeface="+mn-ea"/>
              <a:cs typeface="+mn-cs"/>
              <a:sym typeface="Calibri" panose="020F0502020204030204" pitchFamily="34" charset="0"/>
            </a:endParaRPr>
          </a:p>
        </p:txBody>
      </p:sp>
      <p:sp>
        <p:nvSpPr>
          <p:cNvPr id="8" name="Inhaltsplatzhalter 7">
            <a:extLst>
              <a:ext uri="{FF2B5EF4-FFF2-40B4-BE49-F238E27FC236}">
                <a16:creationId xmlns:a16="http://schemas.microsoft.com/office/drawing/2014/main" id="{CD991232-A066-4DF5-8907-14473F8D31B7}"/>
              </a:ext>
            </a:extLst>
          </p:cNvPr>
          <p:cNvSpPr>
            <a:spLocks noGrp="1"/>
          </p:cNvSpPr>
          <p:nvPr>
            <p:ph sz="quarter" idx="13" hasCustomPrompt="1"/>
          </p:nvPr>
        </p:nvSpPr>
        <p:spPr>
          <a:xfrm>
            <a:off x="680710" y="1125538"/>
            <a:ext cx="8725466" cy="5111750"/>
          </a:xfrm>
          <a:prstGeom prst="rect">
            <a:avLst/>
          </a:prstGeom>
        </p:spPr>
        <p:txBody>
          <a:bodyPr/>
          <a:lstStyle>
            <a:lvl1pPr>
              <a:defRPr sz="1800"/>
            </a:lvl1pPr>
            <a:lvl2pPr>
              <a:defRPr sz="1800"/>
            </a:lvl2pPr>
            <a:lvl3pPr>
              <a:defRPr sz="1800"/>
            </a:lvl3pPr>
            <a:lvl4pPr>
              <a:defRPr sz="1800"/>
            </a:lvl4pPr>
            <a:lvl5pPr>
              <a:defRPr sz="1800"/>
            </a:lvl5pPr>
          </a:lstStyle>
          <a:p>
            <a:pPr lvl="0"/>
            <a:r>
              <a:rPr lang="de-DE"/>
              <a:t>Enter Content</a:t>
            </a:r>
          </a:p>
          <a:p>
            <a:pPr lvl="1"/>
            <a:r>
              <a:rPr lang="de-DE"/>
              <a:t>Second Level</a:t>
            </a:r>
          </a:p>
          <a:p>
            <a:pPr lvl="2"/>
            <a:r>
              <a:rPr lang="de-DE"/>
              <a:t>Third Level</a:t>
            </a:r>
          </a:p>
          <a:p>
            <a:pPr lvl="3"/>
            <a:r>
              <a:rPr lang="de-DE" err="1"/>
              <a:t>Fourth</a:t>
            </a:r>
            <a:r>
              <a:rPr lang="de-DE"/>
              <a:t> Level</a:t>
            </a:r>
          </a:p>
          <a:p>
            <a:pPr lvl="4"/>
            <a:r>
              <a:rPr lang="de-DE" err="1"/>
              <a:t>Fifth</a:t>
            </a:r>
            <a:r>
              <a:rPr lang="de-DE"/>
              <a:t> Level</a:t>
            </a:r>
          </a:p>
        </p:txBody>
      </p:sp>
      <p:sp>
        <p:nvSpPr>
          <p:cNvPr id="12" name="Titel 11">
            <a:extLst>
              <a:ext uri="{FF2B5EF4-FFF2-40B4-BE49-F238E27FC236}">
                <a16:creationId xmlns:a16="http://schemas.microsoft.com/office/drawing/2014/main" id="{A9B7AC91-3DD5-4E76-996B-7E8B7563FAD4}"/>
              </a:ext>
            </a:extLst>
          </p:cNvPr>
          <p:cNvSpPr>
            <a:spLocks noGrp="1"/>
          </p:cNvSpPr>
          <p:nvPr>
            <p:ph type="title" hasCustomPrompt="1"/>
          </p:nvPr>
        </p:nvSpPr>
        <p:spPr/>
        <p:txBody>
          <a:bodyPr/>
          <a:lstStyle>
            <a:lvl1pPr>
              <a:defRPr/>
            </a:lvl1pPr>
          </a:lstStyle>
          <a:p>
            <a:r>
              <a:rPr lang="de-DE"/>
              <a:t>Title</a:t>
            </a:r>
          </a:p>
        </p:txBody>
      </p:sp>
      <p:sp>
        <p:nvSpPr>
          <p:cNvPr id="2" name="Foliennummernplatzhalter 1">
            <a:extLst>
              <a:ext uri="{FF2B5EF4-FFF2-40B4-BE49-F238E27FC236}">
                <a16:creationId xmlns:a16="http://schemas.microsoft.com/office/drawing/2014/main" id="{15A4FAA9-BD39-44B6-AD3E-2F110DDE30F4}"/>
              </a:ext>
            </a:extLst>
          </p:cNvPr>
          <p:cNvSpPr>
            <a:spLocks noGrp="1"/>
          </p:cNvSpPr>
          <p:nvPr>
            <p:ph type="sldNum" sz="quarter" idx="14"/>
          </p:nvPr>
        </p:nvSpPr>
        <p:spPr/>
        <p:txBody>
          <a:bodyPr/>
          <a:lstStyle/>
          <a:p>
            <a:fld id="{7B8E2B6B-92C8-4058-B5A5-20555B1EC8E1}" type="slidenum">
              <a:rPr lang="da-DK" smtClean="0"/>
              <a:pPr/>
              <a:t>‹#›</a:t>
            </a:fld>
            <a:endParaRPr lang="da-DK"/>
          </a:p>
        </p:txBody>
      </p:sp>
    </p:spTree>
    <p:extLst>
      <p:ext uri="{BB962C8B-B14F-4D97-AF65-F5344CB8AC3E}">
        <p14:creationId xmlns:p14="http://schemas.microsoft.com/office/powerpoint/2010/main" val="30716507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26C88C0-CB8B-4524-AE36-F79B0B3B991B}"/>
              </a:ext>
            </a:extLst>
          </p:cNvPr>
          <p:cNvGraphicFramePr>
            <a:graphicFrameLocks noChangeAspect="1"/>
          </p:cNvGraphicFramePr>
          <p:nvPr userDrawn="1">
            <p:custDataLst>
              <p:tags r:id="rId1"/>
            </p:custDataLst>
          </p:nvPr>
        </p:nvGraphicFramePr>
        <p:xfrm>
          <a:off x="1719" y="1588"/>
          <a:ext cx="1720" cy="1588"/>
        </p:xfrm>
        <a:graphic>
          <a:graphicData uri="http://schemas.openxmlformats.org/presentationml/2006/ole">
            <mc:AlternateContent xmlns:mc="http://schemas.openxmlformats.org/markup-compatibility/2006">
              <mc:Choice xmlns:v="urn:schemas-microsoft-com:vml" Requires="v">
                <p:oleObj name="think-cell Folie" r:id="rId3" imgW="421" imgH="420" progId="TCLayout.ActiveDocument.1">
                  <p:embed/>
                </p:oleObj>
              </mc:Choice>
              <mc:Fallback>
                <p:oleObj name="think-cell Folie" r:id="rId3" imgW="421" imgH="420" progId="TCLayout.ActiveDocument.1">
                  <p:embed/>
                  <p:pic>
                    <p:nvPicPr>
                      <p:cNvPr id="7" name="Objekt 6" hidden="1">
                        <a:extLst>
                          <a:ext uri="{FF2B5EF4-FFF2-40B4-BE49-F238E27FC236}">
                            <a16:creationId xmlns:a16="http://schemas.microsoft.com/office/drawing/2014/main" id="{626C88C0-CB8B-4524-AE36-F79B0B3B991B}"/>
                          </a:ext>
                        </a:extLst>
                      </p:cNvPr>
                      <p:cNvPicPr/>
                      <p:nvPr/>
                    </p:nvPicPr>
                    <p:blipFill>
                      <a:blip r:embed="rId4"/>
                      <a:stretch>
                        <a:fillRect/>
                      </a:stretch>
                    </p:blipFill>
                    <p:spPr>
                      <a:xfrm>
                        <a:off x="1719" y="1588"/>
                        <a:ext cx="1720" cy="1588"/>
                      </a:xfrm>
                      <a:prstGeom prst="rect">
                        <a:avLst/>
                      </a:prstGeom>
                    </p:spPr>
                  </p:pic>
                </p:oleObj>
              </mc:Fallback>
            </mc:AlternateContent>
          </a:graphicData>
        </a:graphic>
      </p:graphicFrame>
      <p:pic>
        <p:nvPicPr>
          <p:cNvPr id="23" name="Billede 3" descr="Logo_gray.png">
            <a:extLst>
              <a:ext uri="{FF2B5EF4-FFF2-40B4-BE49-F238E27FC236}">
                <a16:creationId xmlns:a16="http://schemas.microsoft.com/office/drawing/2014/main" id="{A2737C24-37BE-43DF-A4C8-77139A41F11B}"/>
              </a:ext>
            </a:extLst>
          </p:cNvPr>
          <p:cNvPicPr>
            <a:picLocks noChangeAspect="1"/>
          </p:cNvPicPr>
          <p:nvPr userDrawn="1"/>
        </p:nvPicPr>
        <p:blipFill>
          <a:blip r:embed="rId5" cstate="print"/>
          <a:stretch>
            <a:fillRect/>
          </a:stretch>
        </p:blipFill>
        <p:spPr>
          <a:xfrm>
            <a:off x="4353109" y="3875446"/>
            <a:ext cx="4981852" cy="3996406"/>
          </a:xfrm>
          <a:prstGeom prst="rect">
            <a:avLst/>
          </a:prstGeom>
        </p:spPr>
      </p:pic>
      <p:pic>
        <p:nvPicPr>
          <p:cNvPr id="24" name="Billede 4" descr="RFC3-ScanMed_medium.JPG">
            <a:extLst>
              <a:ext uri="{FF2B5EF4-FFF2-40B4-BE49-F238E27FC236}">
                <a16:creationId xmlns:a16="http://schemas.microsoft.com/office/drawing/2014/main" id="{4EEFE208-801A-4C85-85E9-C8F4645CA7F0}"/>
              </a:ext>
            </a:extLst>
          </p:cNvPr>
          <p:cNvPicPr/>
          <p:nvPr userDrawn="1"/>
        </p:nvPicPr>
        <p:blipFill>
          <a:blip r:embed="rId6" cstate="print"/>
          <a:stretch>
            <a:fillRect/>
          </a:stretch>
        </p:blipFill>
        <p:spPr>
          <a:xfrm>
            <a:off x="6588014" y="476672"/>
            <a:ext cx="2746947" cy="672028"/>
          </a:xfrm>
          <a:prstGeom prst="rect">
            <a:avLst/>
          </a:prstGeom>
        </p:spPr>
      </p:pic>
      <p:grpSp>
        <p:nvGrpSpPr>
          <p:cNvPr id="26" name="Group 2">
            <a:extLst>
              <a:ext uri="{FF2B5EF4-FFF2-40B4-BE49-F238E27FC236}">
                <a16:creationId xmlns:a16="http://schemas.microsoft.com/office/drawing/2014/main" id="{BDF30C32-E497-4962-B9D3-0E77F8DB4CA9}"/>
              </a:ext>
            </a:extLst>
          </p:cNvPr>
          <p:cNvGrpSpPr>
            <a:grpSpLocks noChangeAspect="1"/>
          </p:cNvGrpSpPr>
          <p:nvPr userDrawn="1"/>
        </p:nvGrpSpPr>
        <p:grpSpPr bwMode="auto">
          <a:xfrm>
            <a:off x="740176" y="3447346"/>
            <a:ext cx="8536894" cy="53975"/>
            <a:chOff x="2241" y="2818"/>
            <a:chExt cx="6887" cy="85"/>
          </a:xfrm>
        </p:grpSpPr>
        <p:sp>
          <p:nvSpPr>
            <p:cNvPr id="27" name="Rectangle 3">
              <a:extLst>
                <a:ext uri="{FF2B5EF4-FFF2-40B4-BE49-F238E27FC236}">
                  <a16:creationId xmlns:a16="http://schemas.microsoft.com/office/drawing/2014/main" id="{7B802CF8-5F7B-45E7-A1DD-98D6A1036E92}"/>
                </a:ext>
              </a:extLst>
            </p:cNvPr>
            <p:cNvSpPr>
              <a:spLocks noChangeArrowheads="1"/>
            </p:cNvSpPr>
            <p:nvPr/>
          </p:nvSpPr>
          <p:spPr bwMode="auto">
            <a:xfrm>
              <a:off x="4621" y="2818"/>
              <a:ext cx="2028" cy="85"/>
            </a:xfrm>
            <a:prstGeom prst="rect">
              <a:avLst/>
            </a:prstGeom>
            <a:solidFill>
              <a:srgbClr val="00B2B4"/>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8" name="Rectangle 4">
              <a:extLst>
                <a:ext uri="{FF2B5EF4-FFF2-40B4-BE49-F238E27FC236}">
                  <a16:creationId xmlns:a16="http://schemas.microsoft.com/office/drawing/2014/main" id="{CC4AE02E-6B47-4661-B8AC-F255791A89FB}"/>
                </a:ext>
              </a:extLst>
            </p:cNvPr>
            <p:cNvSpPr>
              <a:spLocks noChangeArrowheads="1"/>
            </p:cNvSpPr>
            <p:nvPr/>
          </p:nvSpPr>
          <p:spPr bwMode="auto">
            <a:xfrm>
              <a:off x="2241" y="2818"/>
              <a:ext cx="2354" cy="85"/>
            </a:xfrm>
            <a:prstGeom prst="rect">
              <a:avLst/>
            </a:prstGeom>
            <a:solidFill>
              <a:srgbClr val="00ACE1"/>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9" name="Rectangle 5">
              <a:extLst>
                <a:ext uri="{FF2B5EF4-FFF2-40B4-BE49-F238E27FC236}">
                  <a16:creationId xmlns:a16="http://schemas.microsoft.com/office/drawing/2014/main" id="{86B75A4E-F586-4729-8711-D74FAFD759BE}"/>
                </a:ext>
              </a:extLst>
            </p:cNvPr>
            <p:cNvSpPr>
              <a:spLocks noChangeArrowheads="1"/>
            </p:cNvSpPr>
            <p:nvPr/>
          </p:nvSpPr>
          <p:spPr bwMode="auto">
            <a:xfrm>
              <a:off x="6675" y="2818"/>
              <a:ext cx="1553" cy="85"/>
            </a:xfrm>
            <a:prstGeom prst="rect">
              <a:avLst/>
            </a:prstGeom>
            <a:solidFill>
              <a:srgbClr val="7FC00F"/>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30" name="Rectangle 6">
              <a:extLst>
                <a:ext uri="{FF2B5EF4-FFF2-40B4-BE49-F238E27FC236}">
                  <a16:creationId xmlns:a16="http://schemas.microsoft.com/office/drawing/2014/main" id="{82997C06-6961-43E8-B05E-1851DCA94C85}"/>
                </a:ext>
              </a:extLst>
            </p:cNvPr>
            <p:cNvSpPr>
              <a:spLocks noChangeArrowheads="1"/>
            </p:cNvSpPr>
            <p:nvPr/>
          </p:nvSpPr>
          <p:spPr bwMode="auto">
            <a:xfrm>
              <a:off x="8255" y="2818"/>
              <a:ext cx="873" cy="85"/>
            </a:xfrm>
            <a:prstGeom prst="rect">
              <a:avLst/>
            </a:prstGeom>
            <a:solidFill>
              <a:srgbClr val="DEDC00"/>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grpSp>
      <p:sp>
        <p:nvSpPr>
          <p:cNvPr id="34" name="Textplatzhalter 33">
            <a:extLst>
              <a:ext uri="{FF2B5EF4-FFF2-40B4-BE49-F238E27FC236}">
                <a16:creationId xmlns:a16="http://schemas.microsoft.com/office/drawing/2014/main" id="{AA842A1E-948A-48EC-A328-191DB5CD89EB}"/>
              </a:ext>
            </a:extLst>
          </p:cNvPr>
          <p:cNvSpPr>
            <a:spLocks noGrp="1"/>
          </p:cNvSpPr>
          <p:nvPr>
            <p:ph type="body" sz="quarter" idx="10" hasCustomPrompt="1"/>
          </p:nvPr>
        </p:nvSpPr>
        <p:spPr>
          <a:xfrm>
            <a:off x="740176" y="2717473"/>
            <a:ext cx="7016841" cy="575717"/>
          </a:xfrm>
          <a:prstGeom prst="rect">
            <a:avLst/>
          </a:prstGeom>
        </p:spPr>
        <p:txBody>
          <a:bodyPr/>
          <a:lstStyle>
            <a:lvl1pPr marL="0" indent="0">
              <a:buNone/>
              <a:defRPr b="1"/>
            </a:lvl1pPr>
          </a:lstStyle>
          <a:p>
            <a:pPr lvl="0"/>
            <a:r>
              <a:rPr lang="en-US" noProof="0"/>
              <a:t>Title Subchapter</a:t>
            </a:r>
          </a:p>
        </p:txBody>
      </p:sp>
      <p:sp>
        <p:nvSpPr>
          <p:cNvPr id="35" name="Textplatzhalter 33" title="Subtitle">
            <a:extLst>
              <a:ext uri="{FF2B5EF4-FFF2-40B4-BE49-F238E27FC236}">
                <a16:creationId xmlns:a16="http://schemas.microsoft.com/office/drawing/2014/main" id="{FA14C959-36DC-41E8-BFA9-EA7C0BC8415A}"/>
              </a:ext>
            </a:extLst>
          </p:cNvPr>
          <p:cNvSpPr>
            <a:spLocks noGrp="1"/>
          </p:cNvSpPr>
          <p:nvPr>
            <p:ph type="body" sz="quarter" idx="11" hasCustomPrompt="1"/>
          </p:nvPr>
        </p:nvSpPr>
        <p:spPr>
          <a:xfrm>
            <a:off x="740176" y="3655477"/>
            <a:ext cx="7016841" cy="439941"/>
          </a:xfrm>
          <a:prstGeom prst="rect">
            <a:avLst/>
          </a:prstGeom>
        </p:spPr>
        <p:txBody>
          <a:bodyPr>
            <a:normAutofit/>
          </a:bodyPr>
          <a:lstStyle>
            <a:lvl1pPr marL="0" indent="0">
              <a:buNone/>
              <a:defRPr sz="2500" b="0"/>
            </a:lvl1pPr>
          </a:lstStyle>
          <a:p>
            <a:pPr lvl="0"/>
            <a:r>
              <a:rPr lang="en-US" noProof="0"/>
              <a:t>Subtitle Subchapter</a:t>
            </a:r>
          </a:p>
        </p:txBody>
      </p:sp>
    </p:spTree>
    <p:extLst>
      <p:ext uri="{BB962C8B-B14F-4D97-AF65-F5344CB8AC3E}">
        <p14:creationId xmlns:p14="http://schemas.microsoft.com/office/powerpoint/2010/main" val="10979268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 Id="rId9"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6.xml"/><Relationship Id="rId7" Type="http://schemas.openxmlformats.org/officeDocument/2006/relationships/oleObject" Target="../embeddings/oleObject5.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heme" Target="../theme/theme2.xml"/><Relationship Id="rId9"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9.xml"/><Relationship Id="rId7" Type="http://schemas.openxmlformats.org/officeDocument/2006/relationships/oleObject" Target="../embeddings/oleObject9.bin"/><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heme" Target="../theme/theme3.xml"/><Relationship Id="rId9"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oleObject" Target="../embeddings/oleObject13.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ags" Target="../tags/tag21.xml"/><Relationship Id="rId5" Type="http://schemas.openxmlformats.org/officeDocument/2006/relationships/tags" Target="../tags/tag20.xml"/><Relationship Id="rId4" Type="http://schemas.openxmlformats.org/officeDocument/2006/relationships/theme" Target="../theme/theme4.xml"/><Relationship Id="rId9" Type="http://schemas.openxmlformats.org/officeDocument/2006/relationships/image" Target="../media/image2.jpe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oleObject" Target="../embeddings/oleObject17.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heme" Target="../theme/theme5.xml"/><Relationship Id="rId9" Type="http://schemas.openxmlformats.org/officeDocument/2006/relationships/image" Target="../media/image2.jpe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8.xml"/><Relationship Id="rId7" Type="http://schemas.openxmlformats.org/officeDocument/2006/relationships/oleObject" Target="../embeddings/oleObject21.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heme" Target="../theme/theme6.xml"/><Relationship Id="rId9" Type="http://schemas.openxmlformats.org/officeDocument/2006/relationships/image" Target="../media/image2.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7.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image" Target="../media/image6.emf"/><Relationship Id="rId2" Type="http://schemas.openxmlformats.org/officeDocument/2006/relationships/slideLayout" Target="../slideLayouts/slideLayout20.xml"/><Relationship Id="rId16" Type="http://schemas.openxmlformats.org/officeDocument/2006/relationships/oleObject" Target="../embeddings/oleObject25.bin"/><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tags" Target="../tags/tag39.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ags" Target="../tags/tag3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ags" Target="../tags/tag40.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8.xml"/><Relationship Id="rId2" Type="http://schemas.openxmlformats.org/officeDocument/2006/relationships/slideLayout" Target="../slideLayouts/slideLayout32.xml"/><Relationship Id="rId16" Type="http://schemas.openxmlformats.org/officeDocument/2006/relationships/image" Target="../media/image6.emf"/><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oleObject" Target="../embeddings/oleObject26.bin"/><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tags" Target="../tags/tag4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tags" Target="../tags/tag42.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heme" Target="../theme/theme9.xml"/><Relationship Id="rId2" Type="http://schemas.openxmlformats.org/officeDocument/2006/relationships/slideLayout" Target="../slideLayouts/slideLayout43.xml"/><Relationship Id="rId16" Type="http://schemas.openxmlformats.org/officeDocument/2006/relationships/image" Target="../media/image6.emf"/><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oleObject" Target="../embeddings/oleObject27.bin"/><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tags" Target="../tags/tag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92259A30-A92A-4A7C-B80E-FBEEE0396D8B}"/>
              </a:ext>
            </a:extLst>
          </p:cNvPr>
          <p:cNvGraphicFramePr>
            <a:graphicFrameLocks noChangeAspect="1"/>
          </p:cNvGraphicFramePr>
          <p:nvPr userDrawn="1">
            <p:custDataLst>
              <p:tags r:id="rId5"/>
            </p:custDataLst>
            <p:extLst>
              <p:ext uri="{D42A27DB-BD31-4B8C-83A1-F6EECF244321}">
                <p14:modId xmlns:p14="http://schemas.microsoft.com/office/powerpoint/2010/main" val="1216303353"/>
              </p:ext>
            </p:extLst>
          </p:nvPr>
        </p:nvGraphicFramePr>
        <p:xfrm>
          <a:off x="1719" y="1588"/>
          <a:ext cx="1720" cy="1588"/>
        </p:xfrm>
        <a:graphic>
          <a:graphicData uri="http://schemas.openxmlformats.org/presentationml/2006/ole">
            <mc:AlternateContent xmlns:mc="http://schemas.openxmlformats.org/markup-compatibility/2006">
              <mc:Choice xmlns:v="urn:schemas-microsoft-com:vml" Requires="v">
                <p:oleObj name="think-cell Folie" r:id="rId7" imgW="421" imgH="420" progId="TCLayout.ActiveDocument.1">
                  <p:embed/>
                </p:oleObj>
              </mc:Choice>
              <mc:Fallback>
                <p:oleObj name="think-cell Folie" r:id="rId7" imgW="421" imgH="420" progId="TCLayout.ActiveDocument.1">
                  <p:embed/>
                  <p:pic>
                    <p:nvPicPr>
                      <p:cNvPr id="7" name="Objekt 6" hidden="1">
                        <a:extLst>
                          <a:ext uri="{FF2B5EF4-FFF2-40B4-BE49-F238E27FC236}">
                            <a16:creationId xmlns:a16="http://schemas.microsoft.com/office/drawing/2014/main" id="{92259A30-A92A-4A7C-B80E-FBEEE0396D8B}"/>
                          </a:ext>
                        </a:extLst>
                      </p:cNvPr>
                      <p:cNvPicPr/>
                      <p:nvPr/>
                    </p:nvPicPr>
                    <p:blipFill>
                      <a:blip r:embed="rId8"/>
                      <a:stretch>
                        <a:fillRect/>
                      </a:stretch>
                    </p:blipFill>
                    <p:spPr>
                      <a:xfrm>
                        <a:off x="1719" y="1588"/>
                        <a:ext cx="1720" cy="1588"/>
                      </a:xfrm>
                      <a:prstGeom prst="rect">
                        <a:avLst/>
                      </a:prstGeom>
                    </p:spPr>
                  </p:pic>
                </p:oleObj>
              </mc:Fallback>
            </mc:AlternateContent>
          </a:graphicData>
        </a:graphic>
      </p:graphicFrame>
      <p:sp>
        <p:nvSpPr>
          <p:cNvPr id="24" name="Rechteck 23" hidden="1">
            <a:extLst>
              <a:ext uri="{FF2B5EF4-FFF2-40B4-BE49-F238E27FC236}">
                <a16:creationId xmlns:a16="http://schemas.microsoft.com/office/drawing/2014/main" id="{04E82B8D-C6DD-4763-8150-1C96EA041A49}"/>
              </a:ext>
            </a:extLst>
          </p:cNvPr>
          <p:cNvSpPr/>
          <p:nvPr userDrawn="1">
            <p:custDataLst>
              <p:tags r:id="rId6"/>
            </p:custDataLst>
          </p:nvPr>
        </p:nvSpPr>
        <p:spPr>
          <a:xfrm>
            <a:off x="0" y="0"/>
            <a:ext cx="171896"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000" b="1" i="0" baseline="0">
              <a:latin typeface="Calibri" panose="020F0502020204030204" pitchFamily="34" charset="0"/>
              <a:ea typeface="+mn-ea"/>
              <a:cs typeface="+mn-cs"/>
              <a:sym typeface="Calibri" panose="020F0502020204030204" pitchFamily="34" charset="0"/>
            </a:endParaRPr>
          </a:p>
        </p:txBody>
      </p:sp>
      <p:sp>
        <p:nvSpPr>
          <p:cNvPr id="6" name="Segnaposto numero diapositiva 5"/>
          <p:cNvSpPr>
            <a:spLocks noGrp="1"/>
          </p:cNvSpPr>
          <p:nvPr>
            <p:ph type="sldNum" sz="quarter" idx="4"/>
          </p:nvPr>
        </p:nvSpPr>
        <p:spPr>
          <a:xfrm>
            <a:off x="3795475" y="6317073"/>
            <a:ext cx="2310289"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7B8E2B6B-92C8-4058-B5A5-20555B1EC8E1}" type="slidenum">
              <a:rPr lang="da-DK" smtClean="0"/>
              <a:pPr/>
              <a:t>‹#›</a:t>
            </a:fld>
            <a:endParaRPr lang="da-DK"/>
          </a:p>
        </p:txBody>
      </p:sp>
      <p:pic>
        <p:nvPicPr>
          <p:cNvPr id="15" name="Billede 4" descr="RFC3-ScanMed_medium.JPG">
            <a:extLst>
              <a:ext uri="{FF2B5EF4-FFF2-40B4-BE49-F238E27FC236}">
                <a16:creationId xmlns:a16="http://schemas.microsoft.com/office/drawing/2014/main" id="{79AFE0F1-0A11-4AB7-9677-BF605FBC9382}"/>
              </a:ext>
            </a:extLst>
          </p:cNvPr>
          <p:cNvPicPr/>
          <p:nvPr userDrawn="1"/>
        </p:nvPicPr>
        <p:blipFill>
          <a:blip r:embed="rId9" cstate="print"/>
          <a:stretch>
            <a:fillRect/>
          </a:stretch>
        </p:blipFill>
        <p:spPr>
          <a:xfrm>
            <a:off x="7601639" y="260648"/>
            <a:ext cx="1811293" cy="443125"/>
          </a:xfrm>
          <a:prstGeom prst="rect">
            <a:avLst/>
          </a:prstGeom>
        </p:spPr>
      </p:pic>
      <p:grpSp>
        <p:nvGrpSpPr>
          <p:cNvPr id="16" name="Group 2">
            <a:extLst>
              <a:ext uri="{FF2B5EF4-FFF2-40B4-BE49-F238E27FC236}">
                <a16:creationId xmlns:a16="http://schemas.microsoft.com/office/drawing/2014/main" id="{60153120-5ABC-4AA9-BFCD-853189199E22}"/>
              </a:ext>
            </a:extLst>
          </p:cNvPr>
          <p:cNvGrpSpPr>
            <a:grpSpLocks/>
          </p:cNvGrpSpPr>
          <p:nvPr userDrawn="1"/>
        </p:nvGrpSpPr>
        <p:grpSpPr bwMode="auto">
          <a:xfrm>
            <a:off x="662205" y="908720"/>
            <a:ext cx="8770782" cy="53975"/>
            <a:chOff x="2241" y="2818"/>
            <a:chExt cx="6887" cy="85"/>
          </a:xfrm>
        </p:grpSpPr>
        <p:sp>
          <p:nvSpPr>
            <p:cNvPr id="17" name="Rectangle 3">
              <a:extLst>
                <a:ext uri="{FF2B5EF4-FFF2-40B4-BE49-F238E27FC236}">
                  <a16:creationId xmlns:a16="http://schemas.microsoft.com/office/drawing/2014/main" id="{215B1C7B-A37B-45A2-BB76-29B8AD2F3959}"/>
                </a:ext>
              </a:extLst>
            </p:cNvPr>
            <p:cNvSpPr>
              <a:spLocks noChangeArrowheads="1"/>
            </p:cNvSpPr>
            <p:nvPr/>
          </p:nvSpPr>
          <p:spPr bwMode="auto">
            <a:xfrm>
              <a:off x="4621" y="2818"/>
              <a:ext cx="2028" cy="85"/>
            </a:xfrm>
            <a:prstGeom prst="rect">
              <a:avLst/>
            </a:prstGeom>
            <a:solidFill>
              <a:srgbClr val="00B2B4"/>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18" name="Rectangle 4">
              <a:extLst>
                <a:ext uri="{FF2B5EF4-FFF2-40B4-BE49-F238E27FC236}">
                  <a16:creationId xmlns:a16="http://schemas.microsoft.com/office/drawing/2014/main" id="{8B25FC44-E438-4B35-9115-73C9D7485BFB}"/>
                </a:ext>
              </a:extLst>
            </p:cNvPr>
            <p:cNvSpPr>
              <a:spLocks noChangeArrowheads="1"/>
            </p:cNvSpPr>
            <p:nvPr/>
          </p:nvSpPr>
          <p:spPr bwMode="auto">
            <a:xfrm>
              <a:off x="2241" y="2818"/>
              <a:ext cx="2354" cy="85"/>
            </a:xfrm>
            <a:prstGeom prst="rect">
              <a:avLst/>
            </a:prstGeom>
            <a:solidFill>
              <a:srgbClr val="00ACE1"/>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19" name="Rectangle 5">
              <a:extLst>
                <a:ext uri="{FF2B5EF4-FFF2-40B4-BE49-F238E27FC236}">
                  <a16:creationId xmlns:a16="http://schemas.microsoft.com/office/drawing/2014/main" id="{1B3EDA01-E925-4214-9595-FB6A4B20BBCA}"/>
                </a:ext>
              </a:extLst>
            </p:cNvPr>
            <p:cNvSpPr>
              <a:spLocks noChangeArrowheads="1"/>
            </p:cNvSpPr>
            <p:nvPr/>
          </p:nvSpPr>
          <p:spPr bwMode="auto">
            <a:xfrm>
              <a:off x="6675" y="2818"/>
              <a:ext cx="1553" cy="85"/>
            </a:xfrm>
            <a:prstGeom prst="rect">
              <a:avLst/>
            </a:prstGeom>
            <a:solidFill>
              <a:srgbClr val="7FC00F"/>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0" name="Rectangle 6">
              <a:extLst>
                <a:ext uri="{FF2B5EF4-FFF2-40B4-BE49-F238E27FC236}">
                  <a16:creationId xmlns:a16="http://schemas.microsoft.com/office/drawing/2014/main" id="{9A756580-F904-407F-AC3F-431D43269A60}"/>
                </a:ext>
              </a:extLst>
            </p:cNvPr>
            <p:cNvSpPr>
              <a:spLocks noChangeArrowheads="1"/>
            </p:cNvSpPr>
            <p:nvPr/>
          </p:nvSpPr>
          <p:spPr bwMode="auto">
            <a:xfrm>
              <a:off x="8255" y="2818"/>
              <a:ext cx="873" cy="85"/>
            </a:xfrm>
            <a:prstGeom prst="rect">
              <a:avLst/>
            </a:prstGeom>
            <a:solidFill>
              <a:srgbClr val="DEDC00"/>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grpSp>
      <p:sp>
        <p:nvSpPr>
          <p:cNvPr id="22" name="Titelplatzhalter 21">
            <a:extLst>
              <a:ext uri="{FF2B5EF4-FFF2-40B4-BE49-F238E27FC236}">
                <a16:creationId xmlns:a16="http://schemas.microsoft.com/office/drawing/2014/main" id="{4C64EE37-0E63-469C-9AFA-6D09895AEAFA}"/>
              </a:ext>
            </a:extLst>
          </p:cNvPr>
          <p:cNvSpPr>
            <a:spLocks noGrp="1"/>
          </p:cNvSpPr>
          <p:nvPr>
            <p:ph type="title"/>
          </p:nvPr>
        </p:nvSpPr>
        <p:spPr>
          <a:xfrm>
            <a:off x="680710" y="358365"/>
            <a:ext cx="6842957" cy="370968"/>
          </a:xfrm>
          <a:prstGeom prst="rect">
            <a:avLst/>
          </a:prstGeom>
        </p:spPr>
        <p:txBody>
          <a:bodyPr>
            <a:normAutofit lnSpcReduction="10000"/>
          </a:bodyPr>
          <a:lstStyle/>
          <a:p>
            <a:pPr marL="0" lvl="0" indent="0">
              <a:spcBef>
                <a:spcPct val="20000"/>
              </a:spcBef>
              <a:buFont typeface="Arial" pitchFamily="34" charset="0"/>
            </a:pPr>
            <a:r>
              <a:rPr lang="en-GB" noProof="0"/>
              <a:t>Title</a:t>
            </a:r>
          </a:p>
        </p:txBody>
      </p:sp>
    </p:spTree>
    <p:extLst>
      <p:ext uri="{BB962C8B-B14F-4D97-AF65-F5344CB8AC3E}">
        <p14:creationId xmlns:p14="http://schemas.microsoft.com/office/powerpoint/2010/main" val="1146718594"/>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Lst>
  <p:hf hdr="0"/>
  <p:txStyles>
    <p:titleStyle>
      <a:lvl1pPr algn="l" defTabSz="914400" rtl="0" eaLnBrk="1" latinLnBrk="0" hangingPunct="1">
        <a:spcBef>
          <a:spcPct val="0"/>
        </a:spcBef>
        <a:buNone/>
        <a:defRPr lang="de-DE" sz="2400" b="1" kern="1200" cap="none" baseline="0" dirty="0" smtClean="0">
          <a:solidFill>
            <a:schemeClr val="tx1"/>
          </a:solidFill>
          <a:latin typeface="+mn-lt"/>
          <a:ea typeface="+mn-ea"/>
          <a:cs typeface="+mn-cs"/>
        </a:defRPr>
      </a:lvl1pPr>
    </p:titleStyle>
    <p:bodyStyle>
      <a:lvl1pPr marL="342900" indent="-342900" algn="l" defTabSz="914400" rtl="0" eaLnBrk="1" latinLnBrk="0" hangingPunct="1">
        <a:spcBef>
          <a:spcPct val="20000"/>
        </a:spcBef>
        <a:buClr>
          <a:srgbClr val="00B2B4"/>
        </a:buClr>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Clr>
          <a:srgbClr val="00B2B4"/>
        </a:buClr>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Clr>
          <a:srgbClr val="00B2B4"/>
        </a:buClr>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Clr>
          <a:srgbClr val="00B2B4"/>
        </a:buClr>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Clr>
          <a:srgbClr val="00B2B4"/>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92259A30-A92A-4A7C-B80E-FBEEE0396D8B}"/>
              </a:ext>
            </a:extLst>
          </p:cNvPr>
          <p:cNvGraphicFramePr>
            <a:graphicFrameLocks noChangeAspect="1"/>
          </p:cNvGraphicFramePr>
          <p:nvPr userDrawn="1">
            <p:custDataLst>
              <p:tags r:id="rId5"/>
            </p:custDataLst>
            <p:extLst>
              <p:ext uri="{D42A27DB-BD31-4B8C-83A1-F6EECF244321}">
                <p14:modId xmlns:p14="http://schemas.microsoft.com/office/powerpoint/2010/main" val="3641636856"/>
              </p:ext>
            </p:extLst>
          </p:nvPr>
        </p:nvGraphicFramePr>
        <p:xfrm>
          <a:off x="1719" y="1588"/>
          <a:ext cx="1720" cy="1588"/>
        </p:xfrm>
        <a:graphic>
          <a:graphicData uri="http://schemas.openxmlformats.org/presentationml/2006/ole">
            <mc:AlternateContent xmlns:mc="http://schemas.openxmlformats.org/markup-compatibility/2006">
              <mc:Choice xmlns:v="urn:schemas-microsoft-com:vml" Requires="v">
                <p:oleObj name="think-cell Folie" r:id="rId7" imgW="421" imgH="420" progId="TCLayout.ActiveDocument.1">
                  <p:embed/>
                </p:oleObj>
              </mc:Choice>
              <mc:Fallback>
                <p:oleObj name="think-cell Folie" r:id="rId7" imgW="421" imgH="420" progId="TCLayout.ActiveDocument.1">
                  <p:embed/>
                  <p:pic>
                    <p:nvPicPr>
                      <p:cNvPr id="7" name="Objekt 6" hidden="1">
                        <a:extLst>
                          <a:ext uri="{FF2B5EF4-FFF2-40B4-BE49-F238E27FC236}">
                            <a16:creationId xmlns:a16="http://schemas.microsoft.com/office/drawing/2014/main" id="{92259A30-A92A-4A7C-B80E-FBEEE0396D8B}"/>
                          </a:ext>
                        </a:extLst>
                      </p:cNvPr>
                      <p:cNvPicPr/>
                      <p:nvPr/>
                    </p:nvPicPr>
                    <p:blipFill>
                      <a:blip r:embed="rId8"/>
                      <a:stretch>
                        <a:fillRect/>
                      </a:stretch>
                    </p:blipFill>
                    <p:spPr>
                      <a:xfrm>
                        <a:off x="1719" y="1588"/>
                        <a:ext cx="1720" cy="1588"/>
                      </a:xfrm>
                      <a:prstGeom prst="rect">
                        <a:avLst/>
                      </a:prstGeom>
                    </p:spPr>
                  </p:pic>
                </p:oleObj>
              </mc:Fallback>
            </mc:AlternateContent>
          </a:graphicData>
        </a:graphic>
      </p:graphicFrame>
      <p:sp>
        <p:nvSpPr>
          <p:cNvPr id="24" name="Rechteck 23" hidden="1">
            <a:extLst>
              <a:ext uri="{FF2B5EF4-FFF2-40B4-BE49-F238E27FC236}">
                <a16:creationId xmlns:a16="http://schemas.microsoft.com/office/drawing/2014/main" id="{04E82B8D-C6DD-4763-8150-1C96EA041A49}"/>
              </a:ext>
            </a:extLst>
          </p:cNvPr>
          <p:cNvSpPr/>
          <p:nvPr userDrawn="1">
            <p:custDataLst>
              <p:tags r:id="rId6"/>
            </p:custDataLst>
          </p:nvPr>
        </p:nvSpPr>
        <p:spPr>
          <a:xfrm>
            <a:off x="0" y="0"/>
            <a:ext cx="171896"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000" b="1" i="0" baseline="0">
              <a:latin typeface="Calibri" panose="020F0502020204030204" pitchFamily="34" charset="0"/>
              <a:ea typeface="+mn-ea"/>
              <a:cs typeface="+mn-cs"/>
              <a:sym typeface="Calibri" panose="020F0502020204030204" pitchFamily="34" charset="0"/>
            </a:endParaRPr>
          </a:p>
        </p:txBody>
      </p:sp>
      <p:sp>
        <p:nvSpPr>
          <p:cNvPr id="6" name="Segnaposto numero diapositiva 5"/>
          <p:cNvSpPr>
            <a:spLocks noGrp="1"/>
          </p:cNvSpPr>
          <p:nvPr>
            <p:ph type="sldNum" sz="quarter" idx="4"/>
          </p:nvPr>
        </p:nvSpPr>
        <p:spPr>
          <a:xfrm>
            <a:off x="3795475" y="6317073"/>
            <a:ext cx="2310289"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7B8E2B6B-92C8-4058-B5A5-20555B1EC8E1}" type="slidenum">
              <a:rPr lang="da-DK" smtClean="0"/>
              <a:pPr/>
              <a:t>‹#›</a:t>
            </a:fld>
            <a:endParaRPr lang="da-DK"/>
          </a:p>
        </p:txBody>
      </p:sp>
      <p:pic>
        <p:nvPicPr>
          <p:cNvPr id="15" name="Billede 4" descr="RFC3-ScanMed_medium.JPG">
            <a:extLst>
              <a:ext uri="{FF2B5EF4-FFF2-40B4-BE49-F238E27FC236}">
                <a16:creationId xmlns:a16="http://schemas.microsoft.com/office/drawing/2014/main" id="{79AFE0F1-0A11-4AB7-9677-BF605FBC9382}"/>
              </a:ext>
            </a:extLst>
          </p:cNvPr>
          <p:cNvPicPr/>
          <p:nvPr userDrawn="1"/>
        </p:nvPicPr>
        <p:blipFill>
          <a:blip r:embed="rId9" cstate="print"/>
          <a:stretch>
            <a:fillRect/>
          </a:stretch>
        </p:blipFill>
        <p:spPr>
          <a:xfrm>
            <a:off x="7601639" y="260648"/>
            <a:ext cx="1811293" cy="443125"/>
          </a:xfrm>
          <a:prstGeom prst="rect">
            <a:avLst/>
          </a:prstGeom>
        </p:spPr>
      </p:pic>
      <p:grpSp>
        <p:nvGrpSpPr>
          <p:cNvPr id="16" name="Group 2">
            <a:extLst>
              <a:ext uri="{FF2B5EF4-FFF2-40B4-BE49-F238E27FC236}">
                <a16:creationId xmlns:a16="http://schemas.microsoft.com/office/drawing/2014/main" id="{60153120-5ABC-4AA9-BFCD-853189199E22}"/>
              </a:ext>
            </a:extLst>
          </p:cNvPr>
          <p:cNvGrpSpPr>
            <a:grpSpLocks/>
          </p:cNvGrpSpPr>
          <p:nvPr userDrawn="1"/>
        </p:nvGrpSpPr>
        <p:grpSpPr bwMode="auto">
          <a:xfrm>
            <a:off x="662205" y="908720"/>
            <a:ext cx="8770782" cy="53975"/>
            <a:chOff x="2241" y="2818"/>
            <a:chExt cx="6887" cy="85"/>
          </a:xfrm>
        </p:grpSpPr>
        <p:sp>
          <p:nvSpPr>
            <p:cNvPr id="17" name="Rectangle 3">
              <a:extLst>
                <a:ext uri="{FF2B5EF4-FFF2-40B4-BE49-F238E27FC236}">
                  <a16:creationId xmlns:a16="http://schemas.microsoft.com/office/drawing/2014/main" id="{215B1C7B-A37B-45A2-BB76-29B8AD2F3959}"/>
                </a:ext>
              </a:extLst>
            </p:cNvPr>
            <p:cNvSpPr>
              <a:spLocks noChangeArrowheads="1"/>
            </p:cNvSpPr>
            <p:nvPr/>
          </p:nvSpPr>
          <p:spPr bwMode="auto">
            <a:xfrm>
              <a:off x="4621" y="2818"/>
              <a:ext cx="2028" cy="85"/>
            </a:xfrm>
            <a:prstGeom prst="rect">
              <a:avLst/>
            </a:prstGeom>
            <a:solidFill>
              <a:srgbClr val="00B2B4"/>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18" name="Rectangle 4">
              <a:extLst>
                <a:ext uri="{FF2B5EF4-FFF2-40B4-BE49-F238E27FC236}">
                  <a16:creationId xmlns:a16="http://schemas.microsoft.com/office/drawing/2014/main" id="{8B25FC44-E438-4B35-9115-73C9D7485BFB}"/>
                </a:ext>
              </a:extLst>
            </p:cNvPr>
            <p:cNvSpPr>
              <a:spLocks noChangeArrowheads="1"/>
            </p:cNvSpPr>
            <p:nvPr/>
          </p:nvSpPr>
          <p:spPr bwMode="auto">
            <a:xfrm>
              <a:off x="2241" y="2818"/>
              <a:ext cx="2354" cy="85"/>
            </a:xfrm>
            <a:prstGeom prst="rect">
              <a:avLst/>
            </a:prstGeom>
            <a:solidFill>
              <a:srgbClr val="00ACE1"/>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19" name="Rectangle 5">
              <a:extLst>
                <a:ext uri="{FF2B5EF4-FFF2-40B4-BE49-F238E27FC236}">
                  <a16:creationId xmlns:a16="http://schemas.microsoft.com/office/drawing/2014/main" id="{1B3EDA01-E925-4214-9595-FB6A4B20BBCA}"/>
                </a:ext>
              </a:extLst>
            </p:cNvPr>
            <p:cNvSpPr>
              <a:spLocks noChangeArrowheads="1"/>
            </p:cNvSpPr>
            <p:nvPr/>
          </p:nvSpPr>
          <p:spPr bwMode="auto">
            <a:xfrm>
              <a:off x="6675" y="2818"/>
              <a:ext cx="1553" cy="85"/>
            </a:xfrm>
            <a:prstGeom prst="rect">
              <a:avLst/>
            </a:prstGeom>
            <a:solidFill>
              <a:srgbClr val="7FC00F"/>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0" name="Rectangle 6">
              <a:extLst>
                <a:ext uri="{FF2B5EF4-FFF2-40B4-BE49-F238E27FC236}">
                  <a16:creationId xmlns:a16="http://schemas.microsoft.com/office/drawing/2014/main" id="{9A756580-F904-407F-AC3F-431D43269A60}"/>
                </a:ext>
              </a:extLst>
            </p:cNvPr>
            <p:cNvSpPr>
              <a:spLocks noChangeArrowheads="1"/>
            </p:cNvSpPr>
            <p:nvPr/>
          </p:nvSpPr>
          <p:spPr bwMode="auto">
            <a:xfrm>
              <a:off x="8255" y="2818"/>
              <a:ext cx="873" cy="85"/>
            </a:xfrm>
            <a:prstGeom prst="rect">
              <a:avLst/>
            </a:prstGeom>
            <a:solidFill>
              <a:srgbClr val="DEDC00"/>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grpSp>
      <p:sp>
        <p:nvSpPr>
          <p:cNvPr id="22" name="Titelplatzhalter 21">
            <a:extLst>
              <a:ext uri="{FF2B5EF4-FFF2-40B4-BE49-F238E27FC236}">
                <a16:creationId xmlns:a16="http://schemas.microsoft.com/office/drawing/2014/main" id="{4C64EE37-0E63-469C-9AFA-6D09895AEAFA}"/>
              </a:ext>
            </a:extLst>
          </p:cNvPr>
          <p:cNvSpPr>
            <a:spLocks noGrp="1"/>
          </p:cNvSpPr>
          <p:nvPr>
            <p:ph type="title"/>
          </p:nvPr>
        </p:nvSpPr>
        <p:spPr>
          <a:xfrm>
            <a:off x="680710" y="358365"/>
            <a:ext cx="6842957" cy="370968"/>
          </a:xfrm>
          <a:prstGeom prst="rect">
            <a:avLst/>
          </a:prstGeom>
        </p:spPr>
        <p:txBody>
          <a:bodyPr>
            <a:normAutofit lnSpcReduction="10000"/>
          </a:bodyPr>
          <a:lstStyle/>
          <a:p>
            <a:pPr marL="0" lvl="0" indent="0">
              <a:spcBef>
                <a:spcPct val="20000"/>
              </a:spcBef>
              <a:buFont typeface="Arial" pitchFamily="34" charset="0"/>
            </a:pPr>
            <a:r>
              <a:rPr lang="en-GB" noProof="0"/>
              <a:t>Title</a:t>
            </a:r>
          </a:p>
        </p:txBody>
      </p:sp>
    </p:spTree>
    <p:extLst>
      <p:ext uri="{BB962C8B-B14F-4D97-AF65-F5344CB8AC3E}">
        <p14:creationId xmlns:p14="http://schemas.microsoft.com/office/powerpoint/2010/main" val="992274712"/>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Lst>
  <p:hf hdr="0"/>
  <p:txStyles>
    <p:titleStyle>
      <a:lvl1pPr algn="l" defTabSz="914400" rtl="0" eaLnBrk="1" latinLnBrk="0" hangingPunct="1">
        <a:spcBef>
          <a:spcPct val="0"/>
        </a:spcBef>
        <a:buNone/>
        <a:defRPr lang="de-DE" sz="2400" b="1" kern="1200" cap="none" baseline="0" dirty="0" smtClean="0">
          <a:solidFill>
            <a:schemeClr val="tx1"/>
          </a:solidFill>
          <a:latin typeface="+mn-lt"/>
          <a:ea typeface="+mn-ea"/>
          <a:cs typeface="+mn-cs"/>
        </a:defRPr>
      </a:lvl1pPr>
    </p:titleStyle>
    <p:bodyStyle>
      <a:lvl1pPr marL="342900" indent="-342900" algn="l" defTabSz="914400" rtl="0" eaLnBrk="1" latinLnBrk="0" hangingPunct="1">
        <a:spcBef>
          <a:spcPct val="20000"/>
        </a:spcBef>
        <a:buClr>
          <a:srgbClr val="00B2B4"/>
        </a:buClr>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Clr>
          <a:srgbClr val="00B2B4"/>
        </a:buClr>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Clr>
          <a:srgbClr val="00B2B4"/>
        </a:buClr>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Clr>
          <a:srgbClr val="00B2B4"/>
        </a:buClr>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Clr>
          <a:srgbClr val="00B2B4"/>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92259A30-A92A-4A7C-B80E-FBEEE0396D8B}"/>
              </a:ext>
            </a:extLst>
          </p:cNvPr>
          <p:cNvGraphicFramePr>
            <a:graphicFrameLocks noChangeAspect="1"/>
          </p:cNvGraphicFramePr>
          <p:nvPr userDrawn="1">
            <p:custDataLst>
              <p:tags r:id="rId5"/>
            </p:custDataLst>
            <p:extLst>
              <p:ext uri="{D42A27DB-BD31-4B8C-83A1-F6EECF244321}">
                <p14:modId xmlns:p14="http://schemas.microsoft.com/office/powerpoint/2010/main" val="413926238"/>
              </p:ext>
            </p:extLst>
          </p:nvPr>
        </p:nvGraphicFramePr>
        <p:xfrm>
          <a:off x="1719" y="1588"/>
          <a:ext cx="1720" cy="1588"/>
        </p:xfrm>
        <a:graphic>
          <a:graphicData uri="http://schemas.openxmlformats.org/presentationml/2006/ole">
            <mc:AlternateContent xmlns:mc="http://schemas.openxmlformats.org/markup-compatibility/2006">
              <mc:Choice xmlns:v="urn:schemas-microsoft-com:vml" Requires="v">
                <p:oleObj name="think-cell Folie" r:id="rId7" imgW="421" imgH="420" progId="TCLayout.ActiveDocument.1">
                  <p:embed/>
                </p:oleObj>
              </mc:Choice>
              <mc:Fallback>
                <p:oleObj name="think-cell Folie" r:id="rId7" imgW="421" imgH="420" progId="TCLayout.ActiveDocument.1">
                  <p:embed/>
                  <p:pic>
                    <p:nvPicPr>
                      <p:cNvPr id="7" name="Objekt 6" hidden="1">
                        <a:extLst>
                          <a:ext uri="{FF2B5EF4-FFF2-40B4-BE49-F238E27FC236}">
                            <a16:creationId xmlns:a16="http://schemas.microsoft.com/office/drawing/2014/main" id="{92259A30-A92A-4A7C-B80E-FBEEE0396D8B}"/>
                          </a:ext>
                        </a:extLst>
                      </p:cNvPr>
                      <p:cNvPicPr/>
                      <p:nvPr/>
                    </p:nvPicPr>
                    <p:blipFill>
                      <a:blip r:embed="rId8"/>
                      <a:stretch>
                        <a:fillRect/>
                      </a:stretch>
                    </p:blipFill>
                    <p:spPr>
                      <a:xfrm>
                        <a:off x="1719" y="1588"/>
                        <a:ext cx="1720" cy="1588"/>
                      </a:xfrm>
                      <a:prstGeom prst="rect">
                        <a:avLst/>
                      </a:prstGeom>
                    </p:spPr>
                  </p:pic>
                </p:oleObj>
              </mc:Fallback>
            </mc:AlternateContent>
          </a:graphicData>
        </a:graphic>
      </p:graphicFrame>
      <p:sp>
        <p:nvSpPr>
          <p:cNvPr id="24" name="Rechteck 23" hidden="1">
            <a:extLst>
              <a:ext uri="{FF2B5EF4-FFF2-40B4-BE49-F238E27FC236}">
                <a16:creationId xmlns:a16="http://schemas.microsoft.com/office/drawing/2014/main" id="{04E82B8D-C6DD-4763-8150-1C96EA041A49}"/>
              </a:ext>
            </a:extLst>
          </p:cNvPr>
          <p:cNvSpPr/>
          <p:nvPr userDrawn="1">
            <p:custDataLst>
              <p:tags r:id="rId6"/>
            </p:custDataLst>
          </p:nvPr>
        </p:nvSpPr>
        <p:spPr>
          <a:xfrm>
            <a:off x="0" y="0"/>
            <a:ext cx="171896"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000" b="1" i="0" baseline="0">
              <a:latin typeface="Calibri" panose="020F0502020204030204" pitchFamily="34" charset="0"/>
              <a:ea typeface="+mn-ea"/>
              <a:cs typeface="+mn-cs"/>
              <a:sym typeface="Calibri" panose="020F0502020204030204" pitchFamily="34" charset="0"/>
            </a:endParaRPr>
          </a:p>
        </p:txBody>
      </p:sp>
      <p:sp>
        <p:nvSpPr>
          <p:cNvPr id="6" name="Segnaposto numero diapositiva 5"/>
          <p:cNvSpPr>
            <a:spLocks noGrp="1"/>
          </p:cNvSpPr>
          <p:nvPr>
            <p:ph type="sldNum" sz="quarter" idx="4"/>
          </p:nvPr>
        </p:nvSpPr>
        <p:spPr>
          <a:xfrm>
            <a:off x="3795475" y="6317073"/>
            <a:ext cx="2310289"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7B8E2B6B-92C8-4058-B5A5-20555B1EC8E1}" type="slidenum">
              <a:rPr lang="da-DK" smtClean="0"/>
              <a:pPr/>
              <a:t>‹#›</a:t>
            </a:fld>
            <a:endParaRPr lang="da-DK"/>
          </a:p>
        </p:txBody>
      </p:sp>
      <p:pic>
        <p:nvPicPr>
          <p:cNvPr id="15" name="Billede 4" descr="RFC3-ScanMed_medium.JPG">
            <a:extLst>
              <a:ext uri="{FF2B5EF4-FFF2-40B4-BE49-F238E27FC236}">
                <a16:creationId xmlns:a16="http://schemas.microsoft.com/office/drawing/2014/main" id="{79AFE0F1-0A11-4AB7-9677-BF605FBC9382}"/>
              </a:ext>
            </a:extLst>
          </p:cNvPr>
          <p:cNvPicPr/>
          <p:nvPr userDrawn="1"/>
        </p:nvPicPr>
        <p:blipFill>
          <a:blip r:embed="rId9" cstate="print"/>
          <a:stretch>
            <a:fillRect/>
          </a:stretch>
        </p:blipFill>
        <p:spPr>
          <a:xfrm>
            <a:off x="7601639" y="260648"/>
            <a:ext cx="1811293" cy="443125"/>
          </a:xfrm>
          <a:prstGeom prst="rect">
            <a:avLst/>
          </a:prstGeom>
        </p:spPr>
      </p:pic>
      <p:grpSp>
        <p:nvGrpSpPr>
          <p:cNvPr id="16" name="Group 2">
            <a:extLst>
              <a:ext uri="{FF2B5EF4-FFF2-40B4-BE49-F238E27FC236}">
                <a16:creationId xmlns:a16="http://schemas.microsoft.com/office/drawing/2014/main" id="{60153120-5ABC-4AA9-BFCD-853189199E22}"/>
              </a:ext>
            </a:extLst>
          </p:cNvPr>
          <p:cNvGrpSpPr>
            <a:grpSpLocks/>
          </p:cNvGrpSpPr>
          <p:nvPr userDrawn="1"/>
        </p:nvGrpSpPr>
        <p:grpSpPr bwMode="auto">
          <a:xfrm>
            <a:off x="662205" y="908720"/>
            <a:ext cx="8770782" cy="53975"/>
            <a:chOff x="2241" y="2818"/>
            <a:chExt cx="6887" cy="85"/>
          </a:xfrm>
        </p:grpSpPr>
        <p:sp>
          <p:nvSpPr>
            <p:cNvPr id="17" name="Rectangle 3">
              <a:extLst>
                <a:ext uri="{FF2B5EF4-FFF2-40B4-BE49-F238E27FC236}">
                  <a16:creationId xmlns:a16="http://schemas.microsoft.com/office/drawing/2014/main" id="{215B1C7B-A37B-45A2-BB76-29B8AD2F3959}"/>
                </a:ext>
              </a:extLst>
            </p:cNvPr>
            <p:cNvSpPr>
              <a:spLocks noChangeArrowheads="1"/>
            </p:cNvSpPr>
            <p:nvPr/>
          </p:nvSpPr>
          <p:spPr bwMode="auto">
            <a:xfrm>
              <a:off x="4621" y="2818"/>
              <a:ext cx="2028" cy="85"/>
            </a:xfrm>
            <a:prstGeom prst="rect">
              <a:avLst/>
            </a:prstGeom>
            <a:solidFill>
              <a:srgbClr val="00B2B4"/>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18" name="Rectangle 4">
              <a:extLst>
                <a:ext uri="{FF2B5EF4-FFF2-40B4-BE49-F238E27FC236}">
                  <a16:creationId xmlns:a16="http://schemas.microsoft.com/office/drawing/2014/main" id="{8B25FC44-E438-4B35-9115-73C9D7485BFB}"/>
                </a:ext>
              </a:extLst>
            </p:cNvPr>
            <p:cNvSpPr>
              <a:spLocks noChangeArrowheads="1"/>
            </p:cNvSpPr>
            <p:nvPr/>
          </p:nvSpPr>
          <p:spPr bwMode="auto">
            <a:xfrm>
              <a:off x="2241" y="2818"/>
              <a:ext cx="2354" cy="85"/>
            </a:xfrm>
            <a:prstGeom prst="rect">
              <a:avLst/>
            </a:prstGeom>
            <a:solidFill>
              <a:srgbClr val="00ACE1"/>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19" name="Rectangle 5">
              <a:extLst>
                <a:ext uri="{FF2B5EF4-FFF2-40B4-BE49-F238E27FC236}">
                  <a16:creationId xmlns:a16="http://schemas.microsoft.com/office/drawing/2014/main" id="{1B3EDA01-E925-4214-9595-FB6A4B20BBCA}"/>
                </a:ext>
              </a:extLst>
            </p:cNvPr>
            <p:cNvSpPr>
              <a:spLocks noChangeArrowheads="1"/>
            </p:cNvSpPr>
            <p:nvPr/>
          </p:nvSpPr>
          <p:spPr bwMode="auto">
            <a:xfrm>
              <a:off x="6675" y="2818"/>
              <a:ext cx="1553" cy="85"/>
            </a:xfrm>
            <a:prstGeom prst="rect">
              <a:avLst/>
            </a:prstGeom>
            <a:solidFill>
              <a:srgbClr val="7FC00F"/>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0" name="Rectangle 6">
              <a:extLst>
                <a:ext uri="{FF2B5EF4-FFF2-40B4-BE49-F238E27FC236}">
                  <a16:creationId xmlns:a16="http://schemas.microsoft.com/office/drawing/2014/main" id="{9A756580-F904-407F-AC3F-431D43269A60}"/>
                </a:ext>
              </a:extLst>
            </p:cNvPr>
            <p:cNvSpPr>
              <a:spLocks noChangeArrowheads="1"/>
            </p:cNvSpPr>
            <p:nvPr/>
          </p:nvSpPr>
          <p:spPr bwMode="auto">
            <a:xfrm>
              <a:off x="8255" y="2818"/>
              <a:ext cx="873" cy="85"/>
            </a:xfrm>
            <a:prstGeom prst="rect">
              <a:avLst/>
            </a:prstGeom>
            <a:solidFill>
              <a:srgbClr val="DEDC00"/>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grpSp>
      <p:sp>
        <p:nvSpPr>
          <p:cNvPr id="22" name="Titelplatzhalter 21">
            <a:extLst>
              <a:ext uri="{FF2B5EF4-FFF2-40B4-BE49-F238E27FC236}">
                <a16:creationId xmlns:a16="http://schemas.microsoft.com/office/drawing/2014/main" id="{4C64EE37-0E63-469C-9AFA-6D09895AEAFA}"/>
              </a:ext>
            </a:extLst>
          </p:cNvPr>
          <p:cNvSpPr>
            <a:spLocks noGrp="1"/>
          </p:cNvSpPr>
          <p:nvPr>
            <p:ph type="title"/>
          </p:nvPr>
        </p:nvSpPr>
        <p:spPr>
          <a:xfrm>
            <a:off x="680710" y="358365"/>
            <a:ext cx="6842957" cy="370968"/>
          </a:xfrm>
          <a:prstGeom prst="rect">
            <a:avLst/>
          </a:prstGeom>
        </p:spPr>
        <p:txBody>
          <a:bodyPr>
            <a:normAutofit lnSpcReduction="10000"/>
          </a:bodyPr>
          <a:lstStyle/>
          <a:p>
            <a:pPr marL="0" lvl="0" indent="0">
              <a:spcBef>
                <a:spcPct val="20000"/>
              </a:spcBef>
              <a:buFont typeface="Arial" pitchFamily="34" charset="0"/>
            </a:pPr>
            <a:r>
              <a:rPr lang="en-GB" noProof="0"/>
              <a:t>Title</a:t>
            </a:r>
          </a:p>
        </p:txBody>
      </p:sp>
    </p:spTree>
    <p:extLst>
      <p:ext uri="{BB962C8B-B14F-4D97-AF65-F5344CB8AC3E}">
        <p14:creationId xmlns:p14="http://schemas.microsoft.com/office/powerpoint/2010/main" val="504504398"/>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Lst>
  <p:hf hdr="0"/>
  <p:txStyles>
    <p:titleStyle>
      <a:lvl1pPr algn="l" defTabSz="914400" rtl="0" eaLnBrk="1" latinLnBrk="0" hangingPunct="1">
        <a:spcBef>
          <a:spcPct val="0"/>
        </a:spcBef>
        <a:buNone/>
        <a:defRPr lang="de-DE" sz="2400" b="1" kern="1200" cap="none" baseline="0" dirty="0" smtClean="0">
          <a:solidFill>
            <a:schemeClr val="tx1"/>
          </a:solidFill>
          <a:latin typeface="+mn-lt"/>
          <a:ea typeface="+mn-ea"/>
          <a:cs typeface="+mn-cs"/>
        </a:defRPr>
      </a:lvl1pPr>
    </p:titleStyle>
    <p:bodyStyle>
      <a:lvl1pPr marL="342900" indent="-342900" algn="l" defTabSz="914400" rtl="0" eaLnBrk="1" latinLnBrk="0" hangingPunct="1">
        <a:spcBef>
          <a:spcPct val="20000"/>
        </a:spcBef>
        <a:buClr>
          <a:srgbClr val="00B2B4"/>
        </a:buClr>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Clr>
          <a:srgbClr val="00B2B4"/>
        </a:buClr>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Clr>
          <a:srgbClr val="00B2B4"/>
        </a:buClr>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Clr>
          <a:srgbClr val="00B2B4"/>
        </a:buClr>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Clr>
          <a:srgbClr val="00B2B4"/>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92259A30-A92A-4A7C-B80E-FBEEE0396D8B}"/>
              </a:ext>
            </a:extLst>
          </p:cNvPr>
          <p:cNvGraphicFramePr>
            <a:graphicFrameLocks noChangeAspect="1"/>
          </p:cNvGraphicFramePr>
          <p:nvPr userDrawn="1">
            <p:custDataLst>
              <p:tags r:id="rId5"/>
            </p:custDataLst>
            <p:extLst>
              <p:ext uri="{D42A27DB-BD31-4B8C-83A1-F6EECF244321}">
                <p14:modId xmlns:p14="http://schemas.microsoft.com/office/powerpoint/2010/main" val="1026713935"/>
              </p:ext>
            </p:extLst>
          </p:nvPr>
        </p:nvGraphicFramePr>
        <p:xfrm>
          <a:off x="1719" y="1588"/>
          <a:ext cx="1720" cy="1588"/>
        </p:xfrm>
        <a:graphic>
          <a:graphicData uri="http://schemas.openxmlformats.org/presentationml/2006/ole">
            <mc:AlternateContent xmlns:mc="http://schemas.openxmlformats.org/markup-compatibility/2006">
              <mc:Choice xmlns:v="urn:schemas-microsoft-com:vml" Requires="v">
                <p:oleObj name="think-cell Folie" r:id="rId7" imgW="421" imgH="420" progId="TCLayout.ActiveDocument.1">
                  <p:embed/>
                </p:oleObj>
              </mc:Choice>
              <mc:Fallback>
                <p:oleObj name="think-cell Folie" r:id="rId7" imgW="421" imgH="420" progId="TCLayout.ActiveDocument.1">
                  <p:embed/>
                  <p:pic>
                    <p:nvPicPr>
                      <p:cNvPr id="7" name="Objekt 6" hidden="1">
                        <a:extLst>
                          <a:ext uri="{FF2B5EF4-FFF2-40B4-BE49-F238E27FC236}">
                            <a16:creationId xmlns:a16="http://schemas.microsoft.com/office/drawing/2014/main" id="{92259A30-A92A-4A7C-B80E-FBEEE0396D8B}"/>
                          </a:ext>
                        </a:extLst>
                      </p:cNvPr>
                      <p:cNvPicPr/>
                      <p:nvPr/>
                    </p:nvPicPr>
                    <p:blipFill>
                      <a:blip r:embed="rId8"/>
                      <a:stretch>
                        <a:fillRect/>
                      </a:stretch>
                    </p:blipFill>
                    <p:spPr>
                      <a:xfrm>
                        <a:off x="1719" y="1588"/>
                        <a:ext cx="1720" cy="1588"/>
                      </a:xfrm>
                      <a:prstGeom prst="rect">
                        <a:avLst/>
                      </a:prstGeom>
                    </p:spPr>
                  </p:pic>
                </p:oleObj>
              </mc:Fallback>
            </mc:AlternateContent>
          </a:graphicData>
        </a:graphic>
      </p:graphicFrame>
      <p:sp>
        <p:nvSpPr>
          <p:cNvPr id="24" name="Rechteck 23" hidden="1">
            <a:extLst>
              <a:ext uri="{FF2B5EF4-FFF2-40B4-BE49-F238E27FC236}">
                <a16:creationId xmlns:a16="http://schemas.microsoft.com/office/drawing/2014/main" id="{04E82B8D-C6DD-4763-8150-1C96EA041A49}"/>
              </a:ext>
            </a:extLst>
          </p:cNvPr>
          <p:cNvSpPr/>
          <p:nvPr userDrawn="1">
            <p:custDataLst>
              <p:tags r:id="rId6"/>
            </p:custDataLst>
          </p:nvPr>
        </p:nvSpPr>
        <p:spPr>
          <a:xfrm>
            <a:off x="0" y="0"/>
            <a:ext cx="171896"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000" b="1" i="0" baseline="0">
              <a:latin typeface="Calibri" panose="020F0502020204030204" pitchFamily="34" charset="0"/>
              <a:ea typeface="+mn-ea"/>
              <a:cs typeface="+mn-cs"/>
              <a:sym typeface="Calibri" panose="020F0502020204030204" pitchFamily="34" charset="0"/>
            </a:endParaRPr>
          </a:p>
        </p:txBody>
      </p:sp>
      <p:sp>
        <p:nvSpPr>
          <p:cNvPr id="6" name="Segnaposto numero diapositiva 5"/>
          <p:cNvSpPr>
            <a:spLocks noGrp="1"/>
          </p:cNvSpPr>
          <p:nvPr>
            <p:ph type="sldNum" sz="quarter" idx="4"/>
          </p:nvPr>
        </p:nvSpPr>
        <p:spPr>
          <a:xfrm>
            <a:off x="3795475" y="6317073"/>
            <a:ext cx="2310289"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7B8E2B6B-92C8-4058-B5A5-20555B1EC8E1}" type="slidenum">
              <a:rPr lang="da-DK" smtClean="0"/>
              <a:pPr/>
              <a:t>‹#›</a:t>
            </a:fld>
            <a:endParaRPr lang="da-DK"/>
          </a:p>
        </p:txBody>
      </p:sp>
      <p:pic>
        <p:nvPicPr>
          <p:cNvPr id="15" name="Billede 4" descr="RFC3-ScanMed_medium.JPG">
            <a:extLst>
              <a:ext uri="{FF2B5EF4-FFF2-40B4-BE49-F238E27FC236}">
                <a16:creationId xmlns:a16="http://schemas.microsoft.com/office/drawing/2014/main" id="{79AFE0F1-0A11-4AB7-9677-BF605FBC9382}"/>
              </a:ext>
            </a:extLst>
          </p:cNvPr>
          <p:cNvPicPr/>
          <p:nvPr userDrawn="1"/>
        </p:nvPicPr>
        <p:blipFill>
          <a:blip r:embed="rId9" cstate="print"/>
          <a:stretch>
            <a:fillRect/>
          </a:stretch>
        </p:blipFill>
        <p:spPr>
          <a:xfrm>
            <a:off x="7601639" y="260648"/>
            <a:ext cx="1811293" cy="443125"/>
          </a:xfrm>
          <a:prstGeom prst="rect">
            <a:avLst/>
          </a:prstGeom>
        </p:spPr>
      </p:pic>
      <p:grpSp>
        <p:nvGrpSpPr>
          <p:cNvPr id="16" name="Group 2">
            <a:extLst>
              <a:ext uri="{FF2B5EF4-FFF2-40B4-BE49-F238E27FC236}">
                <a16:creationId xmlns:a16="http://schemas.microsoft.com/office/drawing/2014/main" id="{60153120-5ABC-4AA9-BFCD-853189199E22}"/>
              </a:ext>
            </a:extLst>
          </p:cNvPr>
          <p:cNvGrpSpPr>
            <a:grpSpLocks/>
          </p:cNvGrpSpPr>
          <p:nvPr userDrawn="1"/>
        </p:nvGrpSpPr>
        <p:grpSpPr bwMode="auto">
          <a:xfrm>
            <a:off x="662205" y="908720"/>
            <a:ext cx="8770782" cy="53975"/>
            <a:chOff x="2241" y="2818"/>
            <a:chExt cx="6887" cy="85"/>
          </a:xfrm>
        </p:grpSpPr>
        <p:sp>
          <p:nvSpPr>
            <p:cNvPr id="17" name="Rectangle 3">
              <a:extLst>
                <a:ext uri="{FF2B5EF4-FFF2-40B4-BE49-F238E27FC236}">
                  <a16:creationId xmlns:a16="http://schemas.microsoft.com/office/drawing/2014/main" id="{215B1C7B-A37B-45A2-BB76-29B8AD2F3959}"/>
                </a:ext>
              </a:extLst>
            </p:cNvPr>
            <p:cNvSpPr>
              <a:spLocks noChangeArrowheads="1"/>
            </p:cNvSpPr>
            <p:nvPr/>
          </p:nvSpPr>
          <p:spPr bwMode="auto">
            <a:xfrm>
              <a:off x="4621" y="2818"/>
              <a:ext cx="2028" cy="85"/>
            </a:xfrm>
            <a:prstGeom prst="rect">
              <a:avLst/>
            </a:prstGeom>
            <a:solidFill>
              <a:srgbClr val="00B2B4"/>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18" name="Rectangle 4">
              <a:extLst>
                <a:ext uri="{FF2B5EF4-FFF2-40B4-BE49-F238E27FC236}">
                  <a16:creationId xmlns:a16="http://schemas.microsoft.com/office/drawing/2014/main" id="{8B25FC44-E438-4B35-9115-73C9D7485BFB}"/>
                </a:ext>
              </a:extLst>
            </p:cNvPr>
            <p:cNvSpPr>
              <a:spLocks noChangeArrowheads="1"/>
            </p:cNvSpPr>
            <p:nvPr/>
          </p:nvSpPr>
          <p:spPr bwMode="auto">
            <a:xfrm>
              <a:off x="2241" y="2818"/>
              <a:ext cx="2354" cy="85"/>
            </a:xfrm>
            <a:prstGeom prst="rect">
              <a:avLst/>
            </a:prstGeom>
            <a:solidFill>
              <a:srgbClr val="00ACE1"/>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19" name="Rectangle 5">
              <a:extLst>
                <a:ext uri="{FF2B5EF4-FFF2-40B4-BE49-F238E27FC236}">
                  <a16:creationId xmlns:a16="http://schemas.microsoft.com/office/drawing/2014/main" id="{1B3EDA01-E925-4214-9595-FB6A4B20BBCA}"/>
                </a:ext>
              </a:extLst>
            </p:cNvPr>
            <p:cNvSpPr>
              <a:spLocks noChangeArrowheads="1"/>
            </p:cNvSpPr>
            <p:nvPr/>
          </p:nvSpPr>
          <p:spPr bwMode="auto">
            <a:xfrm>
              <a:off x="6675" y="2818"/>
              <a:ext cx="1553" cy="85"/>
            </a:xfrm>
            <a:prstGeom prst="rect">
              <a:avLst/>
            </a:prstGeom>
            <a:solidFill>
              <a:srgbClr val="7FC00F"/>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0" name="Rectangle 6">
              <a:extLst>
                <a:ext uri="{FF2B5EF4-FFF2-40B4-BE49-F238E27FC236}">
                  <a16:creationId xmlns:a16="http://schemas.microsoft.com/office/drawing/2014/main" id="{9A756580-F904-407F-AC3F-431D43269A60}"/>
                </a:ext>
              </a:extLst>
            </p:cNvPr>
            <p:cNvSpPr>
              <a:spLocks noChangeArrowheads="1"/>
            </p:cNvSpPr>
            <p:nvPr/>
          </p:nvSpPr>
          <p:spPr bwMode="auto">
            <a:xfrm>
              <a:off x="8255" y="2818"/>
              <a:ext cx="873" cy="85"/>
            </a:xfrm>
            <a:prstGeom prst="rect">
              <a:avLst/>
            </a:prstGeom>
            <a:solidFill>
              <a:srgbClr val="DEDC00"/>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grpSp>
      <p:sp>
        <p:nvSpPr>
          <p:cNvPr id="22" name="Titelplatzhalter 21">
            <a:extLst>
              <a:ext uri="{FF2B5EF4-FFF2-40B4-BE49-F238E27FC236}">
                <a16:creationId xmlns:a16="http://schemas.microsoft.com/office/drawing/2014/main" id="{4C64EE37-0E63-469C-9AFA-6D09895AEAFA}"/>
              </a:ext>
            </a:extLst>
          </p:cNvPr>
          <p:cNvSpPr>
            <a:spLocks noGrp="1"/>
          </p:cNvSpPr>
          <p:nvPr>
            <p:ph type="title"/>
          </p:nvPr>
        </p:nvSpPr>
        <p:spPr>
          <a:xfrm>
            <a:off x="680710" y="358365"/>
            <a:ext cx="6842957" cy="370968"/>
          </a:xfrm>
          <a:prstGeom prst="rect">
            <a:avLst/>
          </a:prstGeom>
        </p:spPr>
        <p:txBody>
          <a:bodyPr>
            <a:normAutofit lnSpcReduction="10000"/>
          </a:bodyPr>
          <a:lstStyle/>
          <a:p>
            <a:pPr marL="0" lvl="0" indent="0">
              <a:spcBef>
                <a:spcPct val="20000"/>
              </a:spcBef>
              <a:buFont typeface="Arial" pitchFamily="34" charset="0"/>
            </a:pPr>
            <a:r>
              <a:rPr lang="en-GB" noProof="0"/>
              <a:t>Title</a:t>
            </a:r>
          </a:p>
        </p:txBody>
      </p:sp>
    </p:spTree>
    <p:extLst>
      <p:ext uri="{BB962C8B-B14F-4D97-AF65-F5344CB8AC3E}">
        <p14:creationId xmlns:p14="http://schemas.microsoft.com/office/powerpoint/2010/main" val="3442155510"/>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Lst>
  <p:hf hdr="0"/>
  <p:txStyles>
    <p:titleStyle>
      <a:lvl1pPr algn="l" defTabSz="914400" rtl="0" eaLnBrk="1" latinLnBrk="0" hangingPunct="1">
        <a:spcBef>
          <a:spcPct val="0"/>
        </a:spcBef>
        <a:buNone/>
        <a:defRPr lang="de-DE" sz="2400" b="1" kern="1200" cap="none" baseline="0" dirty="0" smtClean="0">
          <a:solidFill>
            <a:schemeClr val="tx1"/>
          </a:solidFill>
          <a:latin typeface="+mn-lt"/>
          <a:ea typeface="+mn-ea"/>
          <a:cs typeface="+mn-cs"/>
        </a:defRPr>
      </a:lvl1pPr>
    </p:titleStyle>
    <p:bodyStyle>
      <a:lvl1pPr marL="342900" indent="-342900" algn="l" defTabSz="914400" rtl="0" eaLnBrk="1" latinLnBrk="0" hangingPunct="1">
        <a:spcBef>
          <a:spcPct val="20000"/>
        </a:spcBef>
        <a:buClr>
          <a:srgbClr val="00B2B4"/>
        </a:buClr>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Clr>
          <a:srgbClr val="00B2B4"/>
        </a:buClr>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Clr>
          <a:srgbClr val="00B2B4"/>
        </a:buClr>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Clr>
          <a:srgbClr val="00B2B4"/>
        </a:buClr>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Clr>
          <a:srgbClr val="00B2B4"/>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92259A30-A92A-4A7C-B80E-FBEEE0396D8B}"/>
              </a:ext>
            </a:extLst>
          </p:cNvPr>
          <p:cNvGraphicFramePr>
            <a:graphicFrameLocks noChangeAspect="1"/>
          </p:cNvGraphicFramePr>
          <p:nvPr userDrawn="1">
            <p:custDataLst>
              <p:tags r:id="rId5"/>
            </p:custDataLst>
            <p:extLst>
              <p:ext uri="{D42A27DB-BD31-4B8C-83A1-F6EECF244321}">
                <p14:modId xmlns:p14="http://schemas.microsoft.com/office/powerpoint/2010/main" val="2925193694"/>
              </p:ext>
            </p:extLst>
          </p:nvPr>
        </p:nvGraphicFramePr>
        <p:xfrm>
          <a:off x="1719" y="1588"/>
          <a:ext cx="1720" cy="1588"/>
        </p:xfrm>
        <a:graphic>
          <a:graphicData uri="http://schemas.openxmlformats.org/presentationml/2006/ole">
            <mc:AlternateContent xmlns:mc="http://schemas.openxmlformats.org/markup-compatibility/2006">
              <mc:Choice xmlns:v="urn:schemas-microsoft-com:vml" Requires="v">
                <p:oleObj name="think-cell Folie" r:id="rId7" imgW="421" imgH="420" progId="TCLayout.ActiveDocument.1">
                  <p:embed/>
                </p:oleObj>
              </mc:Choice>
              <mc:Fallback>
                <p:oleObj name="think-cell Folie" r:id="rId7" imgW="421" imgH="420" progId="TCLayout.ActiveDocument.1">
                  <p:embed/>
                  <p:pic>
                    <p:nvPicPr>
                      <p:cNvPr id="7" name="Objekt 6" hidden="1">
                        <a:extLst>
                          <a:ext uri="{FF2B5EF4-FFF2-40B4-BE49-F238E27FC236}">
                            <a16:creationId xmlns:a16="http://schemas.microsoft.com/office/drawing/2014/main" id="{92259A30-A92A-4A7C-B80E-FBEEE0396D8B}"/>
                          </a:ext>
                        </a:extLst>
                      </p:cNvPr>
                      <p:cNvPicPr/>
                      <p:nvPr/>
                    </p:nvPicPr>
                    <p:blipFill>
                      <a:blip r:embed="rId8"/>
                      <a:stretch>
                        <a:fillRect/>
                      </a:stretch>
                    </p:blipFill>
                    <p:spPr>
                      <a:xfrm>
                        <a:off x="1719" y="1588"/>
                        <a:ext cx="1720" cy="1588"/>
                      </a:xfrm>
                      <a:prstGeom prst="rect">
                        <a:avLst/>
                      </a:prstGeom>
                    </p:spPr>
                  </p:pic>
                </p:oleObj>
              </mc:Fallback>
            </mc:AlternateContent>
          </a:graphicData>
        </a:graphic>
      </p:graphicFrame>
      <p:sp>
        <p:nvSpPr>
          <p:cNvPr id="24" name="Rechteck 23" hidden="1">
            <a:extLst>
              <a:ext uri="{FF2B5EF4-FFF2-40B4-BE49-F238E27FC236}">
                <a16:creationId xmlns:a16="http://schemas.microsoft.com/office/drawing/2014/main" id="{04E82B8D-C6DD-4763-8150-1C96EA041A49}"/>
              </a:ext>
            </a:extLst>
          </p:cNvPr>
          <p:cNvSpPr/>
          <p:nvPr userDrawn="1">
            <p:custDataLst>
              <p:tags r:id="rId6"/>
            </p:custDataLst>
          </p:nvPr>
        </p:nvSpPr>
        <p:spPr>
          <a:xfrm>
            <a:off x="0" y="0"/>
            <a:ext cx="171896"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000" b="1" i="0" baseline="0">
              <a:latin typeface="Calibri" panose="020F0502020204030204" pitchFamily="34" charset="0"/>
              <a:ea typeface="+mn-ea"/>
              <a:cs typeface="+mn-cs"/>
              <a:sym typeface="Calibri" panose="020F0502020204030204" pitchFamily="34" charset="0"/>
            </a:endParaRPr>
          </a:p>
        </p:txBody>
      </p:sp>
      <p:sp>
        <p:nvSpPr>
          <p:cNvPr id="6" name="Segnaposto numero diapositiva 5"/>
          <p:cNvSpPr>
            <a:spLocks noGrp="1"/>
          </p:cNvSpPr>
          <p:nvPr>
            <p:ph type="sldNum" sz="quarter" idx="4"/>
          </p:nvPr>
        </p:nvSpPr>
        <p:spPr>
          <a:xfrm>
            <a:off x="3795475" y="6317073"/>
            <a:ext cx="2310289"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7B8E2B6B-92C8-4058-B5A5-20555B1EC8E1}" type="slidenum">
              <a:rPr lang="da-DK" smtClean="0"/>
              <a:pPr/>
              <a:t>‹#›</a:t>
            </a:fld>
            <a:endParaRPr lang="da-DK"/>
          </a:p>
        </p:txBody>
      </p:sp>
      <p:pic>
        <p:nvPicPr>
          <p:cNvPr id="15" name="Billede 4" descr="RFC3-ScanMed_medium.JPG">
            <a:extLst>
              <a:ext uri="{FF2B5EF4-FFF2-40B4-BE49-F238E27FC236}">
                <a16:creationId xmlns:a16="http://schemas.microsoft.com/office/drawing/2014/main" id="{79AFE0F1-0A11-4AB7-9677-BF605FBC9382}"/>
              </a:ext>
            </a:extLst>
          </p:cNvPr>
          <p:cNvPicPr/>
          <p:nvPr userDrawn="1"/>
        </p:nvPicPr>
        <p:blipFill>
          <a:blip r:embed="rId9" cstate="print"/>
          <a:stretch>
            <a:fillRect/>
          </a:stretch>
        </p:blipFill>
        <p:spPr>
          <a:xfrm>
            <a:off x="7601639" y="260648"/>
            <a:ext cx="1811293" cy="443125"/>
          </a:xfrm>
          <a:prstGeom prst="rect">
            <a:avLst/>
          </a:prstGeom>
        </p:spPr>
      </p:pic>
      <p:grpSp>
        <p:nvGrpSpPr>
          <p:cNvPr id="16" name="Group 2">
            <a:extLst>
              <a:ext uri="{FF2B5EF4-FFF2-40B4-BE49-F238E27FC236}">
                <a16:creationId xmlns:a16="http://schemas.microsoft.com/office/drawing/2014/main" id="{60153120-5ABC-4AA9-BFCD-853189199E22}"/>
              </a:ext>
            </a:extLst>
          </p:cNvPr>
          <p:cNvGrpSpPr>
            <a:grpSpLocks/>
          </p:cNvGrpSpPr>
          <p:nvPr userDrawn="1"/>
        </p:nvGrpSpPr>
        <p:grpSpPr bwMode="auto">
          <a:xfrm>
            <a:off x="662205" y="908720"/>
            <a:ext cx="8770782" cy="53975"/>
            <a:chOff x="2241" y="2818"/>
            <a:chExt cx="6887" cy="85"/>
          </a:xfrm>
        </p:grpSpPr>
        <p:sp>
          <p:nvSpPr>
            <p:cNvPr id="17" name="Rectangle 3">
              <a:extLst>
                <a:ext uri="{FF2B5EF4-FFF2-40B4-BE49-F238E27FC236}">
                  <a16:creationId xmlns:a16="http://schemas.microsoft.com/office/drawing/2014/main" id="{215B1C7B-A37B-45A2-BB76-29B8AD2F3959}"/>
                </a:ext>
              </a:extLst>
            </p:cNvPr>
            <p:cNvSpPr>
              <a:spLocks noChangeArrowheads="1"/>
            </p:cNvSpPr>
            <p:nvPr/>
          </p:nvSpPr>
          <p:spPr bwMode="auto">
            <a:xfrm>
              <a:off x="4621" y="2818"/>
              <a:ext cx="2028" cy="85"/>
            </a:xfrm>
            <a:prstGeom prst="rect">
              <a:avLst/>
            </a:prstGeom>
            <a:solidFill>
              <a:srgbClr val="00B2B4"/>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18" name="Rectangle 4">
              <a:extLst>
                <a:ext uri="{FF2B5EF4-FFF2-40B4-BE49-F238E27FC236}">
                  <a16:creationId xmlns:a16="http://schemas.microsoft.com/office/drawing/2014/main" id="{8B25FC44-E438-4B35-9115-73C9D7485BFB}"/>
                </a:ext>
              </a:extLst>
            </p:cNvPr>
            <p:cNvSpPr>
              <a:spLocks noChangeArrowheads="1"/>
            </p:cNvSpPr>
            <p:nvPr/>
          </p:nvSpPr>
          <p:spPr bwMode="auto">
            <a:xfrm>
              <a:off x="2241" y="2818"/>
              <a:ext cx="2354" cy="85"/>
            </a:xfrm>
            <a:prstGeom prst="rect">
              <a:avLst/>
            </a:prstGeom>
            <a:solidFill>
              <a:srgbClr val="00ACE1"/>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19" name="Rectangle 5">
              <a:extLst>
                <a:ext uri="{FF2B5EF4-FFF2-40B4-BE49-F238E27FC236}">
                  <a16:creationId xmlns:a16="http://schemas.microsoft.com/office/drawing/2014/main" id="{1B3EDA01-E925-4214-9595-FB6A4B20BBCA}"/>
                </a:ext>
              </a:extLst>
            </p:cNvPr>
            <p:cNvSpPr>
              <a:spLocks noChangeArrowheads="1"/>
            </p:cNvSpPr>
            <p:nvPr/>
          </p:nvSpPr>
          <p:spPr bwMode="auto">
            <a:xfrm>
              <a:off x="6675" y="2818"/>
              <a:ext cx="1553" cy="85"/>
            </a:xfrm>
            <a:prstGeom prst="rect">
              <a:avLst/>
            </a:prstGeom>
            <a:solidFill>
              <a:srgbClr val="7FC00F"/>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0" name="Rectangle 6">
              <a:extLst>
                <a:ext uri="{FF2B5EF4-FFF2-40B4-BE49-F238E27FC236}">
                  <a16:creationId xmlns:a16="http://schemas.microsoft.com/office/drawing/2014/main" id="{9A756580-F904-407F-AC3F-431D43269A60}"/>
                </a:ext>
              </a:extLst>
            </p:cNvPr>
            <p:cNvSpPr>
              <a:spLocks noChangeArrowheads="1"/>
            </p:cNvSpPr>
            <p:nvPr/>
          </p:nvSpPr>
          <p:spPr bwMode="auto">
            <a:xfrm>
              <a:off x="8255" y="2818"/>
              <a:ext cx="873" cy="85"/>
            </a:xfrm>
            <a:prstGeom prst="rect">
              <a:avLst/>
            </a:prstGeom>
            <a:solidFill>
              <a:srgbClr val="DEDC00"/>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grpSp>
      <p:sp>
        <p:nvSpPr>
          <p:cNvPr id="22" name="Titelplatzhalter 21">
            <a:extLst>
              <a:ext uri="{FF2B5EF4-FFF2-40B4-BE49-F238E27FC236}">
                <a16:creationId xmlns:a16="http://schemas.microsoft.com/office/drawing/2014/main" id="{4C64EE37-0E63-469C-9AFA-6D09895AEAFA}"/>
              </a:ext>
            </a:extLst>
          </p:cNvPr>
          <p:cNvSpPr>
            <a:spLocks noGrp="1"/>
          </p:cNvSpPr>
          <p:nvPr>
            <p:ph type="title"/>
          </p:nvPr>
        </p:nvSpPr>
        <p:spPr>
          <a:xfrm>
            <a:off x="680710" y="358365"/>
            <a:ext cx="6842957" cy="370968"/>
          </a:xfrm>
          <a:prstGeom prst="rect">
            <a:avLst/>
          </a:prstGeom>
        </p:spPr>
        <p:txBody>
          <a:bodyPr>
            <a:normAutofit lnSpcReduction="10000"/>
          </a:bodyPr>
          <a:lstStyle/>
          <a:p>
            <a:pPr marL="0" lvl="0" indent="0">
              <a:spcBef>
                <a:spcPct val="20000"/>
              </a:spcBef>
              <a:buFont typeface="Arial" pitchFamily="34" charset="0"/>
            </a:pPr>
            <a:r>
              <a:rPr lang="en-GB" noProof="0"/>
              <a:t>Title</a:t>
            </a:r>
          </a:p>
        </p:txBody>
      </p:sp>
    </p:spTree>
    <p:extLst>
      <p:ext uri="{BB962C8B-B14F-4D97-AF65-F5344CB8AC3E}">
        <p14:creationId xmlns:p14="http://schemas.microsoft.com/office/powerpoint/2010/main" val="4281513228"/>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Lst>
  <p:hf hdr="0"/>
  <p:txStyles>
    <p:titleStyle>
      <a:lvl1pPr algn="l" defTabSz="914400" rtl="0" eaLnBrk="1" latinLnBrk="0" hangingPunct="1">
        <a:spcBef>
          <a:spcPct val="0"/>
        </a:spcBef>
        <a:buNone/>
        <a:defRPr lang="de-DE" sz="2400" b="1" kern="1200" cap="none" baseline="0" dirty="0" smtClean="0">
          <a:solidFill>
            <a:schemeClr val="tx1"/>
          </a:solidFill>
          <a:latin typeface="+mn-lt"/>
          <a:ea typeface="+mn-ea"/>
          <a:cs typeface="+mn-cs"/>
        </a:defRPr>
      </a:lvl1pPr>
    </p:titleStyle>
    <p:bodyStyle>
      <a:lvl1pPr marL="342900" indent="-342900" algn="l" defTabSz="914400" rtl="0" eaLnBrk="1" latinLnBrk="0" hangingPunct="1">
        <a:spcBef>
          <a:spcPct val="20000"/>
        </a:spcBef>
        <a:buClr>
          <a:srgbClr val="00B2B4"/>
        </a:buClr>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Clr>
          <a:srgbClr val="00B2B4"/>
        </a:buClr>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Clr>
          <a:srgbClr val="00B2B4"/>
        </a:buClr>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Clr>
          <a:srgbClr val="00B2B4"/>
        </a:buClr>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Clr>
          <a:srgbClr val="00B2B4"/>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92259A30-A92A-4A7C-B80E-FBEEE0396D8B}"/>
              </a:ext>
            </a:extLst>
          </p:cNvPr>
          <p:cNvGraphicFramePr>
            <a:graphicFrameLocks noChangeAspect="1"/>
          </p:cNvGraphicFramePr>
          <p:nvPr userDrawn="1">
            <p:custDataLst>
              <p:tags r:id="rId5"/>
            </p:custDataLst>
            <p:extLst>
              <p:ext uri="{D42A27DB-BD31-4B8C-83A1-F6EECF244321}">
                <p14:modId xmlns:p14="http://schemas.microsoft.com/office/powerpoint/2010/main" val="1963253405"/>
              </p:ext>
            </p:extLst>
          </p:nvPr>
        </p:nvGraphicFramePr>
        <p:xfrm>
          <a:off x="1719" y="1588"/>
          <a:ext cx="1720" cy="1588"/>
        </p:xfrm>
        <a:graphic>
          <a:graphicData uri="http://schemas.openxmlformats.org/presentationml/2006/ole">
            <mc:AlternateContent xmlns:mc="http://schemas.openxmlformats.org/markup-compatibility/2006">
              <mc:Choice xmlns:v="urn:schemas-microsoft-com:vml" Requires="v">
                <p:oleObj name="think-cell Folie" r:id="rId7" imgW="421" imgH="420" progId="TCLayout.ActiveDocument.1">
                  <p:embed/>
                </p:oleObj>
              </mc:Choice>
              <mc:Fallback>
                <p:oleObj name="think-cell Folie" r:id="rId7" imgW="421" imgH="420" progId="TCLayout.ActiveDocument.1">
                  <p:embed/>
                  <p:pic>
                    <p:nvPicPr>
                      <p:cNvPr id="7" name="Objekt 6" hidden="1">
                        <a:extLst>
                          <a:ext uri="{FF2B5EF4-FFF2-40B4-BE49-F238E27FC236}">
                            <a16:creationId xmlns:a16="http://schemas.microsoft.com/office/drawing/2014/main" id="{92259A30-A92A-4A7C-B80E-FBEEE0396D8B}"/>
                          </a:ext>
                        </a:extLst>
                      </p:cNvPr>
                      <p:cNvPicPr/>
                      <p:nvPr/>
                    </p:nvPicPr>
                    <p:blipFill>
                      <a:blip r:embed="rId8"/>
                      <a:stretch>
                        <a:fillRect/>
                      </a:stretch>
                    </p:blipFill>
                    <p:spPr>
                      <a:xfrm>
                        <a:off x="1719" y="1588"/>
                        <a:ext cx="1720" cy="1588"/>
                      </a:xfrm>
                      <a:prstGeom prst="rect">
                        <a:avLst/>
                      </a:prstGeom>
                    </p:spPr>
                  </p:pic>
                </p:oleObj>
              </mc:Fallback>
            </mc:AlternateContent>
          </a:graphicData>
        </a:graphic>
      </p:graphicFrame>
      <p:sp>
        <p:nvSpPr>
          <p:cNvPr id="24" name="Rechteck 23" hidden="1">
            <a:extLst>
              <a:ext uri="{FF2B5EF4-FFF2-40B4-BE49-F238E27FC236}">
                <a16:creationId xmlns:a16="http://schemas.microsoft.com/office/drawing/2014/main" id="{04E82B8D-C6DD-4763-8150-1C96EA041A49}"/>
              </a:ext>
            </a:extLst>
          </p:cNvPr>
          <p:cNvSpPr/>
          <p:nvPr userDrawn="1">
            <p:custDataLst>
              <p:tags r:id="rId6"/>
            </p:custDataLst>
          </p:nvPr>
        </p:nvSpPr>
        <p:spPr>
          <a:xfrm>
            <a:off x="0" y="0"/>
            <a:ext cx="171896"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000" b="1" i="0" baseline="0">
              <a:latin typeface="Calibri" panose="020F0502020204030204" pitchFamily="34" charset="0"/>
              <a:ea typeface="+mn-ea"/>
              <a:cs typeface="+mn-cs"/>
              <a:sym typeface="Calibri" panose="020F0502020204030204" pitchFamily="34" charset="0"/>
            </a:endParaRPr>
          </a:p>
        </p:txBody>
      </p:sp>
      <p:sp>
        <p:nvSpPr>
          <p:cNvPr id="6" name="Segnaposto numero diapositiva 5"/>
          <p:cNvSpPr>
            <a:spLocks noGrp="1"/>
          </p:cNvSpPr>
          <p:nvPr>
            <p:ph type="sldNum" sz="quarter" idx="4"/>
          </p:nvPr>
        </p:nvSpPr>
        <p:spPr>
          <a:xfrm>
            <a:off x="3795475" y="6317073"/>
            <a:ext cx="2310289"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7B8E2B6B-92C8-4058-B5A5-20555B1EC8E1}" type="slidenum">
              <a:rPr lang="da-DK" smtClean="0"/>
              <a:pPr/>
              <a:t>‹#›</a:t>
            </a:fld>
            <a:endParaRPr lang="da-DK"/>
          </a:p>
        </p:txBody>
      </p:sp>
      <p:pic>
        <p:nvPicPr>
          <p:cNvPr id="15" name="Billede 4" descr="RFC3-ScanMed_medium.JPG">
            <a:extLst>
              <a:ext uri="{FF2B5EF4-FFF2-40B4-BE49-F238E27FC236}">
                <a16:creationId xmlns:a16="http://schemas.microsoft.com/office/drawing/2014/main" id="{79AFE0F1-0A11-4AB7-9677-BF605FBC9382}"/>
              </a:ext>
            </a:extLst>
          </p:cNvPr>
          <p:cNvPicPr/>
          <p:nvPr userDrawn="1"/>
        </p:nvPicPr>
        <p:blipFill>
          <a:blip r:embed="rId9" cstate="print"/>
          <a:stretch>
            <a:fillRect/>
          </a:stretch>
        </p:blipFill>
        <p:spPr>
          <a:xfrm>
            <a:off x="7601639" y="260648"/>
            <a:ext cx="1811293" cy="443125"/>
          </a:xfrm>
          <a:prstGeom prst="rect">
            <a:avLst/>
          </a:prstGeom>
        </p:spPr>
      </p:pic>
      <p:grpSp>
        <p:nvGrpSpPr>
          <p:cNvPr id="16" name="Group 2">
            <a:extLst>
              <a:ext uri="{FF2B5EF4-FFF2-40B4-BE49-F238E27FC236}">
                <a16:creationId xmlns:a16="http://schemas.microsoft.com/office/drawing/2014/main" id="{60153120-5ABC-4AA9-BFCD-853189199E22}"/>
              </a:ext>
            </a:extLst>
          </p:cNvPr>
          <p:cNvGrpSpPr>
            <a:grpSpLocks/>
          </p:cNvGrpSpPr>
          <p:nvPr userDrawn="1"/>
        </p:nvGrpSpPr>
        <p:grpSpPr bwMode="auto">
          <a:xfrm>
            <a:off x="662205" y="908720"/>
            <a:ext cx="8770782" cy="53975"/>
            <a:chOff x="2241" y="2818"/>
            <a:chExt cx="6887" cy="85"/>
          </a:xfrm>
        </p:grpSpPr>
        <p:sp>
          <p:nvSpPr>
            <p:cNvPr id="17" name="Rectangle 3">
              <a:extLst>
                <a:ext uri="{FF2B5EF4-FFF2-40B4-BE49-F238E27FC236}">
                  <a16:creationId xmlns:a16="http://schemas.microsoft.com/office/drawing/2014/main" id="{215B1C7B-A37B-45A2-BB76-29B8AD2F3959}"/>
                </a:ext>
              </a:extLst>
            </p:cNvPr>
            <p:cNvSpPr>
              <a:spLocks noChangeArrowheads="1"/>
            </p:cNvSpPr>
            <p:nvPr/>
          </p:nvSpPr>
          <p:spPr bwMode="auto">
            <a:xfrm>
              <a:off x="4621" y="2818"/>
              <a:ext cx="2028" cy="85"/>
            </a:xfrm>
            <a:prstGeom prst="rect">
              <a:avLst/>
            </a:prstGeom>
            <a:solidFill>
              <a:srgbClr val="00B2B4"/>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18" name="Rectangle 4">
              <a:extLst>
                <a:ext uri="{FF2B5EF4-FFF2-40B4-BE49-F238E27FC236}">
                  <a16:creationId xmlns:a16="http://schemas.microsoft.com/office/drawing/2014/main" id="{8B25FC44-E438-4B35-9115-73C9D7485BFB}"/>
                </a:ext>
              </a:extLst>
            </p:cNvPr>
            <p:cNvSpPr>
              <a:spLocks noChangeArrowheads="1"/>
            </p:cNvSpPr>
            <p:nvPr/>
          </p:nvSpPr>
          <p:spPr bwMode="auto">
            <a:xfrm>
              <a:off x="2241" y="2818"/>
              <a:ext cx="2354" cy="85"/>
            </a:xfrm>
            <a:prstGeom prst="rect">
              <a:avLst/>
            </a:prstGeom>
            <a:solidFill>
              <a:srgbClr val="00ACE1"/>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19" name="Rectangle 5">
              <a:extLst>
                <a:ext uri="{FF2B5EF4-FFF2-40B4-BE49-F238E27FC236}">
                  <a16:creationId xmlns:a16="http://schemas.microsoft.com/office/drawing/2014/main" id="{1B3EDA01-E925-4214-9595-FB6A4B20BBCA}"/>
                </a:ext>
              </a:extLst>
            </p:cNvPr>
            <p:cNvSpPr>
              <a:spLocks noChangeArrowheads="1"/>
            </p:cNvSpPr>
            <p:nvPr/>
          </p:nvSpPr>
          <p:spPr bwMode="auto">
            <a:xfrm>
              <a:off x="6675" y="2818"/>
              <a:ext cx="1553" cy="85"/>
            </a:xfrm>
            <a:prstGeom prst="rect">
              <a:avLst/>
            </a:prstGeom>
            <a:solidFill>
              <a:srgbClr val="7FC00F"/>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sp>
          <p:nvSpPr>
            <p:cNvPr id="20" name="Rectangle 6">
              <a:extLst>
                <a:ext uri="{FF2B5EF4-FFF2-40B4-BE49-F238E27FC236}">
                  <a16:creationId xmlns:a16="http://schemas.microsoft.com/office/drawing/2014/main" id="{9A756580-F904-407F-AC3F-431D43269A60}"/>
                </a:ext>
              </a:extLst>
            </p:cNvPr>
            <p:cNvSpPr>
              <a:spLocks noChangeArrowheads="1"/>
            </p:cNvSpPr>
            <p:nvPr/>
          </p:nvSpPr>
          <p:spPr bwMode="auto">
            <a:xfrm>
              <a:off x="8255" y="2818"/>
              <a:ext cx="873" cy="85"/>
            </a:xfrm>
            <a:prstGeom prst="rect">
              <a:avLst/>
            </a:prstGeom>
            <a:solidFill>
              <a:srgbClr val="DEDC00"/>
            </a:solidFill>
            <a:ln w="9525">
              <a:noFill/>
              <a:miter lim="800000"/>
              <a:headEnd/>
              <a:tailEnd/>
            </a:ln>
          </p:spPr>
          <p:txBody>
            <a:bodyPr vert="horz" wrap="square" lIns="91440" tIns="45720" rIns="91440" bIns="45720" numCol="1" anchor="t" anchorCtr="0" compatLnSpc="1">
              <a:prstTxWarp prst="textNoShape">
                <a:avLst/>
              </a:prstTxWarp>
            </a:bodyPr>
            <a:lstStyle/>
            <a:p>
              <a:endParaRPr lang="da-DK" sz="1600"/>
            </a:p>
          </p:txBody>
        </p:sp>
      </p:grpSp>
      <p:sp>
        <p:nvSpPr>
          <p:cNvPr id="22" name="Titelplatzhalter 21">
            <a:extLst>
              <a:ext uri="{FF2B5EF4-FFF2-40B4-BE49-F238E27FC236}">
                <a16:creationId xmlns:a16="http://schemas.microsoft.com/office/drawing/2014/main" id="{4C64EE37-0E63-469C-9AFA-6D09895AEAFA}"/>
              </a:ext>
            </a:extLst>
          </p:cNvPr>
          <p:cNvSpPr>
            <a:spLocks noGrp="1"/>
          </p:cNvSpPr>
          <p:nvPr>
            <p:ph type="title"/>
          </p:nvPr>
        </p:nvSpPr>
        <p:spPr>
          <a:xfrm>
            <a:off x="680710" y="358365"/>
            <a:ext cx="6842957" cy="370968"/>
          </a:xfrm>
          <a:prstGeom prst="rect">
            <a:avLst/>
          </a:prstGeom>
        </p:spPr>
        <p:txBody>
          <a:bodyPr>
            <a:normAutofit lnSpcReduction="10000"/>
          </a:bodyPr>
          <a:lstStyle/>
          <a:p>
            <a:pPr marL="0" lvl="0" indent="0">
              <a:spcBef>
                <a:spcPct val="20000"/>
              </a:spcBef>
              <a:buFont typeface="Arial" pitchFamily="34" charset="0"/>
            </a:pPr>
            <a:r>
              <a:rPr lang="en-GB" noProof="0"/>
              <a:t>Title</a:t>
            </a:r>
          </a:p>
        </p:txBody>
      </p:sp>
    </p:spTree>
    <p:extLst>
      <p:ext uri="{BB962C8B-B14F-4D97-AF65-F5344CB8AC3E}">
        <p14:creationId xmlns:p14="http://schemas.microsoft.com/office/powerpoint/2010/main" val="3871254899"/>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Lst>
  <p:hf hdr="0"/>
  <p:txStyles>
    <p:titleStyle>
      <a:lvl1pPr algn="l" defTabSz="914400" rtl="0" eaLnBrk="1" latinLnBrk="0" hangingPunct="1">
        <a:spcBef>
          <a:spcPct val="0"/>
        </a:spcBef>
        <a:buNone/>
        <a:defRPr lang="de-DE" sz="2400" b="1" kern="1200" cap="none" baseline="0" dirty="0" smtClean="0">
          <a:solidFill>
            <a:schemeClr val="tx1"/>
          </a:solidFill>
          <a:latin typeface="+mn-lt"/>
          <a:ea typeface="+mn-ea"/>
          <a:cs typeface="+mn-cs"/>
        </a:defRPr>
      </a:lvl1pPr>
    </p:titleStyle>
    <p:bodyStyle>
      <a:lvl1pPr marL="342900" indent="-342900" algn="l" defTabSz="914400" rtl="0" eaLnBrk="1" latinLnBrk="0" hangingPunct="1">
        <a:spcBef>
          <a:spcPct val="20000"/>
        </a:spcBef>
        <a:buClr>
          <a:srgbClr val="00B2B4"/>
        </a:buClr>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Clr>
          <a:srgbClr val="00B2B4"/>
        </a:buClr>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Clr>
          <a:srgbClr val="00B2B4"/>
        </a:buClr>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Clr>
          <a:srgbClr val="00B2B4"/>
        </a:buClr>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Clr>
          <a:srgbClr val="00B2B4"/>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3CA333C-842F-4A5D-971A-B3A8741B483E}"/>
              </a:ext>
            </a:extLst>
          </p:cNvPr>
          <p:cNvGraphicFramePr>
            <a:graphicFrameLocks noChangeAspect="1"/>
          </p:cNvGraphicFramePr>
          <p:nvPr userDrawn="1">
            <p:custDataLst>
              <p:tags r:id="rId14"/>
            </p:custDataLst>
            <p:extLst>
              <p:ext uri="{D42A27DB-BD31-4B8C-83A1-F6EECF244321}">
                <p14:modId xmlns:p14="http://schemas.microsoft.com/office/powerpoint/2010/main" val="2840616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6" imgW="395" imgH="394" progId="TCLayout.ActiveDocument.1">
                  <p:embed/>
                </p:oleObj>
              </mc:Choice>
              <mc:Fallback>
                <p:oleObj name="think-cell Folie" r:id="rId16" imgW="395" imgH="394" progId="TCLayout.ActiveDocument.1">
                  <p:embed/>
                  <p:pic>
                    <p:nvPicPr>
                      <p:cNvPr id="8" name="Objekt 7" hidden="1">
                        <a:extLst>
                          <a:ext uri="{FF2B5EF4-FFF2-40B4-BE49-F238E27FC236}">
                            <a16:creationId xmlns:a16="http://schemas.microsoft.com/office/drawing/2014/main" id="{D3CA333C-842F-4A5D-971A-B3A8741B483E}"/>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7AF5AAF4-2D8B-44C5-AE8A-D1C5A9F248AA}"/>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pl-PL" sz="4400" b="0" i="0" baseline="0">
              <a:latin typeface="Calibri" panose="020F0502020204030204" pitchFamily="34" charset="0"/>
              <a:ea typeface="+mj-ea"/>
              <a:cs typeface="+mj-cs"/>
              <a:sym typeface="Calibri" panose="020F0502020204030204" pitchFamily="34" charset="0"/>
            </a:endParaRPr>
          </a:p>
        </p:txBody>
      </p:sp>
      <p:sp>
        <p:nvSpPr>
          <p:cNvPr id="2" name="Symbol zastępczy tytułu 1"/>
          <p:cNvSpPr>
            <a:spLocks noGrp="1"/>
          </p:cNvSpPr>
          <p:nvPr>
            <p:ph type="title"/>
          </p:nvPr>
        </p:nvSpPr>
        <p:spPr>
          <a:xfrm>
            <a:off x="495062" y="274638"/>
            <a:ext cx="8911114" cy="1143000"/>
          </a:xfrm>
          <a:prstGeom prst="rect">
            <a:avLst/>
          </a:prstGeom>
        </p:spPr>
        <p:txBody>
          <a:bodyPr vert="horz" lIns="91440" tIns="45720" rIns="91440" bIns="45720" rtlCol="0" anchor="ctr">
            <a:normAutofit/>
          </a:bodyPr>
          <a:lstStyle/>
          <a:p>
            <a:r>
              <a:rPr lang="pl-PL"/>
              <a:t>Kliknij, aby edytować styl</a:t>
            </a:r>
          </a:p>
        </p:txBody>
      </p:sp>
      <p:sp>
        <p:nvSpPr>
          <p:cNvPr id="3" name="Symbol zastępczy tekstu 2"/>
          <p:cNvSpPr>
            <a:spLocks noGrp="1"/>
          </p:cNvSpPr>
          <p:nvPr>
            <p:ph type="body" idx="1"/>
          </p:nvPr>
        </p:nvSpPr>
        <p:spPr>
          <a:xfrm>
            <a:off x="495062" y="1600201"/>
            <a:ext cx="8911114" cy="4525963"/>
          </a:xfrm>
          <a:prstGeom prst="rect">
            <a:avLst/>
          </a:prstGeom>
        </p:spPr>
        <p:txBody>
          <a:bodyPr vert="horz" lIns="91440" tIns="45720" rIns="91440" bIns="45720" rtlCol="0">
            <a:normAutofit/>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daty 3"/>
          <p:cNvSpPr>
            <a:spLocks noGrp="1"/>
          </p:cNvSpPr>
          <p:nvPr>
            <p:ph type="dt" sz="half" idx="2"/>
          </p:nvPr>
        </p:nvSpPr>
        <p:spPr>
          <a:xfrm>
            <a:off x="495062" y="6356351"/>
            <a:ext cx="2310289"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CB423F8-4482-42A0-B427-4C08D7A842AE}" type="datetimeFigureOut">
              <a:rPr lang="pl-PL" smtClean="0"/>
              <a:pPr/>
              <a:t>05.03.2025</a:t>
            </a:fld>
            <a:endParaRPr lang="pl-PL"/>
          </a:p>
        </p:txBody>
      </p:sp>
      <p:sp>
        <p:nvSpPr>
          <p:cNvPr id="5" name="Symbol zastępczy stopki 4"/>
          <p:cNvSpPr>
            <a:spLocks noGrp="1"/>
          </p:cNvSpPr>
          <p:nvPr>
            <p:ph type="ftr" sz="quarter" idx="3"/>
          </p:nvPr>
        </p:nvSpPr>
        <p:spPr>
          <a:xfrm>
            <a:off x="3382923" y="6356351"/>
            <a:ext cx="3135392"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l-PL"/>
          </a:p>
        </p:txBody>
      </p:sp>
      <p:sp>
        <p:nvSpPr>
          <p:cNvPr id="6" name="Symbol zastępczy numeru slajdu 5"/>
          <p:cNvSpPr>
            <a:spLocks noGrp="1"/>
          </p:cNvSpPr>
          <p:nvPr>
            <p:ph type="sldNum" sz="quarter" idx="4"/>
          </p:nvPr>
        </p:nvSpPr>
        <p:spPr>
          <a:xfrm>
            <a:off x="7095887" y="6356351"/>
            <a:ext cx="231028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139ED5-3447-4DEB-8D75-8223C2750F30}" type="slidenum">
              <a:rPr lang="pl-PL" smtClean="0"/>
              <a:pPr/>
              <a:t>‹#›</a:t>
            </a:fld>
            <a:endParaRPr lang="pl-PL"/>
          </a:p>
        </p:txBody>
      </p:sp>
    </p:spTree>
    <p:extLst>
      <p:ext uri="{BB962C8B-B14F-4D97-AF65-F5344CB8AC3E}">
        <p14:creationId xmlns:p14="http://schemas.microsoft.com/office/powerpoint/2010/main" val="3047149104"/>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026A158-ACBD-4C46-97C0-5BDD66A9A3E7}"/>
              </a:ext>
            </a:extLst>
          </p:cNvPr>
          <p:cNvGraphicFramePr>
            <a:graphicFrameLocks noChangeAspect="1"/>
          </p:cNvGraphicFramePr>
          <p:nvPr userDrawn="1">
            <p:custDataLst>
              <p:tags r:id="rId13"/>
            </p:custDataLst>
            <p:extLst>
              <p:ext uri="{D42A27DB-BD31-4B8C-83A1-F6EECF244321}">
                <p14:modId xmlns:p14="http://schemas.microsoft.com/office/powerpoint/2010/main" val="334635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395" imgH="394" progId="TCLayout.ActiveDocument.1">
                  <p:embed/>
                </p:oleObj>
              </mc:Choice>
              <mc:Fallback>
                <p:oleObj name="think-cell Folie" r:id="rId15" imgW="395" imgH="394" progId="TCLayout.ActiveDocument.1">
                  <p:embed/>
                  <p:pic>
                    <p:nvPicPr>
                      <p:cNvPr id="8" name="Objekt 7" hidden="1">
                        <a:extLst>
                          <a:ext uri="{FF2B5EF4-FFF2-40B4-BE49-F238E27FC236}">
                            <a16:creationId xmlns:a16="http://schemas.microsoft.com/office/drawing/2014/main" id="{3026A158-ACBD-4C46-97C0-5BDD66A9A3E7}"/>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DCEB9F6E-273D-48B0-A6B8-F28DE1779F66}"/>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pl-PL" sz="4400" b="0" i="0" baseline="0">
              <a:latin typeface="Calibri" panose="020F0502020204030204" pitchFamily="34" charset="0"/>
              <a:ea typeface="+mj-ea"/>
              <a:cs typeface="+mj-cs"/>
              <a:sym typeface="Calibri" panose="020F0502020204030204" pitchFamily="34" charset="0"/>
            </a:endParaRPr>
          </a:p>
        </p:txBody>
      </p:sp>
      <p:sp>
        <p:nvSpPr>
          <p:cNvPr id="2" name="Symbol zastępczy tytułu 1"/>
          <p:cNvSpPr>
            <a:spLocks noGrp="1"/>
          </p:cNvSpPr>
          <p:nvPr>
            <p:ph type="title"/>
          </p:nvPr>
        </p:nvSpPr>
        <p:spPr>
          <a:xfrm>
            <a:off x="495062" y="274638"/>
            <a:ext cx="8911114" cy="1143000"/>
          </a:xfrm>
          <a:prstGeom prst="rect">
            <a:avLst/>
          </a:prstGeom>
        </p:spPr>
        <p:txBody>
          <a:bodyPr vert="horz" lIns="91440" tIns="45720" rIns="91440" bIns="45720" rtlCol="0" anchor="ctr">
            <a:normAutofit/>
          </a:bodyPr>
          <a:lstStyle/>
          <a:p>
            <a:r>
              <a:rPr lang="pl-PL"/>
              <a:t>Kliknij, aby edytować styl</a:t>
            </a:r>
          </a:p>
        </p:txBody>
      </p:sp>
      <p:sp>
        <p:nvSpPr>
          <p:cNvPr id="3" name="Symbol zastępczy tekstu 2"/>
          <p:cNvSpPr>
            <a:spLocks noGrp="1"/>
          </p:cNvSpPr>
          <p:nvPr>
            <p:ph type="body" idx="1"/>
          </p:nvPr>
        </p:nvSpPr>
        <p:spPr>
          <a:xfrm>
            <a:off x="495062" y="1600201"/>
            <a:ext cx="8911114" cy="4525963"/>
          </a:xfrm>
          <a:prstGeom prst="rect">
            <a:avLst/>
          </a:prstGeom>
        </p:spPr>
        <p:txBody>
          <a:bodyPr vert="horz" lIns="91440" tIns="45720" rIns="91440" bIns="45720" rtlCol="0">
            <a:normAutofit/>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daty 3"/>
          <p:cNvSpPr>
            <a:spLocks noGrp="1"/>
          </p:cNvSpPr>
          <p:nvPr>
            <p:ph type="dt" sz="half" idx="2"/>
          </p:nvPr>
        </p:nvSpPr>
        <p:spPr>
          <a:xfrm>
            <a:off x="495062" y="6356351"/>
            <a:ext cx="2310289"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CB423F8-4482-42A0-B427-4C08D7A842AE}" type="datetimeFigureOut">
              <a:rPr lang="pl-PL" smtClean="0"/>
              <a:pPr/>
              <a:t>05.03.2025</a:t>
            </a:fld>
            <a:endParaRPr lang="pl-PL"/>
          </a:p>
        </p:txBody>
      </p:sp>
      <p:sp>
        <p:nvSpPr>
          <p:cNvPr id="5" name="Symbol zastępczy stopki 4"/>
          <p:cNvSpPr>
            <a:spLocks noGrp="1"/>
          </p:cNvSpPr>
          <p:nvPr>
            <p:ph type="ftr" sz="quarter" idx="3"/>
          </p:nvPr>
        </p:nvSpPr>
        <p:spPr>
          <a:xfrm>
            <a:off x="3382923" y="6356351"/>
            <a:ext cx="3135392"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l-PL"/>
          </a:p>
        </p:txBody>
      </p:sp>
      <p:sp>
        <p:nvSpPr>
          <p:cNvPr id="6" name="Symbol zastępczy numeru slajdu 5"/>
          <p:cNvSpPr>
            <a:spLocks noGrp="1"/>
          </p:cNvSpPr>
          <p:nvPr>
            <p:ph type="sldNum" sz="quarter" idx="4"/>
          </p:nvPr>
        </p:nvSpPr>
        <p:spPr>
          <a:xfrm>
            <a:off x="7095887" y="6356351"/>
            <a:ext cx="231028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139ED5-3447-4DEB-8D75-8223C2750F30}" type="slidenum">
              <a:rPr lang="pl-PL" smtClean="0"/>
              <a:pPr/>
              <a:t>‹#›</a:t>
            </a:fld>
            <a:endParaRPr lang="pl-PL"/>
          </a:p>
        </p:txBody>
      </p:sp>
    </p:spTree>
    <p:extLst>
      <p:ext uri="{BB962C8B-B14F-4D97-AF65-F5344CB8AC3E}">
        <p14:creationId xmlns:p14="http://schemas.microsoft.com/office/powerpoint/2010/main" val="783251423"/>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3CA333C-842F-4A5D-971A-B3A8741B483E}"/>
              </a:ext>
            </a:extLst>
          </p:cNvPr>
          <p:cNvGraphicFramePr>
            <a:graphicFrameLocks noChangeAspect="1"/>
          </p:cNvGraphicFramePr>
          <p:nvPr userDrawn="1">
            <p:custDataLst>
              <p:tags r:id="rId13"/>
            </p:custDataLst>
            <p:extLst>
              <p:ext uri="{D42A27DB-BD31-4B8C-83A1-F6EECF244321}">
                <p14:modId xmlns:p14="http://schemas.microsoft.com/office/powerpoint/2010/main" val="2990586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395" imgH="394" progId="TCLayout.ActiveDocument.1">
                  <p:embed/>
                </p:oleObj>
              </mc:Choice>
              <mc:Fallback>
                <p:oleObj name="think-cell Folie" r:id="rId15" imgW="395" imgH="394" progId="TCLayout.ActiveDocument.1">
                  <p:embed/>
                  <p:pic>
                    <p:nvPicPr>
                      <p:cNvPr id="8" name="Objekt 7" hidden="1">
                        <a:extLst>
                          <a:ext uri="{FF2B5EF4-FFF2-40B4-BE49-F238E27FC236}">
                            <a16:creationId xmlns:a16="http://schemas.microsoft.com/office/drawing/2014/main" id="{D3CA333C-842F-4A5D-971A-B3A8741B483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7AF5AAF4-2D8B-44C5-AE8A-D1C5A9F248AA}"/>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pl-PL" sz="4400" b="0" i="0" baseline="0">
              <a:latin typeface="Calibri" panose="020F0502020204030204" pitchFamily="34" charset="0"/>
              <a:ea typeface="+mj-ea"/>
              <a:cs typeface="+mj-cs"/>
              <a:sym typeface="Calibri" panose="020F0502020204030204" pitchFamily="34" charset="0"/>
            </a:endParaRPr>
          </a:p>
        </p:txBody>
      </p:sp>
      <p:sp>
        <p:nvSpPr>
          <p:cNvPr id="2" name="Symbol zastępczy tytułu 1"/>
          <p:cNvSpPr>
            <a:spLocks noGrp="1"/>
          </p:cNvSpPr>
          <p:nvPr>
            <p:ph type="title"/>
          </p:nvPr>
        </p:nvSpPr>
        <p:spPr>
          <a:xfrm>
            <a:off x="495062" y="274638"/>
            <a:ext cx="8911114" cy="1143000"/>
          </a:xfrm>
          <a:prstGeom prst="rect">
            <a:avLst/>
          </a:prstGeom>
        </p:spPr>
        <p:txBody>
          <a:bodyPr vert="horz" lIns="91440" tIns="45720" rIns="91440" bIns="45720" rtlCol="0" anchor="ctr">
            <a:normAutofit/>
          </a:bodyPr>
          <a:lstStyle/>
          <a:p>
            <a:r>
              <a:rPr lang="pl-PL"/>
              <a:t>Kliknij, aby edytować styl</a:t>
            </a:r>
          </a:p>
        </p:txBody>
      </p:sp>
      <p:sp>
        <p:nvSpPr>
          <p:cNvPr id="3" name="Symbol zastępczy tekstu 2"/>
          <p:cNvSpPr>
            <a:spLocks noGrp="1"/>
          </p:cNvSpPr>
          <p:nvPr>
            <p:ph type="body" idx="1"/>
          </p:nvPr>
        </p:nvSpPr>
        <p:spPr>
          <a:xfrm>
            <a:off x="495062" y="1600201"/>
            <a:ext cx="8911114" cy="4525963"/>
          </a:xfrm>
          <a:prstGeom prst="rect">
            <a:avLst/>
          </a:prstGeom>
        </p:spPr>
        <p:txBody>
          <a:bodyPr vert="horz" lIns="91440" tIns="45720" rIns="91440" bIns="45720" rtlCol="0">
            <a:normAutofit/>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daty 3"/>
          <p:cNvSpPr>
            <a:spLocks noGrp="1"/>
          </p:cNvSpPr>
          <p:nvPr>
            <p:ph type="dt" sz="half" idx="2"/>
          </p:nvPr>
        </p:nvSpPr>
        <p:spPr>
          <a:xfrm>
            <a:off x="495062" y="6356351"/>
            <a:ext cx="2310289"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CB423F8-4482-42A0-B427-4C08D7A842AE}" type="datetimeFigureOut">
              <a:rPr lang="pl-PL" smtClean="0"/>
              <a:pPr/>
              <a:t>05.03.2025</a:t>
            </a:fld>
            <a:endParaRPr lang="pl-PL"/>
          </a:p>
        </p:txBody>
      </p:sp>
      <p:sp>
        <p:nvSpPr>
          <p:cNvPr id="5" name="Symbol zastępczy stopki 4"/>
          <p:cNvSpPr>
            <a:spLocks noGrp="1"/>
          </p:cNvSpPr>
          <p:nvPr>
            <p:ph type="ftr" sz="quarter" idx="3"/>
          </p:nvPr>
        </p:nvSpPr>
        <p:spPr>
          <a:xfrm>
            <a:off x="3382923" y="6356351"/>
            <a:ext cx="3135392"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l-PL"/>
          </a:p>
        </p:txBody>
      </p:sp>
      <p:sp>
        <p:nvSpPr>
          <p:cNvPr id="6" name="Symbol zastępczy numeru slajdu 5"/>
          <p:cNvSpPr>
            <a:spLocks noGrp="1"/>
          </p:cNvSpPr>
          <p:nvPr>
            <p:ph type="sldNum" sz="quarter" idx="4"/>
          </p:nvPr>
        </p:nvSpPr>
        <p:spPr>
          <a:xfrm>
            <a:off x="7095887" y="6356351"/>
            <a:ext cx="231028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139ED5-3447-4DEB-8D75-8223C2750F30}" type="slidenum">
              <a:rPr lang="pl-PL" smtClean="0"/>
              <a:pPr/>
              <a:t>‹#›</a:t>
            </a:fld>
            <a:endParaRPr lang="pl-PL"/>
          </a:p>
        </p:txBody>
      </p:sp>
    </p:spTree>
    <p:extLst>
      <p:ext uri="{BB962C8B-B14F-4D97-AF65-F5344CB8AC3E}">
        <p14:creationId xmlns:p14="http://schemas.microsoft.com/office/powerpoint/2010/main" val="220551566"/>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package" Target="../embeddings/Microsoft_Excel_Worksheet7.xlsx"/><Relationship Id="rId1" Type="http://schemas.openxmlformats.org/officeDocument/2006/relationships/slideLayout" Target="../slideLayouts/slideLayout30.xml"/><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openxmlformats.org/officeDocument/2006/relationships/image" Target="../media/image27.emf"/><Relationship Id="rId1" Type="http://schemas.openxmlformats.org/officeDocument/2006/relationships/slideLayout" Target="../slideLayouts/slideLayout30.xml"/><Relationship Id="rId4" Type="http://schemas.openxmlformats.org/officeDocument/2006/relationships/image" Target="../media/image28.emf"/></Relationships>
</file>

<file path=ppt/slides/_rels/slide12.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package" Target="../embeddings/Microsoft_Excel_Worksheet9.xlsx"/><Relationship Id="rId1" Type="http://schemas.openxmlformats.org/officeDocument/2006/relationships/slideLayout" Target="../slideLayouts/slideLayout30.xml"/><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openxmlformats.org/officeDocument/2006/relationships/image" Target="../media/image15.emf"/><Relationship Id="rId1" Type="http://schemas.openxmlformats.org/officeDocument/2006/relationships/slideLayout" Target="../slideLayouts/slideLayout30.xml"/><Relationship Id="rId4" Type="http://schemas.openxmlformats.org/officeDocument/2006/relationships/image" Target="../media/image31.emf"/></Relationships>
</file>

<file path=ppt/slides/_rels/slide14.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openxmlformats.org/officeDocument/2006/relationships/image" Target="../media/image32.png"/><Relationship Id="rId1" Type="http://schemas.openxmlformats.org/officeDocument/2006/relationships/slideLayout" Target="../slideLayouts/slideLayout30.xml"/><Relationship Id="rId4" Type="http://schemas.openxmlformats.org/officeDocument/2006/relationships/image" Target="../media/image33.emf"/></Relationships>
</file>

<file path=ppt/slides/_rels/slide15.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openxmlformats.org/officeDocument/2006/relationships/image" Target="../media/image34.png"/><Relationship Id="rId1" Type="http://schemas.openxmlformats.org/officeDocument/2006/relationships/slideLayout" Target="../slideLayouts/slideLayout30.xml"/><Relationship Id="rId4" Type="http://schemas.openxmlformats.org/officeDocument/2006/relationships/image" Target="../media/image35.emf"/></Relationships>
</file>

<file path=ppt/slides/_rels/slide16.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package" Target="../embeddings/Microsoft_Excel_Worksheet13.xlsx"/><Relationship Id="rId1" Type="http://schemas.openxmlformats.org/officeDocument/2006/relationships/slideLayout" Target="../slideLayouts/slideLayout30.xml"/><Relationship Id="rId4" Type="http://schemas.openxmlformats.org/officeDocument/2006/relationships/image" Target="../media/image37.png"/></Relationships>
</file>

<file path=ppt/slides/_rels/slide17.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openxmlformats.org/officeDocument/2006/relationships/image" Target="../media/image30.png"/><Relationship Id="rId1" Type="http://schemas.openxmlformats.org/officeDocument/2006/relationships/slideLayout" Target="../slideLayouts/slideLayout30.xml"/><Relationship Id="rId4" Type="http://schemas.openxmlformats.org/officeDocument/2006/relationships/image" Target="../media/image38.emf"/></Relationships>
</file>

<file path=ppt/slides/_rels/slide18.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openxmlformats.org/officeDocument/2006/relationships/image" Target="../media/image27.emf"/><Relationship Id="rId1" Type="http://schemas.openxmlformats.org/officeDocument/2006/relationships/slideLayout" Target="../slideLayouts/slideLayout30.xml"/><Relationship Id="rId4" Type="http://schemas.openxmlformats.org/officeDocument/2006/relationships/image" Target="../media/image39.emf"/></Relationships>
</file>

<file path=ppt/slides/_rels/slide2.xml.rels><?xml version="1.0" encoding="UTF-8" standalone="yes"?>
<Relationships xmlns="http://schemas.openxmlformats.org/package/2006/relationships"><Relationship Id="rId2" Type="http://schemas.openxmlformats.org/officeDocument/2006/relationships/hyperlink" Target="http://rfc8.eu/customer/temporary-capacity-restrictions/" TargetMode="Externa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notesSlide" Target="../notesSlides/notesSlide2.xml"/><Relationship Id="rId1" Type="http://schemas.openxmlformats.org/officeDocument/2006/relationships/slideLayout" Target="../slideLayouts/slideLayout30.xml"/><Relationship Id="rId6" Type="http://schemas.openxmlformats.org/officeDocument/2006/relationships/image" Target="../media/image12.emf"/><Relationship Id="rId5" Type="http://schemas.openxmlformats.org/officeDocument/2006/relationships/image" Target="../media/image11.emf"/><Relationship Id="rId4" Type="http://schemas.openxmlformats.org/officeDocument/2006/relationships/image" Target="../media/image10.emf"/></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30.xml"/><Relationship Id="rId5" Type="http://schemas.openxmlformats.org/officeDocument/2006/relationships/image" Target="../media/image14.emf"/><Relationship Id="rId4" Type="http://schemas.openxmlformats.org/officeDocument/2006/relationships/package" Target="../embeddings/Microsoft_Excel_Worksheet1.xlsx"/></Relationships>
</file>

<file path=ppt/slides/_rels/slide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openxmlformats.org/officeDocument/2006/relationships/image" Target="../media/image15.emf"/><Relationship Id="rId1" Type="http://schemas.openxmlformats.org/officeDocument/2006/relationships/slideLayout" Target="../slideLayouts/slideLayout30.xml"/><Relationship Id="rId4" Type="http://schemas.openxmlformats.org/officeDocument/2006/relationships/image" Target="../media/image16.emf"/></Relationships>
</file>

<file path=ppt/slides/_rels/slide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openxmlformats.org/officeDocument/2006/relationships/image" Target="../media/image17.emf"/><Relationship Id="rId1" Type="http://schemas.openxmlformats.org/officeDocument/2006/relationships/slideLayout" Target="../slideLayouts/slideLayout30.xml"/><Relationship Id="rId4" Type="http://schemas.openxmlformats.org/officeDocument/2006/relationships/image" Target="../media/image18.emf"/></Relationships>
</file>

<file path=ppt/slides/_rels/slide7.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package" Target="../embeddings/Microsoft_Excel_Worksheet4.xlsx"/><Relationship Id="rId1" Type="http://schemas.openxmlformats.org/officeDocument/2006/relationships/slideLayout" Target="../slideLayouts/slideLayout30.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openxmlformats.org/officeDocument/2006/relationships/image" Target="../media/image21.emf"/><Relationship Id="rId1" Type="http://schemas.openxmlformats.org/officeDocument/2006/relationships/slideLayout" Target="../slideLayouts/slideLayout30.xml"/><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package" Target="../embeddings/Microsoft_Excel_Worksheet6.xlsx"/><Relationship Id="rId1" Type="http://schemas.openxmlformats.org/officeDocument/2006/relationships/slideLayout" Target="../slideLayouts/slideLayout30.xml"/><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rostokąt 4">
            <a:extLst>
              <a:ext uri="{FF2B5EF4-FFF2-40B4-BE49-F238E27FC236}">
                <a16:creationId xmlns:a16="http://schemas.microsoft.com/office/drawing/2014/main" id="{548A5C70-7156-4A1E-A9F3-A06B4756A939}"/>
              </a:ext>
            </a:extLst>
          </p:cNvPr>
          <p:cNvSpPr/>
          <p:nvPr/>
        </p:nvSpPr>
        <p:spPr>
          <a:xfrm>
            <a:off x="-1" y="2492941"/>
            <a:ext cx="5454675" cy="402956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2400">
              <a:solidFill>
                <a:schemeClr val="tx1">
                  <a:lumMod val="65000"/>
                  <a:lumOff val="35000"/>
                </a:schemeClr>
              </a:solidFill>
            </a:endParaRPr>
          </a:p>
        </p:txBody>
      </p:sp>
      <p:sp>
        <p:nvSpPr>
          <p:cNvPr id="3" name="pole tekstowe 7">
            <a:extLst>
              <a:ext uri="{FF2B5EF4-FFF2-40B4-BE49-F238E27FC236}">
                <a16:creationId xmlns:a16="http://schemas.microsoft.com/office/drawing/2014/main" id="{8AC3B71A-3894-41DA-BDA8-EF27CBFD2D38}"/>
              </a:ext>
            </a:extLst>
          </p:cNvPr>
          <p:cNvSpPr txBox="1"/>
          <p:nvPr/>
        </p:nvSpPr>
        <p:spPr>
          <a:xfrm>
            <a:off x="1220074" y="4398609"/>
            <a:ext cx="2218377" cy="184666"/>
          </a:xfrm>
          <a:prstGeom prst="rect">
            <a:avLst/>
          </a:prstGeom>
          <a:noFill/>
          <a:ln>
            <a:noFill/>
          </a:ln>
        </p:spPr>
        <p:txBody>
          <a:bodyPr wrap="square" lIns="0" tIns="0" rIns="0" bIns="0" rtlCol="0">
            <a:spAutoFit/>
          </a:bodyPr>
          <a:lstStyle/>
          <a:p>
            <a:pPr algn="l">
              <a:defRPr sz="1800" b="0" i="0" u="none" strike="noStrike" kern="0" cap="none" spc="0" baseline="0">
                <a:solidFill>
                  <a:srgbClr val="000000"/>
                </a:solidFill>
                <a:uFillTx/>
              </a:defRPr>
            </a:pPr>
            <a:endParaRPr lang="en-US" sz="1200" kern="0">
              <a:latin typeface="Calibri" panose="020F0502020204030204" pitchFamily="34" charset="0"/>
              <a:cs typeface="Calibri" panose="020F0502020204030204" pitchFamily="34" charset="0"/>
            </a:endParaRPr>
          </a:p>
        </p:txBody>
      </p:sp>
      <p:sp>
        <p:nvSpPr>
          <p:cNvPr id="8" name="pole tekstowe 7">
            <a:extLst>
              <a:ext uri="{FF2B5EF4-FFF2-40B4-BE49-F238E27FC236}">
                <a16:creationId xmlns:a16="http://schemas.microsoft.com/office/drawing/2014/main" id="{035D2293-92D4-46A0-812E-8561959CD8CC}"/>
              </a:ext>
            </a:extLst>
          </p:cNvPr>
          <p:cNvSpPr txBox="1"/>
          <p:nvPr/>
        </p:nvSpPr>
        <p:spPr>
          <a:xfrm>
            <a:off x="116000" y="2420888"/>
            <a:ext cx="4149984" cy="3077766"/>
          </a:xfrm>
          <a:prstGeom prst="rect">
            <a:avLst/>
          </a:prstGeom>
          <a:noFill/>
          <a:ln>
            <a:noFill/>
          </a:ln>
        </p:spPr>
        <p:txBody>
          <a:bodyPr wrap="square" lIns="0" tIns="0" rIns="0" bIns="0" rtlCol="0">
            <a:spAutoFit/>
          </a:bodyPr>
          <a:lstStyle/>
          <a:p>
            <a:pPr algn="l">
              <a:defRPr sz="1800" b="0" i="0" u="none" strike="noStrike" kern="0" cap="none" spc="0" baseline="0">
                <a:solidFill>
                  <a:srgbClr val="000000"/>
                </a:solidFill>
                <a:uFillTx/>
              </a:defRPr>
            </a:pPr>
            <a:endParaRPr lang="pl-PL" sz="2400" dirty="0">
              <a:solidFill>
                <a:schemeClr val="tx1">
                  <a:lumMod val="65000"/>
                  <a:lumOff val="35000"/>
                </a:schemeClr>
              </a:solidFill>
              <a:cs typeface="Arial" pitchFamily="34" charset="0"/>
            </a:endParaRPr>
          </a:p>
          <a:p>
            <a:pPr algn="l">
              <a:defRPr sz="1800" b="0" i="0" u="none" strike="noStrike" kern="0" cap="none" spc="0" baseline="0">
                <a:solidFill>
                  <a:srgbClr val="000000"/>
                </a:solidFill>
                <a:uFillTx/>
              </a:defRPr>
            </a:pPr>
            <a:endParaRPr lang="pl-PL" sz="2400" dirty="0">
              <a:cs typeface="Arial" pitchFamily="34" charset="0"/>
            </a:endParaRPr>
          </a:p>
          <a:p>
            <a:pPr algn="l">
              <a:defRPr sz="1800" b="0" i="0" u="none" strike="noStrike" kern="0" cap="none" spc="0" baseline="0">
                <a:solidFill>
                  <a:srgbClr val="000000"/>
                </a:solidFill>
                <a:uFillTx/>
              </a:defRPr>
            </a:pPr>
            <a:r>
              <a:rPr lang="pl-PL" sz="2400" dirty="0">
                <a:cs typeface="Arial" pitchFamily="34" charset="0"/>
              </a:rPr>
              <a:t>   </a:t>
            </a:r>
            <a:r>
              <a:rPr lang="pl-PL" sz="2400" dirty="0">
                <a:latin typeface="Calibri" panose="020F0502020204030204" pitchFamily="34" charset="0"/>
                <a:cs typeface="Arial" pitchFamily="34" charset="0"/>
              </a:rPr>
              <a:t> </a:t>
            </a:r>
          </a:p>
          <a:p>
            <a:pPr algn="l">
              <a:defRPr sz="1800" b="0" i="0" u="none" strike="noStrike" kern="0" cap="none" spc="0" baseline="0">
                <a:solidFill>
                  <a:srgbClr val="000000"/>
                </a:solidFill>
                <a:uFillTx/>
              </a:defRPr>
            </a:pPr>
            <a:endParaRPr lang="en-US" sz="2000" b="1" kern="0" dirty="0">
              <a:cs typeface="Arial" pitchFamily="34" charset="0"/>
            </a:endParaRPr>
          </a:p>
          <a:p>
            <a:pPr algn="l">
              <a:defRPr sz="1800" b="0" i="0" u="none" strike="noStrike" kern="0" cap="none" spc="0" baseline="0">
                <a:solidFill>
                  <a:srgbClr val="000000"/>
                </a:solidFill>
                <a:uFillTx/>
              </a:defRPr>
            </a:pPr>
            <a:endParaRPr lang="pl-PL" sz="1200" kern="0" dirty="0">
              <a:cs typeface="Arial" pitchFamily="34" charset="0"/>
            </a:endParaRPr>
          </a:p>
          <a:p>
            <a:pPr algn="l">
              <a:defRPr sz="1800" b="0" i="0" u="none" strike="noStrike" kern="0" cap="none" spc="0" baseline="0">
                <a:solidFill>
                  <a:srgbClr val="000000"/>
                </a:solidFill>
                <a:uFillTx/>
              </a:defRPr>
            </a:pPr>
            <a:endParaRPr lang="pl-PL" sz="1200" kern="0" dirty="0">
              <a:cs typeface="Arial" pitchFamily="34" charset="0"/>
            </a:endParaRPr>
          </a:p>
          <a:p>
            <a:pPr algn="l">
              <a:defRPr sz="1800" b="0" i="0" u="none" strike="noStrike" kern="0" cap="none" spc="0" baseline="0">
                <a:solidFill>
                  <a:srgbClr val="000000"/>
                </a:solidFill>
                <a:uFillTx/>
              </a:defRPr>
            </a:pPr>
            <a:endParaRPr lang="pl-PL" sz="1200" kern="0" dirty="0">
              <a:cs typeface="Arial" pitchFamily="34" charset="0"/>
            </a:endParaRPr>
          </a:p>
          <a:p>
            <a:pPr algn="l">
              <a:defRPr sz="1800" b="0" i="0" u="none" strike="noStrike" kern="0" cap="none" spc="0" baseline="0">
                <a:solidFill>
                  <a:srgbClr val="000000"/>
                </a:solidFill>
                <a:uFillTx/>
              </a:defRPr>
            </a:pPr>
            <a:endParaRPr lang="pl-PL" sz="1200" kern="0" dirty="0">
              <a:cs typeface="Arial" pitchFamily="34" charset="0"/>
            </a:endParaRPr>
          </a:p>
          <a:p>
            <a:pPr algn="l">
              <a:defRPr sz="1800" b="0" i="0" u="none" strike="noStrike" kern="0" cap="none" spc="0" baseline="0">
                <a:solidFill>
                  <a:srgbClr val="000000"/>
                </a:solidFill>
                <a:uFillTx/>
              </a:defRPr>
            </a:pPr>
            <a:endParaRPr lang="pl-PL" sz="1200" kern="0" dirty="0">
              <a:cs typeface="Arial" pitchFamily="34" charset="0"/>
            </a:endParaRPr>
          </a:p>
          <a:p>
            <a:pPr algn="l">
              <a:defRPr sz="1800" b="0" i="0" u="none" strike="noStrike" kern="0" cap="none" spc="0" baseline="0">
                <a:solidFill>
                  <a:srgbClr val="000000"/>
                </a:solidFill>
                <a:uFillTx/>
              </a:defRPr>
            </a:pPr>
            <a:endParaRPr lang="pl-PL" sz="1200" kern="0" dirty="0">
              <a:cs typeface="Arial" pitchFamily="34" charset="0"/>
            </a:endParaRPr>
          </a:p>
          <a:p>
            <a:pPr algn="l">
              <a:defRPr sz="1800" b="0" i="0" u="none" strike="noStrike" kern="0" cap="none" spc="0" baseline="0">
                <a:solidFill>
                  <a:srgbClr val="000000"/>
                </a:solidFill>
                <a:uFillTx/>
              </a:defRPr>
            </a:pPr>
            <a:endParaRPr lang="pl-PL" sz="1200" kern="0" dirty="0">
              <a:cs typeface="Arial" pitchFamily="34" charset="0"/>
            </a:endParaRPr>
          </a:p>
          <a:p>
            <a:pPr algn="l">
              <a:defRPr sz="1800" b="0" i="0" u="none" strike="noStrike" kern="0" cap="none" spc="0" baseline="0">
                <a:solidFill>
                  <a:srgbClr val="000000"/>
                </a:solidFill>
                <a:uFillTx/>
              </a:defRPr>
            </a:pPr>
            <a:r>
              <a:rPr lang="pl-PL" sz="1200" kern="0" dirty="0">
                <a:latin typeface="Calibri" panose="020F0502020204030204" pitchFamily="34" charset="0"/>
                <a:cs typeface="Arial" pitchFamily="34" charset="0"/>
              </a:rPr>
              <a:t>     Date: </a:t>
            </a:r>
            <a:r>
              <a:rPr lang="de-DE" sz="1200" kern="0" dirty="0">
                <a:latin typeface="Calibri" panose="020F0502020204030204" pitchFamily="34" charset="0"/>
                <a:cs typeface="Arial" pitchFamily="34" charset="0"/>
              </a:rPr>
              <a:t> </a:t>
            </a:r>
            <a:r>
              <a:rPr lang="nl-NL" sz="1200" kern="0" dirty="0" err="1">
                <a:latin typeface="Calibri" panose="020F0502020204030204" pitchFamily="34" charset="0"/>
                <a:cs typeface="Arial" pitchFamily="34" charset="0"/>
              </a:rPr>
              <a:t>January</a:t>
            </a:r>
            <a:r>
              <a:rPr lang="pl-PL" sz="1200" kern="0" dirty="0">
                <a:latin typeface="Calibri" panose="020F0502020204030204" pitchFamily="34" charset="0"/>
                <a:cs typeface="Arial" pitchFamily="34" charset="0"/>
              </a:rPr>
              <a:t> 202</a:t>
            </a:r>
            <a:r>
              <a:rPr lang="nl-NL" sz="1200" kern="0" dirty="0">
                <a:latin typeface="Calibri" panose="020F0502020204030204" pitchFamily="34" charset="0"/>
                <a:cs typeface="Arial" pitchFamily="34" charset="0"/>
              </a:rPr>
              <a:t>5</a:t>
            </a:r>
            <a:endParaRPr lang="pl-PL" sz="1200" kern="0" dirty="0">
              <a:latin typeface="Calibri" panose="020F0502020204030204" pitchFamily="34" charset="0"/>
              <a:cs typeface="Arial" pitchFamily="34" charset="0"/>
            </a:endParaRPr>
          </a:p>
          <a:p>
            <a:pPr algn="l">
              <a:defRPr sz="1800" b="0" i="0" u="none" strike="noStrike" kern="0" cap="none" spc="0" baseline="0">
                <a:solidFill>
                  <a:srgbClr val="000000"/>
                </a:solidFill>
                <a:uFillTx/>
              </a:defRPr>
            </a:pPr>
            <a:r>
              <a:rPr lang="pl-PL" sz="1200" kern="0" dirty="0">
                <a:latin typeface="Calibri" panose="020F0502020204030204" pitchFamily="34" charset="0"/>
                <a:cs typeface="Arial" pitchFamily="34" charset="0"/>
              </a:rPr>
              <a:t>     </a:t>
            </a:r>
            <a:r>
              <a:rPr lang="nl-NL" sz="1200" kern="0" dirty="0">
                <a:latin typeface="Calibri" panose="020F0502020204030204" pitchFamily="34" charset="0"/>
                <a:cs typeface="Arial" pitchFamily="34" charset="0"/>
              </a:rPr>
              <a:t>Version 1.01</a:t>
            </a:r>
            <a:endParaRPr lang="pl-PL" sz="2000" kern="0" dirty="0">
              <a:solidFill>
                <a:schemeClr val="bg1"/>
              </a:solidFill>
              <a:latin typeface="Calibri"/>
              <a:cs typeface="Arial" pitchFamily="34" charset="0"/>
            </a:endParaRPr>
          </a:p>
        </p:txBody>
      </p:sp>
      <p:sp>
        <p:nvSpPr>
          <p:cNvPr id="10" name="Prostokąt 9"/>
          <p:cNvSpPr/>
          <p:nvPr/>
        </p:nvSpPr>
        <p:spPr>
          <a:xfrm>
            <a:off x="8118971" y="692696"/>
            <a:ext cx="1782267" cy="68821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1" name="Prostokąt 10"/>
          <p:cNvSpPr/>
          <p:nvPr/>
        </p:nvSpPr>
        <p:spPr>
          <a:xfrm>
            <a:off x="1" y="5874503"/>
            <a:ext cx="4155274" cy="64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6" name="Obraz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5275" y="1372752"/>
            <a:ext cx="5739532" cy="4500000"/>
          </a:xfrm>
          <a:prstGeom prst="rect">
            <a:avLst/>
          </a:prstGeom>
        </p:spPr>
      </p:pic>
      <p:sp>
        <p:nvSpPr>
          <p:cNvPr id="2" name="Prostokąt 4">
            <a:extLst>
              <a:ext uri="{FF2B5EF4-FFF2-40B4-BE49-F238E27FC236}">
                <a16:creationId xmlns:a16="http://schemas.microsoft.com/office/drawing/2014/main" id="{548A5C70-7156-4A1E-A9F3-A06B4756A939}"/>
              </a:ext>
            </a:extLst>
          </p:cNvPr>
          <p:cNvSpPr/>
          <p:nvPr/>
        </p:nvSpPr>
        <p:spPr>
          <a:xfrm>
            <a:off x="3487" y="1372752"/>
            <a:ext cx="8115484" cy="1152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defRPr sz="1800" b="0" i="0" u="none" strike="noStrike" kern="0" cap="none" spc="0" baseline="0">
                <a:solidFill>
                  <a:srgbClr val="000000"/>
                </a:solidFill>
                <a:uFillTx/>
              </a:defRPr>
            </a:pPr>
            <a:r>
              <a:rPr lang="nl-NL" sz="2400" b="1" kern="0" dirty="0">
                <a:cs typeface="Arial" pitchFamily="34" charset="0"/>
              </a:rPr>
              <a:t>TCR Impact Sheets RFC 8 </a:t>
            </a:r>
            <a:r>
              <a:rPr lang="nl-NL" sz="2400" b="1" kern="0" dirty="0" err="1">
                <a:cs typeface="Arial" pitchFamily="34" charset="0"/>
              </a:rPr>
              <a:t>for</a:t>
            </a:r>
            <a:r>
              <a:rPr lang="nl-NL" sz="2400" b="1" kern="0" dirty="0">
                <a:cs typeface="Arial" pitchFamily="34" charset="0"/>
              </a:rPr>
              <a:t> timetable 2026 </a:t>
            </a:r>
            <a:r>
              <a:rPr lang="nl-NL" sz="2400" b="1" kern="0" dirty="0" err="1">
                <a:cs typeface="Arial" pitchFamily="34" charset="0"/>
              </a:rPr>
              <a:t>and</a:t>
            </a:r>
            <a:r>
              <a:rPr lang="nl-NL" sz="2400" b="1" kern="0" dirty="0">
                <a:cs typeface="Arial" pitchFamily="34" charset="0"/>
              </a:rPr>
              <a:t> 2027</a:t>
            </a:r>
            <a:endParaRPr lang="pl-PL" sz="2400" b="1" kern="0" dirty="0">
              <a:cs typeface="Arial" pitchFamily="34" charset="0"/>
            </a:endParaRPr>
          </a:p>
        </p:txBody>
      </p:sp>
    </p:spTree>
    <p:extLst>
      <p:ext uri="{BB962C8B-B14F-4D97-AF65-F5344CB8AC3E}">
        <p14:creationId xmlns:p14="http://schemas.microsoft.com/office/powerpoint/2010/main" val="421101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958538" y="1208958"/>
            <a:ext cx="5595231" cy="717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07763" dir="18900000" algn="ctr" rotWithShape="0">
                    <a:schemeClr val="bg2"/>
                  </a:outerShdw>
                </a:effectLst>
              </a14:hiddenEffects>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l" fontAlgn="base">
              <a:spcBef>
                <a:spcPct val="50000"/>
              </a:spcBef>
              <a:spcAft>
                <a:spcPct val="0"/>
              </a:spcAft>
              <a:buFontTx/>
              <a:buNone/>
            </a:pPr>
            <a:r>
              <a:rPr lang="en-GB" altLang="fr-FR" sz="1624" b="1" dirty="0">
                <a:solidFill>
                  <a:srgbClr val="000000"/>
                </a:solidFill>
                <a:cs typeface="Calibri" panose="020F0502020204030204" pitchFamily="34" charset="0"/>
              </a:rPr>
              <a:t>Impact of TCR TT 2026 at </a:t>
            </a:r>
            <a:r>
              <a:rPr lang="en-GB" altLang="fr-FR" sz="1624" b="1" dirty="0">
                <a:solidFill>
                  <a:prstClr val="black"/>
                </a:solidFill>
                <a:cs typeface="Calibri" panose="020F0502020204030204" pitchFamily="34" charset="0"/>
              </a:rPr>
              <a:t>Infrabel</a:t>
            </a:r>
          </a:p>
          <a:p>
            <a:pPr algn="l" fontAlgn="base">
              <a:spcBef>
                <a:spcPct val="50000"/>
              </a:spcBef>
              <a:spcAft>
                <a:spcPct val="0"/>
              </a:spcAft>
              <a:buFontTx/>
              <a:buNone/>
            </a:pPr>
            <a:r>
              <a:rPr lang="en-GB" altLang="fr-FR" sz="1624" b="1" dirty="0">
                <a:solidFill>
                  <a:srgbClr val="000000"/>
                </a:solidFill>
                <a:cs typeface="Calibri" panose="020F0502020204030204" pitchFamily="34" charset="0"/>
              </a:rPr>
              <a:t>Section Zeebrugge - </a:t>
            </a:r>
            <a:r>
              <a:rPr lang="en-GB" altLang="fr-FR" sz="1624" b="1" dirty="0" err="1">
                <a:solidFill>
                  <a:srgbClr val="000000"/>
                </a:solidFill>
                <a:cs typeface="Calibri" panose="020F0502020204030204" pitchFamily="34" charset="0"/>
              </a:rPr>
              <a:t>Montzen</a:t>
            </a:r>
            <a:endParaRPr lang="en-GB" altLang="fr-FR" sz="1624" b="1" dirty="0">
              <a:solidFill>
                <a:srgbClr val="000000"/>
              </a:solidFill>
              <a:cs typeface="Calibri" panose="020F0502020204030204" pitchFamily="34" charset="0"/>
            </a:endParaRPr>
          </a:p>
        </p:txBody>
      </p:sp>
      <p:graphicFrame>
        <p:nvGraphicFramePr>
          <p:cNvPr id="3" name="Inhaltsplatzhalter 8"/>
          <p:cNvGraphicFramePr>
            <a:graphicFrameLocks/>
          </p:cNvGraphicFramePr>
          <p:nvPr/>
        </p:nvGraphicFramePr>
        <p:xfrm>
          <a:off x="5062702" y="1905204"/>
          <a:ext cx="2972385" cy="1400097"/>
        </p:xfrm>
        <a:graphic>
          <a:graphicData uri="http://schemas.openxmlformats.org/drawingml/2006/table">
            <a:tbl>
              <a:tblPr firstRow="1" bandRow="1">
                <a:tableStyleId>{5C22544A-7EE6-4342-B048-85BDC9FD1C3A}</a:tableStyleId>
              </a:tblPr>
              <a:tblGrid>
                <a:gridCol w="2972385">
                  <a:extLst>
                    <a:ext uri="{9D8B030D-6E8A-4147-A177-3AD203B41FA5}">
                      <a16:colId xmlns:a16="http://schemas.microsoft.com/office/drawing/2014/main" val="20000"/>
                    </a:ext>
                  </a:extLst>
                </a:gridCol>
              </a:tblGrid>
              <a:tr h="334886">
                <a:tc>
                  <a:txBody>
                    <a:bodyPr/>
                    <a:lstStyle/>
                    <a:p>
                      <a:pPr algn="l"/>
                      <a:r>
                        <a:rPr lang="en-US" sz="1100" i="0" noProof="0" dirty="0">
                          <a:solidFill>
                            <a:schemeClr val="tx1"/>
                          </a:solidFill>
                          <a:latin typeface="+mn-lt"/>
                        </a:rPr>
                        <a:t>Major Capacity</a:t>
                      </a:r>
                      <a:r>
                        <a:rPr lang="en-US" sz="1100" i="0" baseline="0" noProof="0" dirty="0">
                          <a:solidFill>
                            <a:schemeClr val="tx1"/>
                          </a:solidFill>
                          <a:latin typeface="+mn-lt"/>
                        </a:rPr>
                        <a:t> Restriction</a:t>
                      </a:r>
                      <a:endParaRPr lang="en-US" sz="1100" i="0" noProof="0" dirty="0">
                        <a:solidFill>
                          <a:schemeClr val="tx1"/>
                        </a:solidFill>
                        <a:latin typeface="+mn-lt"/>
                      </a:endParaRPr>
                    </a:p>
                  </a:txBody>
                  <a:tcPr marL="74258" marR="74258" marT="37135" marB="3713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10000"/>
                  </a:ext>
                </a:extLst>
              </a:tr>
              <a:tr h="1065211">
                <a:tc>
                  <a:txBody>
                    <a:bodyPr/>
                    <a:lstStyle/>
                    <a:p>
                      <a:pPr marL="171450" lvl="0" indent="-171450">
                        <a:buFont typeface="Arial" panose="020B0604020202020204" pitchFamily="34" charset="0"/>
                        <a:buChar char="•"/>
                        <a:defRPr/>
                      </a:pPr>
                      <a:r>
                        <a:rPr lang="de-DE" sz="1000" dirty="0">
                          <a:solidFill>
                            <a:srgbClr val="000000"/>
                          </a:solidFill>
                        </a:rPr>
                        <a:t>Location: </a:t>
                      </a:r>
                      <a:r>
                        <a:rPr lang="de-DE" sz="1000" dirty="0" err="1">
                          <a:solidFill>
                            <a:srgbClr val="000000"/>
                          </a:solidFill>
                        </a:rPr>
                        <a:t>Londerzele</a:t>
                      </a:r>
                      <a:r>
                        <a:rPr lang="de-DE" sz="1000" dirty="0">
                          <a:solidFill>
                            <a:srgbClr val="000000"/>
                          </a:solidFill>
                        </a:rPr>
                        <a:t> - Mechelen</a:t>
                      </a:r>
                    </a:p>
                    <a:p>
                      <a:pPr marL="171450" lvl="0" indent="-171450">
                        <a:buFont typeface="Arial" panose="020B0604020202020204" pitchFamily="34" charset="0"/>
                        <a:buChar char="•"/>
                        <a:defRPr/>
                      </a:pPr>
                      <a:r>
                        <a:rPr lang="de-DE" sz="1000" dirty="0">
                          <a:solidFill>
                            <a:srgbClr val="000000"/>
                          </a:solidFill>
                        </a:rPr>
                        <a:t>Total </a:t>
                      </a:r>
                      <a:r>
                        <a:rPr lang="de-DE" sz="1000" dirty="0" err="1">
                          <a:solidFill>
                            <a:srgbClr val="000000"/>
                          </a:solidFill>
                        </a:rPr>
                        <a:t>Closure</a:t>
                      </a:r>
                      <a:endParaRPr lang="de-DE" sz="1000" dirty="0">
                        <a:solidFill>
                          <a:srgbClr val="000000"/>
                        </a:solidFill>
                      </a:endParaRPr>
                    </a:p>
                    <a:p>
                      <a:pPr marL="171450" lvl="0" indent="-171450">
                        <a:buFont typeface="Arial" panose="020B0604020202020204" pitchFamily="34" charset="0"/>
                        <a:buChar char="•"/>
                        <a:defRPr/>
                      </a:pPr>
                      <a:r>
                        <a:rPr lang="de-DE" sz="1000" dirty="0" err="1">
                          <a:solidFill>
                            <a:srgbClr val="000000"/>
                          </a:solidFill>
                        </a:rPr>
                        <a:t>Period</a:t>
                      </a:r>
                      <a:r>
                        <a:rPr lang="de-DE" sz="1000" dirty="0">
                          <a:solidFill>
                            <a:srgbClr val="000000"/>
                          </a:solidFill>
                        </a:rPr>
                        <a:t>: </a:t>
                      </a:r>
                      <a:r>
                        <a:rPr lang="de-DE" sz="1000" dirty="0"/>
                        <a:t>27.06.2026 (4:00) </a:t>
                      </a:r>
                      <a:r>
                        <a:rPr lang="de-DE" sz="1000" dirty="0">
                          <a:solidFill>
                            <a:srgbClr val="000000"/>
                          </a:solidFill>
                        </a:rPr>
                        <a:t> – </a:t>
                      </a:r>
                      <a:r>
                        <a:rPr lang="de-DE" sz="1000" dirty="0"/>
                        <a:t>06/07/2026 (04:00)</a:t>
                      </a:r>
                      <a:endParaRPr lang="de-DE" sz="1000" dirty="0">
                        <a:solidFill>
                          <a:srgbClr val="000000"/>
                        </a:solidFill>
                      </a:endParaRPr>
                    </a:p>
                    <a:p>
                      <a:pPr marL="171450" lvl="0" indent="-171450">
                        <a:buFont typeface="Arial" panose="020B0604020202020204" pitchFamily="34" charset="0"/>
                        <a:buChar char="•"/>
                        <a:defRPr/>
                      </a:pPr>
                      <a:r>
                        <a:rPr lang="de-DE" sz="1000" dirty="0">
                          <a:solidFill>
                            <a:srgbClr val="000000"/>
                          </a:solidFill>
                        </a:rPr>
                        <a:t>Underground, track ans Bridge </a:t>
                      </a:r>
                      <a:r>
                        <a:rPr lang="de-DE" sz="1000" dirty="0" err="1">
                          <a:solidFill>
                            <a:srgbClr val="000000"/>
                          </a:solidFill>
                        </a:rPr>
                        <a:t>Renewal</a:t>
                      </a:r>
                      <a:endParaRPr lang="de-DE" sz="1000" dirty="0">
                        <a:solidFill>
                          <a:srgbClr val="000000"/>
                        </a:solidFill>
                      </a:endParaRPr>
                    </a:p>
                  </a:txBody>
                  <a:tcPr marL="74258" marR="74258" marT="37135" marB="3713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5" name="Textfeld 18"/>
          <p:cNvSpPr txBox="1">
            <a:spLocks noChangeArrowheads="1"/>
          </p:cNvSpPr>
          <p:nvPr/>
        </p:nvSpPr>
        <p:spPr bwMode="auto">
          <a:xfrm>
            <a:off x="1208265" y="1905204"/>
            <a:ext cx="3513135" cy="267317"/>
          </a:xfrm>
          <a:prstGeom prst="rect">
            <a:avLst/>
          </a:prstGeom>
          <a:solidFill>
            <a:srgbClr val="FFCC00"/>
          </a:solidFill>
          <a:ln w="9525">
            <a:solidFill>
              <a:srgbClr val="0066FF"/>
            </a:solidFill>
            <a:miter lim="800000"/>
            <a:headEnd/>
            <a:tailEnd/>
          </a:ln>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de-DE" altLang="fr-FR" sz="1137" b="1">
                <a:solidFill>
                  <a:prstClr val="black"/>
                </a:solidFill>
                <a:cs typeface="Arial" pitchFamily="34" charset="0"/>
              </a:rPr>
              <a:t>Map view</a:t>
            </a:r>
          </a:p>
        </p:txBody>
      </p:sp>
      <p:sp>
        <p:nvSpPr>
          <p:cNvPr id="6" name="Rechteck 20"/>
          <p:cNvSpPr>
            <a:spLocks noChangeArrowheads="1"/>
          </p:cNvSpPr>
          <p:nvPr/>
        </p:nvSpPr>
        <p:spPr bwMode="auto">
          <a:xfrm>
            <a:off x="1208265" y="2141132"/>
            <a:ext cx="3513135" cy="2177498"/>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fontAlgn="base">
              <a:spcBef>
                <a:spcPct val="50000"/>
              </a:spcBef>
              <a:spcAft>
                <a:spcPct val="0"/>
              </a:spcAft>
              <a:buFontTx/>
              <a:buNone/>
            </a:pPr>
            <a:endParaRPr lang="de-DE" altLang="fr-FR" sz="975" b="1">
              <a:solidFill>
                <a:prstClr val="black"/>
              </a:solidFill>
              <a:latin typeface="DB Office" pitchFamily="34" charset="0"/>
              <a:cs typeface="Arial" pitchFamily="34" charset="0"/>
            </a:endParaRPr>
          </a:p>
        </p:txBody>
      </p:sp>
      <p:graphicFrame>
        <p:nvGraphicFramePr>
          <p:cNvPr id="9" name="Inhaltsplatzhalter 8">
            <a:extLst>
              <a:ext uri="{FF2B5EF4-FFF2-40B4-BE49-F238E27FC236}">
                <a16:creationId xmlns:a16="http://schemas.microsoft.com/office/drawing/2014/main" id="{5C5543BE-AD15-4112-A86E-9187FDBF0E25}"/>
              </a:ext>
            </a:extLst>
          </p:cNvPr>
          <p:cNvGraphicFramePr>
            <a:graphicFrameLocks/>
          </p:cNvGraphicFramePr>
          <p:nvPr/>
        </p:nvGraphicFramePr>
        <p:xfrm>
          <a:off x="1207431" y="4331485"/>
          <a:ext cx="3509274" cy="1612819"/>
        </p:xfrm>
        <a:graphic>
          <a:graphicData uri="http://schemas.openxmlformats.org/drawingml/2006/table">
            <a:tbl>
              <a:tblPr firstRow="1" bandRow="1">
                <a:tableStyleId>{5C22544A-7EE6-4342-B048-85BDC9FD1C3A}</a:tableStyleId>
              </a:tblPr>
              <a:tblGrid>
                <a:gridCol w="3509274">
                  <a:extLst>
                    <a:ext uri="{9D8B030D-6E8A-4147-A177-3AD203B41FA5}">
                      <a16:colId xmlns:a16="http://schemas.microsoft.com/office/drawing/2014/main" val="20000"/>
                    </a:ext>
                  </a:extLst>
                </a:gridCol>
              </a:tblGrid>
              <a:tr h="350782">
                <a:tc>
                  <a:txBody>
                    <a:bodyPr/>
                    <a:lstStyle/>
                    <a:p>
                      <a:pPr algn="l"/>
                      <a:r>
                        <a:rPr lang="en-US" sz="1100" noProof="0" dirty="0">
                          <a:solidFill>
                            <a:schemeClr val="tx1"/>
                          </a:solidFill>
                          <a:latin typeface="+mn-lt"/>
                        </a:rPr>
                        <a:t>Impact on</a:t>
                      </a:r>
                      <a:r>
                        <a:rPr lang="en-US" sz="1100" baseline="0" noProof="0" dirty="0">
                          <a:solidFill>
                            <a:schemeClr val="tx1"/>
                          </a:solidFill>
                          <a:latin typeface="+mn-lt"/>
                        </a:rPr>
                        <a:t> </a:t>
                      </a:r>
                      <a:r>
                        <a:rPr lang="en-US" sz="1100" noProof="0" dirty="0">
                          <a:solidFill>
                            <a:schemeClr val="tx1"/>
                          </a:solidFill>
                          <a:latin typeface="+mn-lt"/>
                        </a:rPr>
                        <a:t>International Rail Freight </a:t>
                      </a:r>
                    </a:p>
                  </a:txBody>
                  <a:tcPr marL="74250" marR="74250" marT="37120" marB="371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CC00"/>
                    </a:solidFill>
                  </a:tcPr>
                </a:tc>
                <a:extLst>
                  <a:ext uri="{0D108BD9-81ED-4DB2-BD59-A6C34878D82A}">
                    <a16:rowId xmlns:a16="http://schemas.microsoft.com/office/drawing/2014/main" val="10000"/>
                  </a:ext>
                </a:extLst>
              </a:tr>
              <a:tr h="1262037">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i="0" kern="1200" noProof="0" dirty="0">
                          <a:solidFill>
                            <a:schemeClr val="tx1"/>
                          </a:solidFill>
                          <a:latin typeface="+mn-lt"/>
                          <a:ea typeface="+mn-ea"/>
                          <a:cs typeface="+mn-cs"/>
                        </a:rPr>
                        <a:t>Deviations: via L59</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i="0" kern="1200" noProof="0" dirty="0">
                          <a:solidFill>
                            <a:schemeClr val="tx1"/>
                          </a:solidFill>
                          <a:latin typeface="+mn-lt"/>
                          <a:ea typeface="+mn-ea"/>
                          <a:cs typeface="+mn-cs"/>
                        </a:rPr>
                        <a:t>Estimated extra running time: </a:t>
                      </a:r>
                      <a:r>
                        <a:rPr lang="en-GB" sz="1100" i="0" kern="1200" noProof="0" dirty="0" err="1">
                          <a:solidFill>
                            <a:schemeClr val="tx1"/>
                          </a:solidFill>
                          <a:latin typeface="+mn-lt"/>
                          <a:ea typeface="+mn-ea"/>
                          <a:cs typeface="+mn-cs"/>
                        </a:rPr>
                        <a:t>tbd</a:t>
                      </a:r>
                      <a:endParaRPr lang="en-GB" sz="1100" i="0" kern="1200" noProof="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i="0" kern="1200" noProof="0" dirty="0">
                          <a:solidFill>
                            <a:schemeClr val="tx1"/>
                          </a:solidFill>
                          <a:latin typeface="+mn-lt"/>
                          <a:ea typeface="+mn-ea"/>
                          <a:cs typeface="+mn-cs"/>
                        </a:rPr>
                        <a:t>Restrictions for ad-hoc requests: n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i="0" kern="1200" noProof="0" dirty="0">
                          <a:solidFill>
                            <a:schemeClr val="tx1"/>
                          </a:solidFill>
                          <a:latin typeface="+mn-lt"/>
                          <a:ea typeface="+mn-ea"/>
                          <a:cs typeface="+mn-cs"/>
                        </a:rPr>
                        <a:t>Restrictions in train parameters: n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i="0" kern="1200" noProof="0" dirty="0">
                          <a:solidFill>
                            <a:schemeClr val="tx1"/>
                          </a:solidFill>
                          <a:latin typeface="+mn-lt"/>
                          <a:ea typeface="+mn-ea"/>
                          <a:cs typeface="+mn-cs"/>
                        </a:rPr>
                        <a:t>Restrictions in container profile: N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i="0" kern="1200" noProof="0" dirty="0">
                          <a:solidFill>
                            <a:schemeClr val="tx1"/>
                          </a:solidFill>
                          <a:latin typeface="+mn-lt"/>
                          <a:ea typeface="+mn-ea"/>
                          <a:cs typeface="+mn-cs"/>
                        </a:rPr>
                        <a:t>In annual timetable: No</a:t>
                      </a:r>
                    </a:p>
                  </a:txBody>
                  <a:tcPr marL="74250" marR="74250" marT="37120" marB="371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graphicFrame>
        <p:nvGraphicFramePr>
          <p:cNvPr id="7" name="Object 6">
            <a:extLst>
              <a:ext uri="{FF2B5EF4-FFF2-40B4-BE49-F238E27FC236}">
                <a16:creationId xmlns:a16="http://schemas.microsoft.com/office/drawing/2014/main" id="{D79701BB-DA31-5DBF-1254-82E762EB2F9D}"/>
              </a:ext>
            </a:extLst>
          </p:cNvPr>
          <p:cNvGraphicFramePr>
            <a:graphicFrameLocks noChangeAspect="1"/>
          </p:cNvGraphicFramePr>
          <p:nvPr>
            <p:extLst>
              <p:ext uri="{D42A27DB-BD31-4B8C-83A1-F6EECF244321}">
                <p14:modId xmlns:p14="http://schemas.microsoft.com/office/powerpoint/2010/main" val="2869129989"/>
              </p:ext>
            </p:extLst>
          </p:nvPr>
        </p:nvGraphicFramePr>
        <p:xfrm>
          <a:off x="4910138" y="3292475"/>
          <a:ext cx="3522662" cy="2651125"/>
        </p:xfrm>
        <a:graphic>
          <a:graphicData uri="http://schemas.openxmlformats.org/presentationml/2006/ole">
            <mc:AlternateContent xmlns:mc="http://schemas.openxmlformats.org/markup-compatibility/2006">
              <mc:Choice xmlns:v="urn:schemas-microsoft-com:vml" Requires="v">
                <p:oleObj name="Worksheet" r:id="rId2" imgW="10572750" imgH="8667750" progId="Excel.Sheet.12">
                  <p:embed/>
                </p:oleObj>
              </mc:Choice>
              <mc:Fallback>
                <p:oleObj name="Worksheet" r:id="rId2" imgW="10572750" imgH="8667750" progId="Excel.Sheet.12">
                  <p:embed/>
                  <p:pic>
                    <p:nvPicPr>
                      <p:cNvPr id="7" name="Object 6">
                        <a:extLst>
                          <a:ext uri="{FF2B5EF4-FFF2-40B4-BE49-F238E27FC236}">
                            <a16:creationId xmlns:a16="http://schemas.microsoft.com/office/drawing/2014/main" id="{D79701BB-DA31-5DBF-1254-82E762EB2F9D}"/>
                          </a:ext>
                        </a:extLst>
                      </p:cNvPr>
                      <p:cNvPicPr/>
                      <p:nvPr/>
                    </p:nvPicPr>
                    <p:blipFill>
                      <a:blip r:embed="rId3"/>
                      <a:stretch>
                        <a:fillRect/>
                      </a:stretch>
                    </p:blipFill>
                    <p:spPr>
                      <a:xfrm>
                        <a:off x="4910138" y="3292475"/>
                        <a:ext cx="3522662" cy="2651125"/>
                      </a:xfrm>
                      <a:prstGeom prst="rect">
                        <a:avLst/>
                      </a:prstGeom>
                    </p:spPr>
                  </p:pic>
                </p:oleObj>
              </mc:Fallback>
            </mc:AlternateContent>
          </a:graphicData>
        </a:graphic>
      </p:graphicFrame>
      <p:pic>
        <p:nvPicPr>
          <p:cNvPr id="11" name="Afbeelding 10">
            <a:extLst>
              <a:ext uri="{FF2B5EF4-FFF2-40B4-BE49-F238E27FC236}">
                <a16:creationId xmlns:a16="http://schemas.microsoft.com/office/drawing/2014/main" id="{292F0AA3-6EE0-99E4-588B-EEF6FC666848}"/>
              </a:ext>
            </a:extLst>
          </p:cNvPr>
          <p:cNvPicPr>
            <a:picLocks noChangeAspect="1"/>
          </p:cNvPicPr>
          <p:nvPr/>
        </p:nvPicPr>
        <p:blipFill>
          <a:blip r:embed="rId4"/>
          <a:stretch>
            <a:fillRect/>
          </a:stretch>
        </p:blipFill>
        <p:spPr>
          <a:xfrm>
            <a:off x="1268911" y="2270979"/>
            <a:ext cx="3368754" cy="1975093"/>
          </a:xfrm>
          <a:prstGeom prst="rect">
            <a:avLst/>
          </a:prstGeom>
        </p:spPr>
      </p:pic>
    </p:spTree>
    <p:extLst>
      <p:ext uri="{BB962C8B-B14F-4D97-AF65-F5344CB8AC3E}">
        <p14:creationId xmlns:p14="http://schemas.microsoft.com/office/powerpoint/2010/main" val="22204933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410873" y="904395"/>
            <a:ext cx="6362828" cy="8029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07763" dir="18900000" algn="ctr" rotWithShape="0">
                    <a:schemeClr val="bg2"/>
                  </a:outerShdw>
                </a:effectLst>
              </a14:hiddenEffects>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l">
              <a:spcBef>
                <a:spcPct val="50000"/>
              </a:spcBef>
              <a:buNone/>
            </a:pPr>
            <a:r>
              <a:rPr lang="en-GB" altLang="fr-FR" sz="1847" b="1" dirty="0">
                <a:solidFill>
                  <a:srgbClr val="000000"/>
                </a:solidFill>
                <a:cs typeface="Calibri" panose="020F0502020204030204" pitchFamily="34" charset="0"/>
              </a:rPr>
              <a:t>Impact of TCR TT 2026 at </a:t>
            </a:r>
            <a:r>
              <a:rPr lang="nl-NL" altLang="fr-FR" sz="1847" b="1" dirty="0">
                <a:solidFill>
                  <a:srgbClr val="000000"/>
                </a:solidFill>
                <a:cs typeface="Calibri" panose="020F0502020204030204" pitchFamily="34" charset="0"/>
              </a:rPr>
              <a:t>ProRail</a:t>
            </a:r>
            <a:endParaRPr lang="en-GB" altLang="fr-FR" sz="1847" b="1" dirty="0">
              <a:solidFill>
                <a:prstClr val="black"/>
              </a:solidFill>
              <a:cs typeface="Calibri" panose="020F0502020204030204" pitchFamily="34" charset="0"/>
            </a:endParaRPr>
          </a:p>
          <a:p>
            <a:pPr algn="l">
              <a:spcBef>
                <a:spcPct val="50000"/>
              </a:spcBef>
              <a:buNone/>
            </a:pPr>
            <a:r>
              <a:rPr lang="en-GB" altLang="fr-FR" sz="1847" b="1" dirty="0">
                <a:solidFill>
                  <a:srgbClr val="000000"/>
                </a:solidFill>
                <a:cs typeface="Calibri" panose="020F0502020204030204" pitchFamily="34" charset="0"/>
              </a:rPr>
              <a:t>Section </a:t>
            </a:r>
            <a:r>
              <a:rPr lang="en-GB" altLang="fr-FR" sz="1847" b="1" dirty="0" err="1">
                <a:solidFill>
                  <a:srgbClr val="000000"/>
                </a:solidFill>
                <a:cs typeface="Calibri" panose="020F0502020204030204" pitchFamily="34" charset="0"/>
              </a:rPr>
              <a:t>Kijfhoek</a:t>
            </a:r>
            <a:r>
              <a:rPr lang="en-GB" altLang="fr-FR" sz="1847" b="1" dirty="0">
                <a:solidFill>
                  <a:srgbClr val="000000"/>
                </a:solidFill>
                <a:cs typeface="Calibri" panose="020F0502020204030204" pitchFamily="34" charset="0"/>
              </a:rPr>
              <a:t> – </a:t>
            </a:r>
            <a:r>
              <a:rPr lang="en-GB" altLang="fr-FR" sz="1847" b="1" dirty="0" err="1">
                <a:solidFill>
                  <a:srgbClr val="000000"/>
                </a:solidFill>
                <a:cs typeface="Calibri" panose="020F0502020204030204" pitchFamily="34" charset="0"/>
              </a:rPr>
              <a:t>Meteren</a:t>
            </a:r>
            <a:r>
              <a:rPr lang="en-GB" altLang="fr-FR" sz="1847" b="1" dirty="0">
                <a:solidFill>
                  <a:srgbClr val="000000"/>
                </a:solidFill>
                <a:cs typeface="Calibri" panose="020F0502020204030204" pitchFamily="34" charset="0"/>
              </a:rPr>
              <a:t> – </a:t>
            </a:r>
            <a:r>
              <a:rPr lang="en-GB" altLang="fr-FR" sz="1847" b="1" dirty="0" err="1">
                <a:solidFill>
                  <a:srgbClr val="000000"/>
                </a:solidFill>
                <a:cs typeface="Calibri" panose="020F0502020204030204" pitchFamily="34" charset="0"/>
              </a:rPr>
              <a:t>Zevenaar</a:t>
            </a:r>
            <a:r>
              <a:rPr lang="en-GB" altLang="fr-FR" sz="1847" b="1" dirty="0">
                <a:solidFill>
                  <a:srgbClr val="000000"/>
                </a:solidFill>
                <a:cs typeface="Calibri" panose="020F0502020204030204" pitchFamily="34" charset="0"/>
              </a:rPr>
              <a:t> (A15 </a:t>
            </a:r>
            <a:r>
              <a:rPr lang="en-GB" altLang="fr-FR" sz="1847" b="1" dirty="0" err="1">
                <a:solidFill>
                  <a:srgbClr val="000000"/>
                </a:solidFill>
                <a:cs typeface="Calibri" panose="020F0502020204030204" pitchFamily="34" charset="0"/>
              </a:rPr>
              <a:t>Tracé</a:t>
            </a:r>
            <a:r>
              <a:rPr lang="en-GB" altLang="fr-FR" sz="1847" b="1" dirty="0">
                <a:solidFill>
                  <a:srgbClr val="000000"/>
                </a:solidFill>
                <a:cs typeface="Calibri" panose="020F0502020204030204" pitchFamily="34" charset="0"/>
              </a:rPr>
              <a:t>)</a:t>
            </a:r>
          </a:p>
        </p:txBody>
      </p:sp>
      <p:graphicFrame>
        <p:nvGraphicFramePr>
          <p:cNvPr id="3" name="Inhaltsplatzhalter 8"/>
          <p:cNvGraphicFramePr>
            <a:graphicFrameLocks/>
          </p:cNvGraphicFramePr>
          <p:nvPr>
            <p:extLst>
              <p:ext uri="{D42A27DB-BD31-4B8C-83A1-F6EECF244321}">
                <p14:modId xmlns:p14="http://schemas.microsoft.com/office/powerpoint/2010/main" val="2244488366"/>
              </p:ext>
            </p:extLst>
          </p:nvPr>
        </p:nvGraphicFramePr>
        <p:xfrm>
          <a:off x="5078078" y="1696158"/>
          <a:ext cx="3380160" cy="2803519"/>
        </p:xfrm>
        <a:graphic>
          <a:graphicData uri="http://schemas.openxmlformats.org/drawingml/2006/table">
            <a:tbl>
              <a:tblPr firstRow="1" bandRow="1">
                <a:tableStyleId>{5C22544A-7EE6-4342-B048-85BDC9FD1C3A}</a:tableStyleId>
              </a:tblPr>
              <a:tblGrid>
                <a:gridCol w="3380160">
                  <a:extLst>
                    <a:ext uri="{9D8B030D-6E8A-4147-A177-3AD203B41FA5}">
                      <a16:colId xmlns:a16="http://schemas.microsoft.com/office/drawing/2014/main" val="20000"/>
                    </a:ext>
                  </a:extLst>
                </a:gridCol>
              </a:tblGrid>
              <a:tr h="380829">
                <a:tc>
                  <a:txBody>
                    <a:bodyPr/>
                    <a:lstStyle/>
                    <a:p>
                      <a:pPr algn="l"/>
                      <a:r>
                        <a:rPr lang="en-US" sz="1300" i="0" noProof="0" dirty="0">
                          <a:solidFill>
                            <a:schemeClr val="tx1"/>
                          </a:solidFill>
                          <a:latin typeface="+mn-lt"/>
                        </a:rPr>
                        <a:t>Major Capacity</a:t>
                      </a:r>
                      <a:r>
                        <a:rPr lang="en-US" sz="1300" i="0" baseline="0" noProof="0" dirty="0">
                          <a:solidFill>
                            <a:schemeClr val="tx1"/>
                          </a:solidFill>
                          <a:latin typeface="+mn-lt"/>
                        </a:rPr>
                        <a:t> Restriction</a:t>
                      </a:r>
                      <a:endParaRPr lang="en-US" sz="1300" i="0" noProof="0" dirty="0">
                        <a:solidFill>
                          <a:schemeClr val="tx1"/>
                        </a:solidFill>
                        <a:latin typeface="+mn-lt"/>
                      </a:endParaRPr>
                    </a:p>
                  </a:txBody>
                  <a:tcPr marL="84445" marR="84445" marT="42230" marB="422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10000"/>
                  </a:ext>
                </a:extLst>
              </a:tr>
              <a:tr h="1211345">
                <a:tc>
                  <a:txBody>
                    <a:bodyPr/>
                    <a:lstStyle/>
                    <a:p>
                      <a:pPr marL="171450" indent="-171450">
                        <a:buFont typeface="Arial" panose="020B0604020202020204" pitchFamily="34" charset="0"/>
                        <a:buChar char="•"/>
                      </a:pPr>
                      <a:r>
                        <a:rPr lang="en-US" sz="1100" i="0" noProof="0" dirty="0">
                          <a:solidFill>
                            <a:schemeClr val="tx1"/>
                          </a:solidFill>
                          <a:latin typeface="+mn-lt"/>
                        </a:rPr>
                        <a:t>Location</a:t>
                      </a:r>
                      <a:r>
                        <a:rPr lang="cs-CZ" sz="1100" i="0" noProof="0" dirty="0">
                          <a:solidFill>
                            <a:schemeClr val="tx1"/>
                          </a:solidFill>
                          <a:latin typeface="+mn-lt"/>
                        </a:rPr>
                        <a:t> </a:t>
                      </a:r>
                      <a:r>
                        <a:rPr lang="nl-NL" sz="1100" i="0" noProof="0" dirty="0">
                          <a:solidFill>
                            <a:schemeClr val="tx1"/>
                          </a:solidFill>
                          <a:latin typeface="+mn-lt"/>
                        </a:rPr>
                        <a:t>Kijfhoek – Meteren – Zevenaar (A15 </a:t>
                      </a:r>
                      <a:r>
                        <a:rPr lang="nl-NL" sz="1100" i="0" noProof="0" dirty="0" err="1">
                          <a:solidFill>
                            <a:schemeClr val="tx1"/>
                          </a:solidFill>
                          <a:latin typeface="+mn-lt"/>
                        </a:rPr>
                        <a:t>trace</a:t>
                      </a:r>
                      <a:r>
                        <a:rPr lang="nl-NL" sz="1100" i="0" noProof="0" dirty="0">
                          <a:solidFill>
                            <a:schemeClr val="tx1"/>
                          </a:solidFill>
                          <a:latin typeface="+mn-lt"/>
                        </a:rPr>
                        <a:t>)</a:t>
                      </a:r>
                      <a:endParaRPr lang="en-US" sz="1100" i="0" noProof="0" dirty="0">
                        <a:solidFill>
                          <a:schemeClr val="tx1"/>
                        </a:solidFill>
                        <a:latin typeface="+mn-lt"/>
                      </a:endParaRPr>
                    </a:p>
                    <a:p>
                      <a:pPr marL="171450" indent="-171450">
                        <a:buFont typeface="Arial" panose="020B0604020202020204" pitchFamily="34" charset="0"/>
                        <a:buChar char="•"/>
                      </a:pPr>
                      <a:r>
                        <a:rPr lang="en-US" sz="1100" i="0" noProof="0" dirty="0">
                          <a:solidFill>
                            <a:schemeClr val="tx1"/>
                          </a:solidFill>
                          <a:latin typeface="+mn-lt"/>
                        </a:rPr>
                        <a:t>Type: Total Closure (combination 80-weeks)</a:t>
                      </a:r>
                    </a:p>
                    <a:p>
                      <a:pPr marL="171450" indent="-171450">
                        <a:buFont typeface="Arial" panose="020B0604020202020204" pitchFamily="34" charset="0"/>
                        <a:buChar char="•"/>
                      </a:pPr>
                      <a:r>
                        <a:rPr lang="en-US" sz="1100" i="0" noProof="0" dirty="0">
                          <a:solidFill>
                            <a:schemeClr val="tx1"/>
                          </a:solidFill>
                          <a:latin typeface="+mn-lt"/>
                        </a:rPr>
                        <a:t>Periods:</a:t>
                      </a:r>
                      <a:r>
                        <a:rPr lang="cs-CZ" sz="1100" i="0" noProof="0" dirty="0">
                          <a:solidFill>
                            <a:schemeClr val="tx1"/>
                          </a:solidFill>
                          <a:latin typeface="+mn-lt"/>
                        </a:rPr>
                        <a:t>  </a:t>
                      </a:r>
                      <a:r>
                        <a:rPr lang="nl-NL" sz="1100" i="0" noProof="0" dirty="0">
                          <a:solidFill>
                            <a:schemeClr val="tx1"/>
                          </a:solidFill>
                          <a:latin typeface="+mn-lt"/>
                        </a:rPr>
                        <a:t>27.04.</a:t>
                      </a:r>
                      <a:r>
                        <a:rPr lang="cs-CZ" sz="1100" i="0" noProof="0" dirty="0">
                          <a:solidFill>
                            <a:schemeClr val="tx1"/>
                          </a:solidFill>
                          <a:latin typeface="+mn-lt"/>
                        </a:rPr>
                        <a:t> -</a:t>
                      </a:r>
                      <a:r>
                        <a:rPr lang="nl-NL" sz="1100" i="0" noProof="0" dirty="0">
                          <a:solidFill>
                            <a:schemeClr val="tx1"/>
                          </a:solidFill>
                          <a:latin typeface="+mn-lt"/>
                        </a:rPr>
                        <a:t>17</a:t>
                      </a:r>
                      <a:r>
                        <a:rPr lang="cs-CZ" sz="1100" i="0" noProof="0" dirty="0">
                          <a:solidFill>
                            <a:schemeClr val="tx1"/>
                          </a:solidFill>
                          <a:latin typeface="+mn-lt"/>
                        </a:rPr>
                        <a:t>.</a:t>
                      </a:r>
                      <a:r>
                        <a:rPr lang="nl-NL" sz="1100" i="0" noProof="0" dirty="0">
                          <a:solidFill>
                            <a:schemeClr val="tx1"/>
                          </a:solidFill>
                          <a:latin typeface="+mn-lt"/>
                        </a:rPr>
                        <a:t>05</a:t>
                      </a:r>
                      <a:r>
                        <a:rPr lang="cs-CZ" sz="1100" i="0" noProof="0" dirty="0">
                          <a:solidFill>
                            <a:schemeClr val="tx1"/>
                          </a:solidFill>
                          <a:latin typeface="+mn-lt"/>
                        </a:rPr>
                        <a:t>.202</a:t>
                      </a:r>
                      <a:r>
                        <a:rPr lang="nl-NL" sz="1100" i="0" noProof="0" dirty="0">
                          <a:solidFill>
                            <a:schemeClr val="tx1"/>
                          </a:solidFill>
                          <a:latin typeface="+mn-lt"/>
                        </a:rPr>
                        <a:t>6  </a:t>
                      </a:r>
                    </a:p>
                    <a:p>
                      <a:pPr marL="0" indent="0">
                        <a:buFont typeface="Arial" panose="020B0604020202020204" pitchFamily="34" charset="0"/>
                        <a:buNone/>
                      </a:pPr>
                      <a:r>
                        <a:rPr lang="nl-NL" sz="1100" i="0" noProof="0" dirty="0">
                          <a:solidFill>
                            <a:schemeClr val="tx1"/>
                          </a:solidFill>
                          <a:latin typeface="+mn-lt"/>
                        </a:rPr>
                        <a:t>     </a:t>
                      </a:r>
                      <a:r>
                        <a:rPr lang="en-US" sz="1100" i="0" noProof="0" dirty="0">
                          <a:solidFill>
                            <a:schemeClr val="tx1"/>
                          </a:solidFill>
                          <a:latin typeface="+mn-lt"/>
                        </a:rPr>
                        <a:t>                 </a:t>
                      </a:r>
                    </a:p>
                    <a:p>
                      <a:pPr marL="171450" indent="-171450">
                        <a:buFont typeface="Arial" panose="020B0604020202020204" pitchFamily="34" charset="0"/>
                        <a:buChar char="•"/>
                      </a:pPr>
                      <a:r>
                        <a:rPr lang="en-US" sz="1100" i="0" noProof="0" dirty="0">
                          <a:solidFill>
                            <a:schemeClr val="tx1"/>
                          </a:solidFill>
                          <a:latin typeface="+mn-lt"/>
                        </a:rPr>
                        <a:t>Type of works:</a:t>
                      </a:r>
                      <a:r>
                        <a:rPr lang="cs-CZ" sz="1100" i="0" noProof="0" dirty="0">
                          <a:solidFill>
                            <a:schemeClr val="tx1"/>
                          </a:solidFill>
                          <a:latin typeface="+mn-lt"/>
                        </a:rPr>
                        <a:t> </a:t>
                      </a:r>
                      <a:r>
                        <a:rPr lang="nl-NL" sz="1100" i="0" noProof="0" dirty="0" err="1">
                          <a:solidFill>
                            <a:schemeClr val="tx1"/>
                          </a:solidFill>
                          <a:latin typeface="+mn-lt"/>
                        </a:rPr>
                        <a:t>Renewal</a:t>
                      </a:r>
                      <a:r>
                        <a:rPr lang="nl-NL" sz="1100" i="0" noProof="0" dirty="0">
                          <a:solidFill>
                            <a:schemeClr val="tx1"/>
                          </a:solidFill>
                          <a:latin typeface="+mn-lt"/>
                        </a:rPr>
                        <a:t> tunnel </a:t>
                      </a:r>
                      <a:r>
                        <a:rPr lang="nl-NL" sz="1100" i="0" noProof="0" dirty="0" err="1">
                          <a:solidFill>
                            <a:schemeClr val="tx1"/>
                          </a:solidFill>
                          <a:latin typeface="+mn-lt"/>
                        </a:rPr>
                        <a:t>safety</a:t>
                      </a:r>
                      <a:r>
                        <a:rPr lang="nl-NL" sz="1100" i="0" noProof="0" dirty="0">
                          <a:solidFill>
                            <a:schemeClr val="tx1"/>
                          </a:solidFill>
                          <a:latin typeface="+mn-lt"/>
                        </a:rPr>
                        <a:t> systems </a:t>
                      </a:r>
                      <a:endParaRPr lang="en-US" sz="900" i="0" noProof="0" dirty="0">
                        <a:solidFill>
                          <a:schemeClr val="tx1"/>
                        </a:solidFill>
                        <a:highlight>
                          <a:srgbClr val="FFFF00"/>
                        </a:highlight>
                        <a:latin typeface="+mn-lt"/>
                      </a:endParaRPr>
                    </a:p>
                  </a:txBody>
                  <a:tcPr marL="84445" marR="84445" marT="42230" marB="422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1211345">
                <a:tc>
                  <a:txBody>
                    <a:bodyPr/>
                    <a:lstStyle/>
                    <a:p>
                      <a:pPr marL="171450" indent="-171450">
                        <a:buFont typeface="Arial" panose="020B0604020202020204" pitchFamily="34" charset="0"/>
                        <a:buChar char="•"/>
                      </a:pPr>
                      <a:endParaRPr lang="en-US" sz="900" i="0" noProof="0" dirty="0">
                        <a:solidFill>
                          <a:schemeClr val="tx1"/>
                        </a:solidFill>
                        <a:highlight>
                          <a:srgbClr val="FFFF00"/>
                        </a:highlight>
                        <a:latin typeface="+mn-lt"/>
                      </a:endParaRPr>
                    </a:p>
                  </a:txBody>
                  <a:tcPr marL="84445" marR="84445" marT="42230" marB="422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51372690"/>
                  </a:ext>
                </a:extLst>
              </a:tr>
            </a:tbl>
          </a:graphicData>
        </a:graphic>
      </p:graphicFrame>
      <p:sp>
        <p:nvSpPr>
          <p:cNvPr id="5" name="Textfeld 18"/>
          <p:cNvSpPr txBox="1">
            <a:spLocks noChangeArrowheads="1"/>
          </p:cNvSpPr>
          <p:nvPr/>
        </p:nvSpPr>
        <p:spPr bwMode="auto">
          <a:xfrm>
            <a:off x="694859" y="1696156"/>
            <a:ext cx="3995094" cy="291298"/>
          </a:xfrm>
          <a:prstGeom prst="rect">
            <a:avLst/>
          </a:prstGeom>
          <a:solidFill>
            <a:srgbClr val="FFCC00"/>
          </a:solidFill>
          <a:ln w="9525">
            <a:solidFill>
              <a:srgbClr val="0066FF"/>
            </a:solidFill>
            <a:miter lim="800000"/>
            <a:headEnd/>
            <a:tailEnd/>
          </a:ln>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de-DE" altLang="fr-FR" sz="1293" b="1">
                <a:solidFill>
                  <a:prstClr val="black"/>
                </a:solidFill>
                <a:cs typeface="Arial" pitchFamily="34" charset="0"/>
              </a:rPr>
              <a:t>Map view</a:t>
            </a:r>
          </a:p>
        </p:txBody>
      </p:sp>
      <p:sp>
        <p:nvSpPr>
          <p:cNvPr id="6" name="Rechteck 20"/>
          <p:cNvSpPr>
            <a:spLocks noChangeArrowheads="1"/>
          </p:cNvSpPr>
          <p:nvPr/>
        </p:nvSpPr>
        <p:spPr bwMode="auto">
          <a:xfrm>
            <a:off x="694859" y="1964452"/>
            <a:ext cx="3995094" cy="2476225"/>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fontAlgn="base">
              <a:spcBef>
                <a:spcPct val="50000"/>
              </a:spcBef>
              <a:spcAft>
                <a:spcPct val="0"/>
              </a:spcAft>
              <a:buFontTx/>
              <a:buNone/>
            </a:pPr>
            <a:endParaRPr lang="de-DE" altLang="fr-FR" sz="1108" b="1">
              <a:solidFill>
                <a:prstClr val="black"/>
              </a:solidFill>
              <a:latin typeface="DB Office" pitchFamily="34" charset="0"/>
              <a:cs typeface="Arial" pitchFamily="34" charset="0"/>
            </a:endParaRPr>
          </a:p>
        </p:txBody>
      </p:sp>
      <p:graphicFrame>
        <p:nvGraphicFramePr>
          <p:cNvPr id="9" name="Inhaltsplatzhalter 8">
            <a:extLst>
              <a:ext uri="{FF2B5EF4-FFF2-40B4-BE49-F238E27FC236}">
                <a16:creationId xmlns:a16="http://schemas.microsoft.com/office/drawing/2014/main" id="{5C5543BE-AD15-4112-A86E-9187FDBF0E25}"/>
              </a:ext>
            </a:extLst>
          </p:cNvPr>
          <p:cNvGraphicFramePr>
            <a:graphicFrameLocks/>
          </p:cNvGraphicFramePr>
          <p:nvPr/>
        </p:nvGraphicFramePr>
        <p:xfrm>
          <a:off x="693912" y="4455296"/>
          <a:ext cx="3990704" cy="1834079"/>
        </p:xfrm>
        <a:graphic>
          <a:graphicData uri="http://schemas.openxmlformats.org/drawingml/2006/table">
            <a:tbl>
              <a:tblPr firstRow="1" bandRow="1">
                <a:tableStyleId>{5C22544A-7EE6-4342-B048-85BDC9FD1C3A}</a:tableStyleId>
              </a:tblPr>
              <a:tblGrid>
                <a:gridCol w="3990704">
                  <a:extLst>
                    <a:ext uri="{9D8B030D-6E8A-4147-A177-3AD203B41FA5}">
                      <a16:colId xmlns:a16="http://schemas.microsoft.com/office/drawing/2014/main" val="20000"/>
                    </a:ext>
                  </a:extLst>
                </a:gridCol>
              </a:tblGrid>
              <a:tr h="398905">
                <a:tc>
                  <a:txBody>
                    <a:bodyPr/>
                    <a:lstStyle/>
                    <a:p>
                      <a:pPr algn="l"/>
                      <a:r>
                        <a:rPr lang="en-US" sz="1300" noProof="0" dirty="0">
                          <a:solidFill>
                            <a:schemeClr val="tx1"/>
                          </a:solidFill>
                          <a:latin typeface="+mn-lt"/>
                        </a:rPr>
                        <a:t>Impact on</a:t>
                      </a:r>
                      <a:r>
                        <a:rPr lang="en-US" sz="1300" baseline="0" noProof="0" dirty="0">
                          <a:solidFill>
                            <a:schemeClr val="tx1"/>
                          </a:solidFill>
                          <a:latin typeface="+mn-lt"/>
                        </a:rPr>
                        <a:t> </a:t>
                      </a:r>
                      <a:r>
                        <a:rPr lang="en-US" sz="1300" noProof="0" dirty="0">
                          <a:solidFill>
                            <a:schemeClr val="tx1"/>
                          </a:solidFill>
                          <a:latin typeface="+mn-lt"/>
                        </a:rPr>
                        <a:t>International Rail Freight </a:t>
                      </a:r>
                    </a:p>
                  </a:txBody>
                  <a:tcPr marL="84437" marR="84437" marT="42212" marB="422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CC00"/>
                    </a:solidFill>
                  </a:tcPr>
                </a:tc>
                <a:extLst>
                  <a:ext uri="{0D108BD9-81ED-4DB2-BD59-A6C34878D82A}">
                    <a16:rowId xmlns:a16="http://schemas.microsoft.com/office/drawing/2014/main" val="10000"/>
                  </a:ext>
                </a:extLst>
              </a:tr>
              <a:tr h="1435174">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dirty="0">
                          <a:solidFill>
                            <a:schemeClr val="tx1"/>
                          </a:solidFill>
                          <a:latin typeface="+mn-lt"/>
                          <a:ea typeface="+mn-ea"/>
                          <a:cs typeface="+mn-cs"/>
                        </a:rPr>
                        <a:t>Cancellations: </a:t>
                      </a:r>
                      <a:r>
                        <a:rPr lang="cs-CZ" sz="1200" i="0" kern="1200" noProof="0" dirty="0">
                          <a:solidFill>
                            <a:schemeClr val="tx1"/>
                          </a:solidFill>
                          <a:latin typeface="+mn-lt"/>
                          <a:ea typeface="+mn-ea"/>
                          <a:cs typeface="+mn-cs"/>
                        </a:rPr>
                        <a:t>No</a:t>
                      </a:r>
                      <a:endParaRPr lang="en-US" sz="1200" i="0" kern="1200" noProof="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dirty="0">
                          <a:solidFill>
                            <a:schemeClr val="tx1"/>
                          </a:solidFill>
                          <a:latin typeface="+mn-lt"/>
                          <a:ea typeface="+mn-ea"/>
                          <a:cs typeface="+mn-cs"/>
                        </a:rPr>
                        <a:t>Deviations: </a:t>
                      </a:r>
                      <a:r>
                        <a:rPr lang="nl-NL" sz="1200" i="0" kern="1200" noProof="0" dirty="0">
                          <a:solidFill>
                            <a:schemeClr val="tx1"/>
                          </a:solidFill>
                          <a:latin typeface="+mn-lt"/>
                          <a:ea typeface="+mn-ea"/>
                          <a:cs typeface="+mn-cs"/>
                        </a:rPr>
                        <a:t>Yes</a:t>
                      </a:r>
                      <a:endParaRPr lang="en-US" sz="1200" i="0" kern="1200" noProof="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dirty="0">
                          <a:solidFill>
                            <a:schemeClr val="tx1"/>
                          </a:solidFill>
                          <a:latin typeface="+mn-lt"/>
                          <a:ea typeface="+mn-ea"/>
                          <a:cs typeface="+mn-cs"/>
                        </a:rPr>
                        <a:t>Estimated extra running time:</a:t>
                      </a:r>
                      <a:r>
                        <a:rPr lang="cs-CZ" sz="1200" i="0" kern="1200" noProof="0" dirty="0">
                          <a:solidFill>
                            <a:schemeClr val="tx1"/>
                          </a:solidFill>
                          <a:latin typeface="+mn-lt"/>
                          <a:ea typeface="+mn-ea"/>
                          <a:cs typeface="+mn-cs"/>
                        </a:rPr>
                        <a:t> </a:t>
                      </a:r>
                      <a:r>
                        <a:rPr lang="en-US" sz="1200" i="0" kern="1200" noProof="0" dirty="0">
                          <a:solidFill>
                            <a:schemeClr val="tx1"/>
                          </a:solidFill>
                          <a:latin typeface="+mn-lt"/>
                          <a:ea typeface="+mn-ea"/>
                          <a:cs typeface="+mn-cs"/>
                        </a:rPr>
                        <a:t>delay of freight trains approx. 30 - 60 minu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dirty="0">
                          <a:solidFill>
                            <a:schemeClr val="tx1"/>
                          </a:solidFill>
                          <a:latin typeface="+mn-lt"/>
                          <a:ea typeface="+mn-ea"/>
                          <a:cs typeface="+mn-cs"/>
                        </a:rPr>
                        <a:t>In annual timetable: Yes (combination with the total closure weeks in the 80 weeks Emmerich-Oberhausen) </a:t>
                      </a:r>
                      <a:endParaRPr lang="en-US" sz="1100" i="0" noProof="0" dirty="0">
                        <a:solidFill>
                          <a:schemeClr val="tx1"/>
                        </a:solidFill>
                      </a:endParaRPr>
                    </a:p>
                  </a:txBody>
                  <a:tcPr marL="84437" marR="84437" marT="42212" marB="422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4" name="Textfeld 17">
            <a:extLst>
              <a:ext uri="{FF2B5EF4-FFF2-40B4-BE49-F238E27FC236}">
                <a16:creationId xmlns:a16="http://schemas.microsoft.com/office/drawing/2014/main" id="{442B3198-2626-10FD-D64D-1E2094CE737D}"/>
              </a:ext>
            </a:extLst>
          </p:cNvPr>
          <p:cNvSpPr txBox="1">
            <a:spLocks noChangeArrowheads="1"/>
          </p:cNvSpPr>
          <p:nvPr/>
        </p:nvSpPr>
        <p:spPr bwMode="auto">
          <a:xfrm>
            <a:off x="8008148" y="671884"/>
            <a:ext cx="77457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nl-NL" altLang="fr-FR" sz="1000" dirty="0">
                <a:solidFill>
                  <a:prstClr val="black"/>
                </a:solidFill>
                <a:cs typeface="Arial" pitchFamily="34" charset="0"/>
              </a:rPr>
              <a:t>31.01.2025</a:t>
            </a:r>
            <a:endParaRPr lang="de-DE" altLang="fr-FR" sz="1000" dirty="0">
              <a:solidFill>
                <a:srgbClr val="FF0000"/>
              </a:solidFill>
              <a:cs typeface="Arial" pitchFamily="34" charset="0"/>
            </a:endParaRPr>
          </a:p>
        </p:txBody>
      </p:sp>
      <p:pic>
        <p:nvPicPr>
          <p:cNvPr id="8" name="Afbeelding 7">
            <a:extLst>
              <a:ext uri="{FF2B5EF4-FFF2-40B4-BE49-F238E27FC236}">
                <a16:creationId xmlns:a16="http://schemas.microsoft.com/office/drawing/2014/main" id="{9BA42B09-8D21-26DF-304B-64AC2E45FB5F}"/>
              </a:ext>
            </a:extLst>
          </p:cNvPr>
          <p:cNvPicPr>
            <a:picLocks noChangeAspect="1"/>
          </p:cNvPicPr>
          <p:nvPr/>
        </p:nvPicPr>
        <p:blipFill>
          <a:blip r:embed="rId2"/>
          <a:stretch>
            <a:fillRect/>
          </a:stretch>
        </p:blipFill>
        <p:spPr>
          <a:xfrm>
            <a:off x="990179" y="2043887"/>
            <a:ext cx="3541070" cy="2392040"/>
          </a:xfrm>
          <a:prstGeom prst="rect">
            <a:avLst/>
          </a:prstGeom>
        </p:spPr>
      </p:pic>
      <p:graphicFrame>
        <p:nvGraphicFramePr>
          <p:cNvPr id="7" name="Object 6">
            <a:extLst>
              <a:ext uri="{FF2B5EF4-FFF2-40B4-BE49-F238E27FC236}">
                <a16:creationId xmlns:a16="http://schemas.microsoft.com/office/drawing/2014/main" id="{D1D2EB87-6416-A456-BA9A-BD226DF85B61}"/>
              </a:ext>
            </a:extLst>
          </p:cNvPr>
          <p:cNvGraphicFramePr>
            <a:graphicFrameLocks noChangeAspect="1"/>
          </p:cNvGraphicFramePr>
          <p:nvPr>
            <p:extLst>
              <p:ext uri="{D42A27DB-BD31-4B8C-83A1-F6EECF244321}">
                <p14:modId xmlns:p14="http://schemas.microsoft.com/office/powerpoint/2010/main" val="260177413"/>
              </p:ext>
            </p:extLst>
          </p:nvPr>
        </p:nvGraphicFramePr>
        <p:xfrm>
          <a:off x="4910137" y="3292475"/>
          <a:ext cx="3872581" cy="2914471"/>
        </p:xfrm>
        <a:graphic>
          <a:graphicData uri="http://schemas.openxmlformats.org/presentationml/2006/ole">
            <mc:AlternateContent xmlns:mc="http://schemas.openxmlformats.org/markup-compatibility/2006">
              <mc:Choice xmlns:v="urn:schemas-microsoft-com:vml" Requires="v">
                <p:oleObj name="Worksheet" r:id="rId3" imgW="10572750" imgH="8667750" progId="Excel.Sheet.12">
                  <p:embed/>
                </p:oleObj>
              </mc:Choice>
              <mc:Fallback>
                <p:oleObj name="Worksheet" r:id="rId3" imgW="10572750" imgH="8667750" progId="Excel.Sheet.12">
                  <p:embed/>
                  <p:pic>
                    <p:nvPicPr>
                      <p:cNvPr id="7" name="Object 6">
                        <a:extLst>
                          <a:ext uri="{FF2B5EF4-FFF2-40B4-BE49-F238E27FC236}">
                            <a16:creationId xmlns:a16="http://schemas.microsoft.com/office/drawing/2014/main" id="{D79701BB-DA31-5DBF-1254-82E762EB2F9D}"/>
                          </a:ext>
                        </a:extLst>
                      </p:cNvPr>
                      <p:cNvPicPr/>
                      <p:nvPr/>
                    </p:nvPicPr>
                    <p:blipFill>
                      <a:blip r:embed="rId4"/>
                      <a:stretch>
                        <a:fillRect/>
                      </a:stretch>
                    </p:blipFill>
                    <p:spPr>
                      <a:xfrm>
                        <a:off x="4910137" y="3292475"/>
                        <a:ext cx="3872581" cy="2914471"/>
                      </a:xfrm>
                      <a:prstGeom prst="rect">
                        <a:avLst/>
                      </a:prstGeom>
                    </p:spPr>
                  </p:pic>
                </p:oleObj>
              </mc:Fallback>
            </mc:AlternateContent>
          </a:graphicData>
        </a:graphic>
      </p:graphicFrame>
    </p:spTree>
    <p:extLst>
      <p:ext uri="{BB962C8B-B14F-4D97-AF65-F5344CB8AC3E}">
        <p14:creationId xmlns:p14="http://schemas.microsoft.com/office/powerpoint/2010/main" val="29559262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19F761-5CF7-C32C-97BD-060F664389FB}"/>
            </a:ext>
          </a:extLst>
        </p:cNvPr>
        <p:cNvGrpSpPr/>
        <p:nvPr/>
      </p:nvGrpSpPr>
      <p:grpSpPr>
        <a:xfrm>
          <a:off x="0" y="0"/>
          <a:ext cx="0" cy="0"/>
          <a:chOff x="0" y="0"/>
          <a:chExt cx="0" cy="0"/>
        </a:xfrm>
      </p:grpSpPr>
      <p:sp>
        <p:nvSpPr>
          <p:cNvPr id="2" name="Text Box 3">
            <a:extLst>
              <a:ext uri="{FF2B5EF4-FFF2-40B4-BE49-F238E27FC236}">
                <a16:creationId xmlns:a16="http://schemas.microsoft.com/office/drawing/2014/main" id="{E99D15D1-E745-CE40-8F7E-F96CD291C5F8}"/>
              </a:ext>
            </a:extLst>
          </p:cNvPr>
          <p:cNvSpPr txBox="1">
            <a:spLocks noChangeArrowheads="1"/>
          </p:cNvSpPr>
          <p:nvPr/>
        </p:nvSpPr>
        <p:spPr bwMode="auto">
          <a:xfrm>
            <a:off x="410873" y="904395"/>
            <a:ext cx="6362828" cy="8029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07763" dir="18900000" algn="ctr" rotWithShape="0">
                    <a:schemeClr val="bg2"/>
                  </a:outerShdw>
                </a:effectLst>
              </a14:hiddenEffects>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l">
              <a:spcBef>
                <a:spcPct val="50000"/>
              </a:spcBef>
              <a:buNone/>
            </a:pPr>
            <a:r>
              <a:rPr lang="en-GB" altLang="fr-FR" sz="1847" b="1" dirty="0">
                <a:solidFill>
                  <a:srgbClr val="000000"/>
                </a:solidFill>
                <a:cs typeface="Calibri" panose="020F0502020204030204" pitchFamily="34" charset="0"/>
              </a:rPr>
              <a:t>Impact of TCR TT 2026 at </a:t>
            </a:r>
            <a:r>
              <a:rPr lang="nl-NL" altLang="fr-FR" sz="1847" b="1" dirty="0">
                <a:solidFill>
                  <a:srgbClr val="000000"/>
                </a:solidFill>
                <a:cs typeface="Calibri" panose="020F0502020204030204" pitchFamily="34" charset="0"/>
              </a:rPr>
              <a:t>ProRail</a:t>
            </a:r>
            <a:endParaRPr lang="en-GB" altLang="fr-FR" sz="1847" b="1" dirty="0">
              <a:solidFill>
                <a:prstClr val="black"/>
              </a:solidFill>
              <a:cs typeface="Calibri" panose="020F0502020204030204" pitchFamily="34" charset="0"/>
            </a:endParaRPr>
          </a:p>
          <a:p>
            <a:pPr algn="l">
              <a:spcBef>
                <a:spcPct val="50000"/>
              </a:spcBef>
              <a:buNone/>
            </a:pPr>
            <a:r>
              <a:rPr lang="en-GB" altLang="fr-FR" sz="1847" b="1" dirty="0">
                <a:solidFill>
                  <a:srgbClr val="000000"/>
                </a:solidFill>
                <a:cs typeface="Calibri" panose="020F0502020204030204" pitchFamily="34" charset="0"/>
              </a:rPr>
              <a:t>Section Breda - Tilburg</a:t>
            </a:r>
          </a:p>
        </p:txBody>
      </p:sp>
      <p:graphicFrame>
        <p:nvGraphicFramePr>
          <p:cNvPr id="3" name="Inhaltsplatzhalter 8">
            <a:extLst>
              <a:ext uri="{FF2B5EF4-FFF2-40B4-BE49-F238E27FC236}">
                <a16:creationId xmlns:a16="http://schemas.microsoft.com/office/drawing/2014/main" id="{2FF2B3E4-52EA-1E1B-7D2E-66F32362D19A}"/>
              </a:ext>
            </a:extLst>
          </p:cNvPr>
          <p:cNvGraphicFramePr>
            <a:graphicFrameLocks/>
          </p:cNvGraphicFramePr>
          <p:nvPr>
            <p:extLst>
              <p:ext uri="{D42A27DB-BD31-4B8C-83A1-F6EECF244321}">
                <p14:modId xmlns:p14="http://schemas.microsoft.com/office/powerpoint/2010/main" val="3812436094"/>
              </p:ext>
            </p:extLst>
          </p:nvPr>
        </p:nvGraphicFramePr>
        <p:xfrm>
          <a:off x="5078078" y="1696158"/>
          <a:ext cx="3380160" cy="2803519"/>
        </p:xfrm>
        <a:graphic>
          <a:graphicData uri="http://schemas.openxmlformats.org/drawingml/2006/table">
            <a:tbl>
              <a:tblPr firstRow="1" bandRow="1">
                <a:tableStyleId>{5C22544A-7EE6-4342-B048-85BDC9FD1C3A}</a:tableStyleId>
              </a:tblPr>
              <a:tblGrid>
                <a:gridCol w="3380160">
                  <a:extLst>
                    <a:ext uri="{9D8B030D-6E8A-4147-A177-3AD203B41FA5}">
                      <a16:colId xmlns:a16="http://schemas.microsoft.com/office/drawing/2014/main" val="20000"/>
                    </a:ext>
                  </a:extLst>
                </a:gridCol>
              </a:tblGrid>
              <a:tr h="380829">
                <a:tc>
                  <a:txBody>
                    <a:bodyPr/>
                    <a:lstStyle/>
                    <a:p>
                      <a:pPr algn="l"/>
                      <a:r>
                        <a:rPr lang="en-US" sz="1300" i="0" noProof="0" dirty="0">
                          <a:solidFill>
                            <a:schemeClr val="tx1"/>
                          </a:solidFill>
                          <a:latin typeface="+mn-lt"/>
                        </a:rPr>
                        <a:t>Major Capacity</a:t>
                      </a:r>
                      <a:r>
                        <a:rPr lang="en-US" sz="1300" i="0" baseline="0" noProof="0" dirty="0">
                          <a:solidFill>
                            <a:schemeClr val="tx1"/>
                          </a:solidFill>
                          <a:latin typeface="+mn-lt"/>
                        </a:rPr>
                        <a:t> Restriction</a:t>
                      </a:r>
                      <a:endParaRPr lang="en-US" sz="1300" i="0" noProof="0" dirty="0">
                        <a:solidFill>
                          <a:schemeClr val="tx1"/>
                        </a:solidFill>
                        <a:latin typeface="+mn-lt"/>
                      </a:endParaRPr>
                    </a:p>
                  </a:txBody>
                  <a:tcPr marL="84445" marR="84445" marT="42230" marB="422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10000"/>
                  </a:ext>
                </a:extLst>
              </a:tr>
              <a:tr h="1211345">
                <a:tc>
                  <a:txBody>
                    <a:bodyPr/>
                    <a:lstStyle/>
                    <a:p>
                      <a:pPr marL="171450" indent="-171450">
                        <a:buFont typeface="Arial" panose="020B0604020202020204" pitchFamily="34" charset="0"/>
                        <a:buChar char="•"/>
                      </a:pPr>
                      <a:r>
                        <a:rPr lang="en-US" sz="1100" i="0" noProof="0" dirty="0">
                          <a:solidFill>
                            <a:schemeClr val="tx1"/>
                          </a:solidFill>
                          <a:latin typeface="+mn-lt"/>
                        </a:rPr>
                        <a:t>Location</a:t>
                      </a:r>
                      <a:r>
                        <a:rPr lang="cs-CZ" sz="1100" i="0" noProof="0" dirty="0">
                          <a:solidFill>
                            <a:schemeClr val="tx1"/>
                          </a:solidFill>
                          <a:latin typeface="+mn-lt"/>
                        </a:rPr>
                        <a:t> </a:t>
                      </a:r>
                      <a:r>
                        <a:rPr lang="nl-NL" sz="1100" i="0" noProof="0" dirty="0">
                          <a:solidFill>
                            <a:schemeClr val="tx1"/>
                          </a:solidFill>
                          <a:latin typeface="+mn-lt"/>
                        </a:rPr>
                        <a:t>Breda – Tilburg – Vught (aansluiting)</a:t>
                      </a:r>
                      <a:endParaRPr lang="en-US" sz="1100" i="0" noProof="0" dirty="0">
                        <a:solidFill>
                          <a:schemeClr val="tx1"/>
                        </a:solidFill>
                        <a:latin typeface="+mn-lt"/>
                      </a:endParaRPr>
                    </a:p>
                    <a:p>
                      <a:pPr marL="171450" indent="-171450">
                        <a:buFont typeface="Arial" panose="020B0604020202020204" pitchFamily="34" charset="0"/>
                        <a:buChar char="•"/>
                      </a:pPr>
                      <a:r>
                        <a:rPr lang="en-US" sz="1100" i="0" noProof="0" dirty="0">
                          <a:solidFill>
                            <a:schemeClr val="tx1"/>
                          </a:solidFill>
                          <a:latin typeface="+mn-lt"/>
                        </a:rPr>
                        <a:t>Type: Total Closure</a:t>
                      </a:r>
                    </a:p>
                    <a:p>
                      <a:pPr marL="171450" indent="-171450">
                        <a:buFont typeface="Arial" panose="020B0604020202020204" pitchFamily="34" charset="0"/>
                        <a:buChar char="•"/>
                      </a:pPr>
                      <a:r>
                        <a:rPr lang="en-US" sz="1100" i="0" noProof="0" dirty="0">
                          <a:solidFill>
                            <a:schemeClr val="tx1"/>
                          </a:solidFill>
                          <a:latin typeface="+mn-lt"/>
                        </a:rPr>
                        <a:t>Periods:</a:t>
                      </a:r>
                      <a:r>
                        <a:rPr lang="cs-CZ" sz="1100" i="0" noProof="0" dirty="0">
                          <a:solidFill>
                            <a:schemeClr val="tx1"/>
                          </a:solidFill>
                          <a:latin typeface="+mn-lt"/>
                        </a:rPr>
                        <a:t>  </a:t>
                      </a:r>
                      <a:r>
                        <a:rPr lang="nl-NL" sz="1100" i="0" noProof="0" dirty="0">
                          <a:solidFill>
                            <a:schemeClr val="tx1"/>
                          </a:solidFill>
                          <a:latin typeface="+mn-lt"/>
                        </a:rPr>
                        <a:t>28.07.</a:t>
                      </a:r>
                      <a:r>
                        <a:rPr lang="cs-CZ" sz="1100" i="0" noProof="0" dirty="0">
                          <a:solidFill>
                            <a:schemeClr val="tx1"/>
                          </a:solidFill>
                          <a:latin typeface="+mn-lt"/>
                        </a:rPr>
                        <a:t> -</a:t>
                      </a:r>
                      <a:r>
                        <a:rPr lang="nl-NL" sz="1100" i="0" noProof="0" dirty="0">
                          <a:solidFill>
                            <a:schemeClr val="tx1"/>
                          </a:solidFill>
                          <a:latin typeface="+mn-lt"/>
                        </a:rPr>
                        <a:t>08</a:t>
                      </a:r>
                      <a:r>
                        <a:rPr lang="cs-CZ" sz="1100" i="0" noProof="0" dirty="0">
                          <a:solidFill>
                            <a:schemeClr val="tx1"/>
                          </a:solidFill>
                          <a:latin typeface="+mn-lt"/>
                        </a:rPr>
                        <a:t>.</a:t>
                      </a:r>
                      <a:r>
                        <a:rPr lang="nl-NL" sz="1100" i="0" noProof="0" dirty="0">
                          <a:solidFill>
                            <a:schemeClr val="tx1"/>
                          </a:solidFill>
                          <a:latin typeface="+mn-lt"/>
                        </a:rPr>
                        <a:t>08</a:t>
                      </a:r>
                      <a:r>
                        <a:rPr lang="cs-CZ" sz="1100" i="0" noProof="0" dirty="0">
                          <a:solidFill>
                            <a:schemeClr val="tx1"/>
                          </a:solidFill>
                          <a:latin typeface="+mn-lt"/>
                        </a:rPr>
                        <a:t>.202</a:t>
                      </a:r>
                      <a:r>
                        <a:rPr lang="nl-NL" sz="1100" i="0" noProof="0" dirty="0">
                          <a:solidFill>
                            <a:schemeClr val="tx1"/>
                          </a:solidFill>
                          <a:latin typeface="+mn-lt"/>
                        </a:rPr>
                        <a:t>6  </a:t>
                      </a:r>
                    </a:p>
                    <a:p>
                      <a:pPr marL="0" indent="0">
                        <a:buFont typeface="Arial" panose="020B0604020202020204" pitchFamily="34" charset="0"/>
                        <a:buNone/>
                      </a:pPr>
                      <a:r>
                        <a:rPr lang="nl-NL" sz="1100" i="0" noProof="0" dirty="0">
                          <a:solidFill>
                            <a:schemeClr val="tx1"/>
                          </a:solidFill>
                          <a:latin typeface="+mn-lt"/>
                        </a:rPr>
                        <a:t>     </a:t>
                      </a:r>
                      <a:r>
                        <a:rPr lang="en-US" sz="1100" i="0" noProof="0" dirty="0">
                          <a:solidFill>
                            <a:schemeClr val="tx1"/>
                          </a:solidFill>
                          <a:latin typeface="+mn-lt"/>
                        </a:rPr>
                        <a:t>                 </a:t>
                      </a:r>
                    </a:p>
                    <a:p>
                      <a:pPr marL="171450" indent="-171450">
                        <a:buFont typeface="Arial" panose="020B0604020202020204" pitchFamily="34" charset="0"/>
                        <a:buChar char="•"/>
                      </a:pPr>
                      <a:r>
                        <a:rPr lang="en-US" sz="1100" i="0" noProof="0" dirty="0">
                          <a:solidFill>
                            <a:schemeClr val="tx1"/>
                          </a:solidFill>
                          <a:latin typeface="+mn-lt"/>
                        </a:rPr>
                        <a:t>Type of works:</a:t>
                      </a:r>
                      <a:r>
                        <a:rPr lang="cs-CZ" sz="1100" i="0" noProof="0" dirty="0">
                          <a:solidFill>
                            <a:schemeClr val="tx1"/>
                          </a:solidFill>
                          <a:latin typeface="+mn-lt"/>
                        </a:rPr>
                        <a:t> </a:t>
                      </a:r>
                      <a:r>
                        <a:rPr lang="nl-NL" sz="1100" i="0" noProof="0" dirty="0" err="1">
                          <a:solidFill>
                            <a:schemeClr val="tx1"/>
                          </a:solidFill>
                          <a:latin typeface="+mn-lt"/>
                        </a:rPr>
                        <a:t>Renewal</a:t>
                      </a:r>
                      <a:r>
                        <a:rPr lang="nl-NL" sz="1100" i="0" noProof="0" dirty="0">
                          <a:solidFill>
                            <a:schemeClr val="tx1"/>
                          </a:solidFill>
                          <a:latin typeface="+mn-lt"/>
                        </a:rPr>
                        <a:t> of tracks </a:t>
                      </a:r>
                      <a:r>
                        <a:rPr lang="nl-NL" sz="1100" i="0" noProof="0" dirty="0" err="1">
                          <a:solidFill>
                            <a:schemeClr val="tx1"/>
                          </a:solidFill>
                          <a:latin typeface="+mn-lt"/>
                        </a:rPr>
                        <a:t>and</a:t>
                      </a:r>
                      <a:r>
                        <a:rPr lang="nl-NL" sz="1100" i="0" noProof="0" dirty="0">
                          <a:solidFill>
                            <a:schemeClr val="tx1"/>
                          </a:solidFill>
                          <a:latin typeface="+mn-lt"/>
                        </a:rPr>
                        <a:t> </a:t>
                      </a:r>
                      <a:r>
                        <a:rPr lang="nl-NL" sz="1100" i="0" noProof="0" dirty="0" err="1">
                          <a:solidFill>
                            <a:schemeClr val="tx1"/>
                          </a:solidFill>
                          <a:latin typeface="+mn-lt"/>
                        </a:rPr>
                        <a:t>safety</a:t>
                      </a:r>
                      <a:r>
                        <a:rPr lang="nl-NL" sz="1100" i="0" noProof="0" dirty="0">
                          <a:solidFill>
                            <a:schemeClr val="tx1"/>
                          </a:solidFill>
                          <a:latin typeface="+mn-lt"/>
                        </a:rPr>
                        <a:t> systems. New </a:t>
                      </a:r>
                      <a:r>
                        <a:rPr lang="nl-NL" sz="1100" i="0" noProof="0" dirty="0" err="1">
                          <a:solidFill>
                            <a:schemeClr val="tx1"/>
                          </a:solidFill>
                          <a:latin typeface="+mn-lt"/>
                        </a:rPr>
                        <a:t>infrastructure</a:t>
                      </a:r>
                      <a:r>
                        <a:rPr lang="nl-NL" sz="1100" i="0" noProof="0" dirty="0">
                          <a:solidFill>
                            <a:schemeClr val="tx1"/>
                          </a:solidFill>
                          <a:latin typeface="+mn-lt"/>
                        </a:rPr>
                        <a:t> on Tilburg Station </a:t>
                      </a:r>
                      <a:endParaRPr lang="en-US" sz="900" i="0" noProof="0" dirty="0">
                        <a:solidFill>
                          <a:schemeClr val="tx1"/>
                        </a:solidFill>
                        <a:highlight>
                          <a:srgbClr val="FFFF00"/>
                        </a:highlight>
                        <a:latin typeface="+mn-lt"/>
                      </a:endParaRPr>
                    </a:p>
                  </a:txBody>
                  <a:tcPr marL="84445" marR="84445" marT="42230" marB="422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1211345">
                <a:tc>
                  <a:txBody>
                    <a:bodyPr/>
                    <a:lstStyle/>
                    <a:p>
                      <a:pPr marL="171450" indent="-171450">
                        <a:buFont typeface="Arial" panose="020B0604020202020204" pitchFamily="34" charset="0"/>
                        <a:buChar char="•"/>
                      </a:pPr>
                      <a:endParaRPr lang="en-US" sz="900" i="0" noProof="0" dirty="0">
                        <a:solidFill>
                          <a:schemeClr val="tx1"/>
                        </a:solidFill>
                        <a:highlight>
                          <a:srgbClr val="FFFF00"/>
                        </a:highlight>
                        <a:latin typeface="+mn-lt"/>
                      </a:endParaRPr>
                    </a:p>
                  </a:txBody>
                  <a:tcPr marL="84445" marR="84445" marT="42230" marB="422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51372690"/>
                  </a:ext>
                </a:extLst>
              </a:tr>
            </a:tbl>
          </a:graphicData>
        </a:graphic>
      </p:graphicFrame>
      <p:sp>
        <p:nvSpPr>
          <p:cNvPr id="5" name="Textfeld 18">
            <a:extLst>
              <a:ext uri="{FF2B5EF4-FFF2-40B4-BE49-F238E27FC236}">
                <a16:creationId xmlns:a16="http://schemas.microsoft.com/office/drawing/2014/main" id="{2FCAB1E8-9E81-F658-40D9-1FC49CD9BF11}"/>
              </a:ext>
            </a:extLst>
          </p:cNvPr>
          <p:cNvSpPr txBox="1">
            <a:spLocks noChangeArrowheads="1"/>
          </p:cNvSpPr>
          <p:nvPr/>
        </p:nvSpPr>
        <p:spPr bwMode="auto">
          <a:xfrm>
            <a:off x="694859" y="1696156"/>
            <a:ext cx="3995094" cy="291298"/>
          </a:xfrm>
          <a:prstGeom prst="rect">
            <a:avLst/>
          </a:prstGeom>
          <a:solidFill>
            <a:srgbClr val="FFCC00"/>
          </a:solidFill>
          <a:ln w="9525">
            <a:solidFill>
              <a:srgbClr val="0066FF"/>
            </a:solidFill>
            <a:miter lim="800000"/>
            <a:headEnd/>
            <a:tailEnd/>
          </a:ln>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de-DE" altLang="fr-FR" sz="1293" b="1">
                <a:solidFill>
                  <a:prstClr val="black"/>
                </a:solidFill>
                <a:cs typeface="Arial" pitchFamily="34" charset="0"/>
              </a:rPr>
              <a:t>Map view</a:t>
            </a:r>
          </a:p>
        </p:txBody>
      </p:sp>
      <p:sp>
        <p:nvSpPr>
          <p:cNvPr id="6" name="Rechteck 20">
            <a:extLst>
              <a:ext uri="{FF2B5EF4-FFF2-40B4-BE49-F238E27FC236}">
                <a16:creationId xmlns:a16="http://schemas.microsoft.com/office/drawing/2014/main" id="{2773D42C-7FE1-EE74-A014-65BD07437950}"/>
              </a:ext>
            </a:extLst>
          </p:cNvPr>
          <p:cNvSpPr>
            <a:spLocks noChangeArrowheads="1"/>
          </p:cNvSpPr>
          <p:nvPr/>
        </p:nvSpPr>
        <p:spPr bwMode="auto">
          <a:xfrm>
            <a:off x="694859" y="1964452"/>
            <a:ext cx="3995094" cy="2476225"/>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fontAlgn="base">
              <a:spcBef>
                <a:spcPct val="50000"/>
              </a:spcBef>
              <a:spcAft>
                <a:spcPct val="0"/>
              </a:spcAft>
              <a:buFontTx/>
              <a:buNone/>
            </a:pPr>
            <a:endParaRPr lang="de-DE" altLang="fr-FR" sz="1108" b="1">
              <a:solidFill>
                <a:prstClr val="black"/>
              </a:solidFill>
              <a:latin typeface="DB Office" pitchFamily="34" charset="0"/>
              <a:cs typeface="Arial" pitchFamily="34" charset="0"/>
            </a:endParaRPr>
          </a:p>
        </p:txBody>
      </p:sp>
      <p:graphicFrame>
        <p:nvGraphicFramePr>
          <p:cNvPr id="9" name="Inhaltsplatzhalter 8">
            <a:extLst>
              <a:ext uri="{FF2B5EF4-FFF2-40B4-BE49-F238E27FC236}">
                <a16:creationId xmlns:a16="http://schemas.microsoft.com/office/drawing/2014/main" id="{E29962A0-B766-567B-5F1E-E1CDE181444A}"/>
              </a:ext>
            </a:extLst>
          </p:cNvPr>
          <p:cNvGraphicFramePr>
            <a:graphicFrameLocks/>
          </p:cNvGraphicFramePr>
          <p:nvPr>
            <p:extLst>
              <p:ext uri="{D42A27DB-BD31-4B8C-83A1-F6EECF244321}">
                <p14:modId xmlns:p14="http://schemas.microsoft.com/office/powerpoint/2010/main" val="4284422174"/>
              </p:ext>
            </p:extLst>
          </p:nvPr>
        </p:nvGraphicFramePr>
        <p:xfrm>
          <a:off x="693912" y="4455296"/>
          <a:ext cx="3990704" cy="1834079"/>
        </p:xfrm>
        <a:graphic>
          <a:graphicData uri="http://schemas.openxmlformats.org/drawingml/2006/table">
            <a:tbl>
              <a:tblPr firstRow="1" bandRow="1">
                <a:tableStyleId>{5C22544A-7EE6-4342-B048-85BDC9FD1C3A}</a:tableStyleId>
              </a:tblPr>
              <a:tblGrid>
                <a:gridCol w="3990704">
                  <a:extLst>
                    <a:ext uri="{9D8B030D-6E8A-4147-A177-3AD203B41FA5}">
                      <a16:colId xmlns:a16="http://schemas.microsoft.com/office/drawing/2014/main" val="20000"/>
                    </a:ext>
                  </a:extLst>
                </a:gridCol>
              </a:tblGrid>
              <a:tr h="398905">
                <a:tc>
                  <a:txBody>
                    <a:bodyPr/>
                    <a:lstStyle/>
                    <a:p>
                      <a:pPr algn="l"/>
                      <a:r>
                        <a:rPr lang="en-US" sz="1300" noProof="0" dirty="0">
                          <a:solidFill>
                            <a:schemeClr val="tx1"/>
                          </a:solidFill>
                          <a:latin typeface="+mn-lt"/>
                        </a:rPr>
                        <a:t>Impact on</a:t>
                      </a:r>
                      <a:r>
                        <a:rPr lang="en-US" sz="1300" baseline="0" noProof="0" dirty="0">
                          <a:solidFill>
                            <a:schemeClr val="tx1"/>
                          </a:solidFill>
                          <a:latin typeface="+mn-lt"/>
                        </a:rPr>
                        <a:t> </a:t>
                      </a:r>
                      <a:r>
                        <a:rPr lang="en-US" sz="1300" noProof="0" dirty="0">
                          <a:solidFill>
                            <a:schemeClr val="tx1"/>
                          </a:solidFill>
                          <a:latin typeface="+mn-lt"/>
                        </a:rPr>
                        <a:t>International Rail Freight </a:t>
                      </a:r>
                    </a:p>
                  </a:txBody>
                  <a:tcPr marL="84437" marR="84437" marT="42212" marB="422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CC00"/>
                    </a:solidFill>
                  </a:tcPr>
                </a:tc>
                <a:extLst>
                  <a:ext uri="{0D108BD9-81ED-4DB2-BD59-A6C34878D82A}">
                    <a16:rowId xmlns:a16="http://schemas.microsoft.com/office/drawing/2014/main" val="10000"/>
                  </a:ext>
                </a:extLst>
              </a:tr>
              <a:tr h="1435174">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dirty="0">
                          <a:solidFill>
                            <a:schemeClr val="tx1"/>
                          </a:solidFill>
                          <a:latin typeface="+mn-lt"/>
                          <a:ea typeface="+mn-ea"/>
                          <a:cs typeface="+mn-cs"/>
                        </a:rPr>
                        <a:t>Cancellations: </a:t>
                      </a:r>
                      <a:r>
                        <a:rPr lang="cs-CZ" sz="1200" i="0" kern="1200" noProof="0" dirty="0">
                          <a:solidFill>
                            <a:schemeClr val="tx1"/>
                          </a:solidFill>
                          <a:latin typeface="+mn-lt"/>
                          <a:ea typeface="+mn-ea"/>
                          <a:cs typeface="+mn-cs"/>
                        </a:rPr>
                        <a:t>No</a:t>
                      </a:r>
                      <a:endParaRPr lang="en-US" sz="1200" i="0" kern="1200" noProof="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dirty="0">
                          <a:solidFill>
                            <a:schemeClr val="tx1"/>
                          </a:solidFill>
                          <a:latin typeface="+mn-lt"/>
                          <a:ea typeface="+mn-ea"/>
                          <a:cs typeface="+mn-cs"/>
                        </a:rPr>
                        <a:t>Deviations: </a:t>
                      </a:r>
                      <a:r>
                        <a:rPr lang="nl-NL" sz="1200" i="0" kern="1200" noProof="0" dirty="0">
                          <a:solidFill>
                            <a:schemeClr val="tx1"/>
                          </a:solidFill>
                          <a:latin typeface="+mn-lt"/>
                          <a:ea typeface="+mn-ea"/>
                          <a:cs typeface="+mn-cs"/>
                        </a:rPr>
                        <a:t>Yes, via Betuweroute (A15) - Emmerich</a:t>
                      </a:r>
                      <a:endParaRPr lang="en-US" sz="1200" i="0" kern="1200" noProof="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dirty="0">
                          <a:solidFill>
                            <a:schemeClr val="tx1"/>
                          </a:solidFill>
                          <a:latin typeface="+mn-lt"/>
                          <a:ea typeface="+mn-ea"/>
                          <a:cs typeface="+mn-cs"/>
                        </a:rPr>
                        <a:t>Estimated extra running time:</a:t>
                      </a:r>
                      <a:r>
                        <a:rPr lang="cs-CZ" sz="1200" i="0" kern="1200" noProof="0" dirty="0">
                          <a:solidFill>
                            <a:schemeClr val="tx1"/>
                          </a:solidFill>
                          <a:latin typeface="+mn-lt"/>
                          <a:ea typeface="+mn-ea"/>
                          <a:cs typeface="+mn-cs"/>
                        </a:rPr>
                        <a:t> </a:t>
                      </a:r>
                      <a:r>
                        <a:rPr lang="en-US" sz="1200" i="0" kern="1200" noProof="0" dirty="0">
                          <a:solidFill>
                            <a:schemeClr val="tx1"/>
                          </a:solidFill>
                          <a:latin typeface="+mn-lt"/>
                          <a:ea typeface="+mn-ea"/>
                          <a:cs typeface="+mn-cs"/>
                        </a:rPr>
                        <a:t>delay of freight trains approx. 30 - 90 minu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dirty="0">
                          <a:solidFill>
                            <a:schemeClr val="tx1"/>
                          </a:solidFill>
                          <a:latin typeface="+mn-lt"/>
                          <a:ea typeface="+mn-ea"/>
                          <a:cs typeface="+mn-cs"/>
                        </a:rPr>
                        <a:t>In annual timetable: No </a:t>
                      </a:r>
                      <a:endParaRPr lang="en-US" sz="1100" i="0" noProof="0" dirty="0">
                        <a:solidFill>
                          <a:schemeClr val="tx1"/>
                        </a:solidFill>
                      </a:endParaRPr>
                    </a:p>
                  </a:txBody>
                  <a:tcPr marL="84437" marR="84437" marT="42212" marB="422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4" name="Textfeld 17">
            <a:extLst>
              <a:ext uri="{FF2B5EF4-FFF2-40B4-BE49-F238E27FC236}">
                <a16:creationId xmlns:a16="http://schemas.microsoft.com/office/drawing/2014/main" id="{FC0C513E-91E8-984A-FB42-787002DE973C}"/>
              </a:ext>
            </a:extLst>
          </p:cNvPr>
          <p:cNvSpPr txBox="1">
            <a:spLocks noChangeArrowheads="1"/>
          </p:cNvSpPr>
          <p:nvPr/>
        </p:nvSpPr>
        <p:spPr bwMode="auto">
          <a:xfrm>
            <a:off x="8008148" y="671884"/>
            <a:ext cx="77457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nl-NL" altLang="fr-FR" sz="1000" dirty="0">
                <a:solidFill>
                  <a:prstClr val="black"/>
                </a:solidFill>
                <a:cs typeface="Arial" pitchFamily="34" charset="0"/>
              </a:rPr>
              <a:t>31.01.2025</a:t>
            </a:r>
            <a:endParaRPr lang="de-DE" altLang="fr-FR" sz="1000" dirty="0">
              <a:solidFill>
                <a:srgbClr val="FF0000"/>
              </a:solidFill>
              <a:cs typeface="Arial" pitchFamily="34" charset="0"/>
            </a:endParaRPr>
          </a:p>
        </p:txBody>
      </p:sp>
      <p:graphicFrame>
        <p:nvGraphicFramePr>
          <p:cNvPr id="7" name="Object 6">
            <a:extLst>
              <a:ext uri="{FF2B5EF4-FFF2-40B4-BE49-F238E27FC236}">
                <a16:creationId xmlns:a16="http://schemas.microsoft.com/office/drawing/2014/main" id="{A5DF0BFE-5078-0506-5874-15676579BB9B}"/>
              </a:ext>
            </a:extLst>
          </p:cNvPr>
          <p:cNvGraphicFramePr>
            <a:graphicFrameLocks noChangeAspect="1"/>
          </p:cNvGraphicFramePr>
          <p:nvPr>
            <p:extLst>
              <p:ext uri="{D42A27DB-BD31-4B8C-83A1-F6EECF244321}">
                <p14:modId xmlns:p14="http://schemas.microsoft.com/office/powerpoint/2010/main" val="2483319523"/>
              </p:ext>
            </p:extLst>
          </p:nvPr>
        </p:nvGraphicFramePr>
        <p:xfrm>
          <a:off x="4910137" y="3292475"/>
          <a:ext cx="3872581" cy="2914471"/>
        </p:xfrm>
        <a:graphic>
          <a:graphicData uri="http://schemas.openxmlformats.org/presentationml/2006/ole">
            <mc:AlternateContent xmlns:mc="http://schemas.openxmlformats.org/markup-compatibility/2006">
              <mc:Choice xmlns:v="urn:schemas-microsoft-com:vml" Requires="v">
                <p:oleObj name="Worksheet" r:id="rId2" imgW="10572750" imgH="8667750" progId="Excel.Sheet.12">
                  <p:embed/>
                </p:oleObj>
              </mc:Choice>
              <mc:Fallback>
                <p:oleObj name="Worksheet" r:id="rId2" imgW="10572750" imgH="8667750" progId="Excel.Sheet.12">
                  <p:embed/>
                  <p:pic>
                    <p:nvPicPr>
                      <p:cNvPr id="7" name="Object 6">
                        <a:extLst>
                          <a:ext uri="{FF2B5EF4-FFF2-40B4-BE49-F238E27FC236}">
                            <a16:creationId xmlns:a16="http://schemas.microsoft.com/office/drawing/2014/main" id="{D1D2EB87-6416-A456-BA9A-BD226DF85B61}"/>
                          </a:ext>
                        </a:extLst>
                      </p:cNvPr>
                      <p:cNvPicPr/>
                      <p:nvPr/>
                    </p:nvPicPr>
                    <p:blipFill>
                      <a:blip r:embed="rId3"/>
                      <a:stretch>
                        <a:fillRect/>
                      </a:stretch>
                    </p:blipFill>
                    <p:spPr>
                      <a:xfrm>
                        <a:off x="4910137" y="3292475"/>
                        <a:ext cx="3872581" cy="2914471"/>
                      </a:xfrm>
                      <a:prstGeom prst="rect">
                        <a:avLst/>
                      </a:prstGeom>
                    </p:spPr>
                  </p:pic>
                </p:oleObj>
              </mc:Fallback>
            </mc:AlternateContent>
          </a:graphicData>
        </a:graphic>
      </p:graphicFrame>
      <p:pic>
        <p:nvPicPr>
          <p:cNvPr id="11" name="Afbeelding 10">
            <a:extLst>
              <a:ext uri="{FF2B5EF4-FFF2-40B4-BE49-F238E27FC236}">
                <a16:creationId xmlns:a16="http://schemas.microsoft.com/office/drawing/2014/main" id="{13DF61E8-EB97-EE64-6FB1-E6938776F177}"/>
              </a:ext>
            </a:extLst>
          </p:cNvPr>
          <p:cNvPicPr>
            <a:picLocks noChangeAspect="1"/>
          </p:cNvPicPr>
          <p:nvPr/>
        </p:nvPicPr>
        <p:blipFill>
          <a:blip r:embed="rId4"/>
          <a:stretch>
            <a:fillRect/>
          </a:stretch>
        </p:blipFill>
        <p:spPr>
          <a:xfrm>
            <a:off x="800721" y="2127564"/>
            <a:ext cx="3799148" cy="2190923"/>
          </a:xfrm>
          <a:prstGeom prst="rect">
            <a:avLst/>
          </a:prstGeom>
        </p:spPr>
      </p:pic>
    </p:spTree>
    <p:extLst>
      <p:ext uri="{BB962C8B-B14F-4D97-AF65-F5344CB8AC3E}">
        <p14:creationId xmlns:p14="http://schemas.microsoft.com/office/powerpoint/2010/main" val="25095269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509208-A528-B708-A32E-865AFB61AA4B}"/>
            </a:ext>
          </a:extLst>
        </p:cNvPr>
        <p:cNvGrpSpPr/>
        <p:nvPr/>
      </p:nvGrpSpPr>
      <p:grpSpPr>
        <a:xfrm>
          <a:off x="0" y="0"/>
          <a:ext cx="0" cy="0"/>
          <a:chOff x="0" y="0"/>
          <a:chExt cx="0" cy="0"/>
        </a:xfrm>
      </p:grpSpPr>
      <p:sp>
        <p:nvSpPr>
          <p:cNvPr id="2" name="Text Box 3">
            <a:extLst>
              <a:ext uri="{FF2B5EF4-FFF2-40B4-BE49-F238E27FC236}">
                <a16:creationId xmlns:a16="http://schemas.microsoft.com/office/drawing/2014/main" id="{FC6F0285-27EA-AC7F-B023-EF7590AF782B}"/>
              </a:ext>
            </a:extLst>
          </p:cNvPr>
          <p:cNvSpPr txBox="1">
            <a:spLocks noChangeArrowheads="1"/>
          </p:cNvSpPr>
          <p:nvPr/>
        </p:nvSpPr>
        <p:spPr bwMode="auto">
          <a:xfrm>
            <a:off x="410873" y="904395"/>
            <a:ext cx="6362828" cy="8029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07763" dir="18900000" algn="ctr" rotWithShape="0">
                    <a:schemeClr val="bg2"/>
                  </a:outerShdw>
                </a:effectLst>
              </a14:hiddenEffects>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l">
              <a:spcBef>
                <a:spcPct val="50000"/>
              </a:spcBef>
              <a:buNone/>
            </a:pPr>
            <a:r>
              <a:rPr lang="en-GB" altLang="fr-FR" sz="1847" b="1" dirty="0">
                <a:solidFill>
                  <a:srgbClr val="000000"/>
                </a:solidFill>
                <a:cs typeface="Calibri" panose="020F0502020204030204" pitchFamily="34" charset="0"/>
              </a:rPr>
              <a:t>Impact of TCR TT 202</a:t>
            </a:r>
            <a:r>
              <a:rPr lang="cs-CZ" altLang="fr-FR" sz="1847" b="1" dirty="0">
                <a:solidFill>
                  <a:srgbClr val="000000"/>
                </a:solidFill>
                <a:cs typeface="Calibri" panose="020F0502020204030204" pitchFamily="34" charset="0"/>
              </a:rPr>
              <a:t>7</a:t>
            </a:r>
            <a:r>
              <a:rPr lang="en-GB" altLang="fr-FR" sz="1847" b="1" dirty="0">
                <a:solidFill>
                  <a:srgbClr val="000000"/>
                </a:solidFill>
                <a:cs typeface="Calibri" panose="020F0502020204030204" pitchFamily="34" charset="0"/>
              </a:rPr>
              <a:t> at </a:t>
            </a:r>
            <a:r>
              <a:rPr lang="cs-CZ" altLang="fr-FR" sz="1847" b="1" dirty="0">
                <a:solidFill>
                  <a:srgbClr val="000000"/>
                </a:solidFill>
                <a:cs typeface="Calibri" panose="020F0502020204030204" pitchFamily="34" charset="0"/>
              </a:rPr>
              <a:t>SZCZ</a:t>
            </a:r>
            <a:endParaRPr lang="en-GB" altLang="fr-FR" sz="1847" b="1" dirty="0">
              <a:solidFill>
                <a:prstClr val="black"/>
              </a:solidFill>
              <a:cs typeface="Calibri" panose="020F0502020204030204" pitchFamily="34" charset="0"/>
            </a:endParaRPr>
          </a:p>
          <a:p>
            <a:pPr algn="l">
              <a:spcBef>
                <a:spcPct val="50000"/>
              </a:spcBef>
              <a:buNone/>
            </a:pPr>
            <a:r>
              <a:rPr lang="en-GB" altLang="fr-FR" sz="1847" b="1" dirty="0">
                <a:solidFill>
                  <a:srgbClr val="000000"/>
                </a:solidFill>
                <a:cs typeface="Calibri" panose="020F0502020204030204" pitchFamily="34" charset="0"/>
              </a:rPr>
              <a:t>Section </a:t>
            </a:r>
            <a:r>
              <a:rPr lang="en-GB" altLang="fr-FR" sz="1847" b="1" dirty="0" err="1">
                <a:solidFill>
                  <a:srgbClr val="000000"/>
                </a:solidFill>
                <a:cs typeface="Calibri" panose="020F0502020204030204" pitchFamily="34" charset="0"/>
              </a:rPr>
              <a:t>Decin</a:t>
            </a:r>
            <a:r>
              <a:rPr lang="en-GB" altLang="fr-FR" sz="1847" b="1" dirty="0">
                <a:solidFill>
                  <a:srgbClr val="000000"/>
                </a:solidFill>
                <a:cs typeface="Calibri" panose="020F0502020204030204" pitchFamily="34" charset="0"/>
              </a:rPr>
              <a:t> - </a:t>
            </a:r>
            <a:r>
              <a:rPr lang="en-GB" altLang="fr-FR" sz="1847" b="1" dirty="0" err="1">
                <a:solidFill>
                  <a:srgbClr val="000000"/>
                </a:solidFill>
                <a:cs typeface="Calibri" panose="020F0502020204030204" pitchFamily="34" charset="0"/>
              </a:rPr>
              <a:t>Lysa</a:t>
            </a:r>
            <a:r>
              <a:rPr lang="en-GB" altLang="fr-FR" sz="1847" b="1" dirty="0">
                <a:solidFill>
                  <a:srgbClr val="000000"/>
                </a:solidFill>
                <a:cs typeface="Calibri" panose="020F0502020204030204" pitchFamily="34" charset="0"/>
              </a:rPr>
              <a:t> </a:t>
            </a:r>
            <a:r>
              <a:rPr lang="en-GB" altLang="fr-FR" sz="1847" b="1" dirty="0" err="1">
                <a:solidFill>
                  <a:srgbClr val="000000"/>
                </a:solidFill>
                <a:cs typeface="Calibri" panose="020F0502020204030204" pitchFamily="34" charset="0"/>
              </a:rPr>
              <a:t>nad</a:t>
            </a:r>
            <a:r>
              <a:rPr lang="en-GB" altLang="fr-FR" sz="1847" b="1" dirty="0">
                <a:solidFill>
                  <a:srgbClr val="000000"/>
                </a:solidFill>
                <a:cs typeface="Calibri" panose="020F0502020204030204" pitchFamily="34" charset="0"/>
              </a:rPr>
              <a:t> Labem</a:t>
            </a:r>
          </a:p>
        </p:txBody>
      </p:sp>
      <p:graphicFrame>
        <p:nvGraphicFramePr>
          <p:cNvPr id="3" name="Inhaltsplatzhalter 8">
            <a:extLst>
              <a:ext uri="{FF2B5EF4-FFF2-40B4-BE49-F238E27FC236}">
                <a16:creationId xmlns:a16="http://schemas.microsoft.com/office/drawing/2014/main" id="{5A2711BD-06C3-17FF-6359-14B7BE656A5E}"/>
              </a:ext>
            </a:extLst>
          </p:cNvPr>
          <p:cNvGraphicFramePr>
            <a:graphicFrameLocks/>
          </p:cNvGraphicFramePr>
          <p:nvPr/>
        </p:nvGraphicFramePr>
        <p:xfrm>
          <a:off x="5078078" y="1696157"/>
          <a:ext cx="3380160" cy="1592174"/>
        </p:xfrm>
        <a:graphic>
          <a:graphicData uri="http://schemas.openxmlformats.org/drawingml/2006/table">
            <a:tbl>
              <a:tblPr firstRow="1" bandRow="1">
                <a:tableStyleId>{5C22544A-7EE6-4342-B048-85BDC9FD1C3A}</a:tableStyleId>
              </a:tblPr>
              <a:tblGrid>
                <a:gridCol w="3380160">
                  <a:extLst>
                    <a:ext uri="{9D8B030D-6E8A-4147-A177-3AD203B41FA5}">
                      <a16:colId xmlns:a16="http://schemas.microsoft.com/office/drawing/2014/main" val="20000"/>
                    </a:ext>
                  </a:extLst>
                </a:gridCol>
              </a:tblGrid>
              <a:tr h="380829">
                <a:tc>
                  <a:txBody>
                    <a:bodyPr/>
                    <a:lstStyle/>
                    <a:p>
                      <a:pPr algn="l"/>
                      <a:r>
                        <a:rPr lang="en-US" sz="1300" i="0" noProof="0" dirty="0">
                          <a:solidFill>
                            <a:schemeClr val="tx1"/>
                          </a:solidFill>
                          <a:latin typeface="+mn-lt"/>
                        </a:rPr>
                        <a:t>Major Capacity</a:t>
                      </a:r>
                      <a:r>
                        <a:rPr lang="en-US" sz="1300" i="0" baseline="0" noProof="0" dirty="0">
                          <a:solidFill>
                            <a:schemeClr val="tx1"/>
                          </a:solidFill>
                          <a:latin typeface="+mn-lt"/>
                        </a:rPr>
                        <a:t> Restriction</a:t>
                      </a:r>
                      <a:endParaRPr lang="en-US" sz="1300" i="0" noProof="0" dirty="0">
                        <a:solidFill>
                          <a:schemeClr val="tx1"/>
                        </a:solidFill>
                        <a:latin typeface="+mn-lt"/>
                      </a:endParaRPr>
                    </a:p>
                  </a:txBody>
                  <a:tcPr marL="84445" marR="84445" marT="42230" marB="422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10000"/>
                  </a:ext>
                </a:extLst>
              </a:tr>
              <a:tr h="1211345">
                <a:tc>
                  <a:txBody>
                    <a:bodyPr/>
                    <a:lstStyle/>
                    <a:p>
                      <a:pPr marL="171450" indent="-171450">
                        <a:buFont typeface="Arial" panose="020B0604020202020204" pitchFamily="34" charset="0"/>
                        <a:buChar char="•"/>
                      </a:pPr>
                      <a:r>
                        <a:rPr lang="en-US" sz="1100" i="0" noProof="0" dirty="0">
                          <a:solidFill>
                            <a:schemeClr val="tx1"/>
                          </a:solidFill>
                          <a:latin typeface="+mn-lt"/>
                        </a:rPr>
                        <a:t>Location</a:t>
                      </a:r>
                      <a:r>
                        <a:rPr lang="cs-CZ" sz="1100" i="0" noProof="0" dirty="0">
                          <a:solidFill>
                            <a:schemeClr val="tx1"/>
                          </a:solidFill>
                          <a:latin typeface="+mn-lt"/>
                        </a:rPr>
                        <a:t> Hoštka - Polepy</a:t>
                      </a:r>
                      <a:endParaRPr lang="en-US" sz="1100" i="0" noProof="0" dirty="0">
                        <a:solidFill>
                          <a:schemeClr val="tx1"/>
                        </a:solidFill>
                        <a:latin typeface="+mn-lt"/>
                      </a:endParaRPr>
                    </a:p>
                    <a:p>
                      <a:pPr marL="171450" indent="-171450">
                        <a:buFont typeface="Arial" panose="020B0604020202020204" pitchFamily="34" charset="0"/>
                        <a:buChar char="•"/>
                      </a:pPr>
                      <a:r>
                        <a:rPr lang="en-US" sz="1100" i="0" noProof="0" dirty="0">
                          <a:solidFill>
                            <a:schemeClr val="tx1"/>
                          </a:solidFill>
                          <a:latin typeface="+mn-lt"/>
                        </a:rPr>
                        <a:t>Type: Single Track Operation</a:t>
                      </a:r>
                    </a:p>
                    <a:p>
                      <a:pPr marL="171450" indent="-171450">
                        <a:buFont typeface="Arial" panose="020B0604020202020204" pitchFamily="34" charset="0"/>
                        <a:buChar char="•"/>
                      </a:pPr>
                      <a:r>
                        <a:rPr lang="en-US" sz="1100" i="0" noProof="0" dirty="0">
                          <a:solidFill>
                            <a:schemeClr val="tx1"/>
                          </a:solidFill>
                          <a:latin typeface="+mn-lt"/>
                        </a:rPr>
                        <a:t>Period:</a:t>
                      </a:r>
                      <a:r>
                        <a:rPr lang="cs-CZ" sz="1100" i="0" noProof="0" dirty="0">
                          <a:solidFill>
                            <a:schemeClr val="tx1"/>
                          </a:solidFill>
                          <a:latin typeface="+mn-lt"/>
                        </a:rPr>
                        <a:t>  16.05. - 30.05.2027</a:t>
                      </a:r>
                      <a:endParaRPr lang="en-US" sz="1100" i="0" noProof="0" dirty="0">
                        <a:solidFill>
                          <a:schemeClr val="tx1"/>
                        </a:solidFill>
                        <a:latin typeface="+mn-lt"/>
                      </a:endParaRPr>
                    </a:p>
                    <a:p>
                      <a:pPr marL="171450" indent="-171450">
                        <a:buFont typeface="Arial" panose="020B0604020202020204" pitchFamily="34" charset="0"/>
                        <a:buChar char="•"/>
                      </a:pPr>
                      <a:r>
                        <a:rPr lang="en-US" sz="1100" i="0" noProof="0" dirty="0">
                          <a:solidFill>
                            <a:schemeClr val="tx1"/>
                          </a:solidFill>
                          <a:latin typeface="+mn-lt"/>
                        </a:rPr>
                        <a:t>Type of works:</a:t>
                      </a:r>
                      <a:r>
                        <a:rPr lang="cs-CZ" sz="1100" i="0" noProof="0" dirty="0">
                          <a:solidFill>
                            <a:schemeClr val="tx1"/>
                          </a:solidFill>
                          <a:latin typeface="+mn-lt"/>
                        </a:rPr>
                        <a:t> </a:t>
                      </a:r>
                      <a:r>
                        <a:rPr lang="cs-CZ" sz="1100" i="0" noProof="0" dirty="0" err="1">
                          <a:solidFill>
                            <a:schemeClr val="tx1"/>
                          </a:solidFill>
                          <a:latin typeface="+mn-lt"/>
                        </a:rPr>
                        <a:t>repairs</a:t>
                      </a:r>
                      <a:r>
                        <a:rPr lang="cs-CZ" sz="1100" i="0" noProof="0" dirty="0">
                          <a:solidFill>
                            <a:schemeClr val="tx1"/>
                          </a:solidFill>
                          <a:latin typeface="+mn-lt"/>
                        </a:rPr>
                        <a:t> and </a:t>
                      </a:r>
                      <a:r>
                        <a:rPr lang="cs-CZ" sz="1100" i="0" noProof="0" dirty="0" err="1">
                          <a:solidFill>
                            <a:schemeClr val="tx1"/>
                          </a:solidFill>
                          <a:latin typeface="+mn-lt"/>
                        </a:rPr>
                        <a:t>maintenance</a:t>
                      </a:r>
                      <a:endParaRPr lang="en-US" sz="900" i="0" noProof="0" dirty="0">
                        <a:solidFill>
                          <a:schemeClr val="tx1"/>
                        </a:solidFill>
                        <a:highlight>
                          <a:srgbClr val="FFFF00"/>
                        </a:highlight>
                        <a:latin typeface="+mn-lt"/>
                      </a:endParaRPr>
                    </a:p>
                  </a:txBody>
                  <a:tcPr marL="84445" marR="84445" marT="42230" marB="422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5" name="Textfeld 18">
            <a:extLst>
              <a:ext uri="{FF2B5EF4-FFF2-40B4-BE49-F238E27FC236}">
                <a16:creationId xmlns:a16="http://schemas.microsoft.com/office/drawing/2014/main" id="{916CB9E6-CB8F-DA84-743E-0FA9BA8419F9}"/>
              </a:ext>
            </a:extLst>
          </p:cNvPr>
          <p:cNvSpPr txBox="1">
            <a:spLocks noChangeArrowheads="1"/>
          </p:cNvSpPr>
          <p:nvPr/>
        </p:nvSpPr>
        <p:spPr bwMode="auto">
          <a:xfrm>
            <a:off x="694859" y="1696156"/>
            <a:ext cx="3995094" cy="291298"/>
          </a:xfrm>
          <a:prstGeom prst="rect">
            <a:avLst/>
          </a:prstGeom>
          <a:solidFill>
            <a:srgbClr val="FFCC00"/>
          </a:solidFill>
          <a:ln w="9525">
            <a:solidFill>
              <a:srgbClr val="0066FF"/>
            </a:solidFill>
            <a:miter lim="800000"/>
            <a:headEnd/>
            <a:tailEnd/>
          </a:ln>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de-DE" altLang="fr-FR" sz="1293" b="1">
                <a:solidFill>
                  <a:prstClr val="black"/>
                </a:solidFill>
                <a:cs typeface="Arial" pitchFamily="34" charset="0"/>
              </a:rPr>
              <a:t>Map view</a:t>
            </a:r>
          </a:p>
        </p:txBody>
      </p:sp>
      <p:sp>
        <p:nvSpPr>
          <p:cNvPr id="6" name="Rechteck 20">
            <a:extLst>
              <a:ext uri="{FF2B5EF4-FFF2-40B4-BE49-F238E27FC236}">
                <a16:creationId xmlns:a16="http://schemas.microsoft.com/office/drawing/2014/main" id="{BC07730D-129D-0DC0-F314-23C965A7BB77}"/>
              </a:ext>
            </a:extLst>
          </p:cNvPr>
          <p:cNvSpPr>
            <a:spLocks noChangeArrowheads="1"/>
          </p:cNvSpPr>
          <p:nvPr/>
        </p:nvSpPr>
        <p:spPr bwMode="auto">
          <a:xfrm>
            <a:off x="694859" y="1964452"/>
            <a:ext cx="3995094" cy="2476225"/>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fontAlgn="base">
              <a:spcBef>
                <a:spcPct val="50000"/>
              </a:spcBef>
              <a:spcAft>
                <a:spcPct val="0"/>
              </a:spcAft>
              <a:buFontTx/>
              <a:buNone/>
            </a:pPr>
            <a:endParaRPr lang="de-DE" altLang="fr-FR" sz="1108" b="1">
              <a:solidFill>
                <a:prstClr val="black"/>
              </a:solidFill>
              <a:latin typeface="DB Office" pitchFamily="34" charset="0"/>
              <a:cs typeface="Arial" pitchFamily="34" charset="0"/>
            </a:endParaRPr>
          </a:p>
        </p:txBody>
      </p:sp>
      <p:graphicFrame>
        <p:nvGraphicFramePr>
          <p:cNvPr id="9" name="Inhaltsplatzhalter 8">
            <a:extLst>
              <a:ext uri="{FF2B5EF4-FFF2-40B4-BE49-F238E27FC236}">
                <a16:creationId xmlns:a16="http://schemas.microsoft.com/office/drawing/2014/main" id="{7DC7C43C-40E8-ED6F-5B38-976AF5542F3C}"/>
              </a:ext>
            </a:extLst>
          </p:cNvPr>
          <p:cNvGraphicFramePr>
            <a:graphicFrameLocks/>
          </p:cNvGraphicFramePr>
          <p:nvPr/>
        </p:nvGraphicFramePr>
        <p:xfrm>
          <a:off x="693912" y="4455296"/>
          <a:ext cx="3990704" cy="1834079"/>
        </p:xfrm>
        <a:graphic>
          <a:graphicData uri="http://schemas.openxmlformats.org/drawingml/2006/table">
            <a:tbl>
              <a:tblPr firstRow="1" bandRow="1">
                <a:tableStyleId>{5C22544A-7EE6-4342-B048-85BDC9FD1C3A}</a:tableStyleId>
              </a:tblPr>
              <a:tblGrid>
                <a:gridCol w="3990704">
                  <a:extLst>
                    <a:ext uri="{9D8B030D-6E8A-4147-A177-3AD203B41FA5}">
                      <a16:colId xmlns:a16="http://schemas.microsoft.com/office/drawing/2014/main" val="20000"/>
                    </a:ext>
                  </a:extLst>
                </a:gridCol>
              </a:tblGrid>
              <a:tr h="398905">
                <a:tc>
                  <a:txBody>
                    <a:bodyPr/>
                    <a:lstStyle/>
                    <a:p>
                      <a:pPr algn="l"/>
                      <a:r>
                        <a:rPr lang="en-US" sz="1300" noProof="0" dirty="0">
                          <a:solidFill>
                            <a:schemeClr val="tx1"/>
                          </a:solidFill>
                          <a:latin typeface="+mn-lt"/>
                        </a:rPr>
                        <a:t>Impact on</a:t>
                      </a:r>
                      <a:r>
                        <a:rPr lang="en-US" sz="1300" baseline="0" noProof="0" dirty="0">
                          <a:solidFill>
                            <a:schemeClr val="tx1"/>
                          </a:solidFill>
                          <a:latin typeface="+mn-lt"/>
                        </a:rPr>
                        <a:t> </a:t>
                      </a:r>
                      <a:r>
                        <a:rPr lang="en-US" sz="1300" noProof="0" dirty="0">
                          <a:solidFill>
                            <a:schemeClr val="tx1"/>
                          </a:solidFill>
                          <a:latin typeface="+mn-lt"/>
                        </a:rPr>
                        <a:t>International Rail Freight </a:t>
                      </a:r>
                    </a:p>
                  </a:txBody>
                  <a:tcPr marL="84437" marR="84437" marT="42212" marB="422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CC00"/>
                    </a:solidFill>
                  </a:tcPr>
                </a:tc>
                <a:extLst>
                  <a:ext uri="{0D108BD9-81ED-4DB2-BD59-A6C34878D82A}">
                    <a16:rowId xmlns:a16="http://schemas.microsoft.com/office/drawing/2014/main" val="10000"/>
                  </a:ext>
                </a:extLst>
              </a:tr>
              <a:tr h="1435174">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dirty="0">
                          <a:solidFill>
                            <a:schemeClr val="tx1"/>
                          </a:solidFill>
                          <a:latin typeface="+mn-lt"/>
                          <a:ea typeface="+mn-ea"/>
                          <a:cs typeface="+mn-cs"/>
                        </a:rPr>
                        <a:t>Cancellations: </a:t>
                      </a:r>
                      <a:r>
                        <a:rPr lang="cs-CZ" sz="1200" i="0" kern="1200" noProof="0" dirty="0">
                          <a:solidFill>
                            <a:schemeClr val="tx1"/>
                          </a:solidFill>
                          <a:latin typeface="+mn-lt"/>
                          <a:ea typeface="+mn-ea"/>
                          <a:cs typeface="+mn-cs"/>
                        </a:rPr>
                        <a:t>No</a:t>
                      </a:r>
                      <a:endParaRPr lang="en-US" sz="1200" i="0" kern="1200" noProof="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dirty="0">
                          <a:solidFill>
                            <a:schemeClr val="tx1"/>
                          </a:solidFill>
                          <a:latin typeface="+mn-lt"/>
                          <a:ea typeface="+mn-ea"/>
                          <a:cs typeface="+mn-cs"/>
                        </a:rPr>
                        <a:t>Deviations: </a:t>
                      </a:r>
                      <a:r>
                        <a:rPr lang="cs-CZ" sz="1200" i="0" kern="1200" noProof="0" dirty="0">
                          <a:solidFill>
                            <a:schemeClr val="tx1"/>
                          </a:solidFill>
                          <a:latin typeface="+mn-lt"/>
                          <a:ea typeface="+mn-ea"/>
                          <a:cs typeface="+mn-cs"/>
                        </a:rPr>
                        <a:t>No</a:t>
                      </a:r>
                      <a:endParaRPr lang="en-US" sz="1200" i="0" kern="1200" noProof="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dirty="0">
                          <a:solidFill>
                            <a:schemeClr val="tx1"/>
                          </a:solidFill>
                          <a:latin typeface="+mn-lt"/>
                          <a:ea typeface="+mn-ea"/>
                          <a:cs typeface="+mn-cs"/>
                        </a:rPr>
                        <a:t>Estimated extra running time:</a:t>
                      </a:r>
                      <a:r>
                        <a:rPr lang="cs-CZ" sz="1200" i="0" kern="1200" noProof="0" dirty="0">
                          <a:solidFill>
                            <a:schemeClr val="tx1"/>
                          </a:solidFill>
                          <a:latin typeface="+mn-lt"/>
                          <a:ea typeface="+mn-ea"/>
                          <a:cs typeface="+mn-cs"/>
                        </a:rPr>
                        <a:t> </a:t>
                      </a:r>
                      <a:r>
                        <a:rPr lang="en-US" sz="1200" i="0" kern="1200" noProof="0" dirty="0">
                          <a:solidFill>
                            <a:schemeClr val="tx1"/>
                          </a:solidFill>
                          <a:latin typeface="+mn-lt"/>
                          <a:ea typeface="+mn-ea"/>
                          <a:cs typeface="+mn-cs"/>
                        </a:rPr>
                        <a:t>delay of freight trains approx. 30 - 60 minu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dirty="0">
                          <a:solidFill>
                            <a:schemeClr val="tx1"/>
                          </a:solidFill>
                          <a:latin typeface="+mn-lt"/>
                          <a:ea typeface="+mn-ea"/>
                          <a:cs typeface="+mn-cs"/>
                        </a:rPr>
                        <a:t>In annual timetable: Yes</a:t>
                      </a:r>
                      <a:endParaRPr lang="en-US" sz="1100" i="0" noProof="0" dirty="0">
                        <a:solidFill>
                          <a:schemeClr val="tx1"/>
                        </a:solidFill>
                      </a:endParaRPr>
                    </a:p>
                  </a:txBody>
                  <a:tcPr marL="84437" marR="84437" marT="42212" marB="422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pic>
        <p:nvPicPr>
          <p:cNvPr id="7" name="Afbeelding 6">
            <a:extLst>
              <a:ext uri="{FF2B5EF4-FFF2-40B4-BE49-F238E27FC236}">
                <a16:creationId xmlns:a16="http://schemas.microsoft.com/office/drawing/2014/main" id="{BA098FAD-DD02-1501-E41F-89BE2BAF2141}"/>
              </a:ext>
            </a:extLst>
          </p:cNvPr>
          <p:cNvPicPr>
            <a:picLocks noChangeAspect="1"/>
          </p:cNvPicPr>
          <p:nvPr/>
        </p:nvPicPr>
        <p:blipFill>
          <a:blip r:embed="rId2"/>
          <a:stretch>
            <a:fillRect/>
          </a:stretch>
        </p:blipFill>
        <p:spPr>
          <a:xfrm>
            <a:off x="1251112" y="1917263"/>
            <a:ext cx="2876304" cy="2575752"/>
          </a:xfrm>
          <a:prstGeom prst="rect">
            <a:avLst/>
          </a:prstGeom>
        </p:spPr>
      </p:pic>
      <p:graphicFrame>
        <p:nvGraphicFramePr>
          <p:cNvPr id="11" name="Object 10">
            <a:extLst>
              <a:ext uri="{FF2B5EF4-FFF2-40B4-BE49-F238E27FC236}">
                <a16:creationId xmlns:a16="http://schemas.microsoft.com/office/drawing/2014/main" id="{78289307-5055-98C7-5C8B-7BDD446D9F51}"/>
              </a:ext>
            </a:extLst>
          </p:cNvPr>
          <p:cNvGraphicFramePr>
            <a:graphicFrameLocks noChangeAspect="1"/>
          </p:cNvGraphicFramePr>
          <p:nvPr>
            <p:extLst>
              <p:ext uri="{D42A27DB-BD31-4B8C-83A1-F6EECF244321}">
                <p14:modId xmlns:p14="http://schemas.microsoft.com/office/powerpoint/2010/main" val="3821348597"/>
              </p:ext>
            </p:extLst>
          </p:nvPr>
        </p:nvGraphicFramePr>
        <p:xfrm>
          <a:off x="5078077" y="3346008"/>
          <a:ext cx="4246991" cy="3097253"/>
        </p:xfrm>
        <a:graphic>
          <a:graphicData uri="http://schemas.openxmlformats.org/presentationml/2006/ole">
            <mc:AlternateContent xmlns:mc="http://schemas.openxmlformats.org/markup-compatibility/2006">
              <mc:Choice xmlns:v="urn:schemas-microsoft-com:vml" Requires="v">
                <p:oleObj name="Worksheet" r:id="rId3" imgW="11677650" imgH="8515350" progId="Excel.Sheet.12">
                  <p:embed/>
                </p:oleObj>
              </mc:Choice>
              <mc:Fallback>
                <p:oleObj name="Worksheet" r:id="rId3" imgW="11677650" imgH="8515350" progId="Excel.Sheet.12">
                  <p:embed/>
                  <p:pic>
                    <p:nvPicPr>
                      <p:cNvPr id="0" name=""/>
                      <p:cNvPicPr/>
                      <p:nvPr/>
                    </p:nvPicPr>
                    <p:blipFill>
                      <a:blip r:embed="rId4"/>
                      <a:stretch>
                        <a:fillRect/>
                      </a:stretch>
                    </p:blipFill>
                    <p:spPr>
                      <a:xfrm>
                        <a:off x="5078077" y="3346008"/>
                        <a:ext cx="4246991" cy="3097253"/>
                      </a:xfrm>
                      <a:prstGeom prst="rect">
                        <a:avLst/>
                      </a:prstGeom>
                      <a:ln w="9525">
                        <a:solidFill>
                          <a:schemeClr val="tx1"/>
                        </a:solidFill>
                      </a:ln>
                    </p:spPr>
                  </p:pic>
                </p:oleObj>
              </mc:Fallback>
            </mc:AlternateContent>
          </a:graphicData>
        </a:graphic>
      </p:graphicFrame>
    </p:spTree>
    <p:extLst>
      <p:ext uri="{BB962C8B-B14F-4D97-AF65-F5344CB8AC3E}">
        <p14:creationId xmlns:p14="http://schemas.microsoft.com/office/powerpoint/2010/main" val="3901637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34925" y="695325"/>
            <a:ext cx="9155728"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07763" dir="18900000" algn="ctr" rotWithShape="0">
                    <a:schemeClr val="bg2"/>
                  </a:outerShdw>
                </a:effectLst>
              </a14:hiddenEffects>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l" fontAlgn="base">
              <a:spcBef>
                <a:spcPct val="50000"/>
              </a:spcBef>
              <a:spcAft>
                <a:spcPct val="0"/>
              </a:spcAft>
              <a:buFontTx/>
              <a:buNone/>
            </a:pPr>
            <a:r>
              <a:rPr lang="en-GB" altLang="fr-FR" sz="2000" b="1">
                <a:solidFill>
                  <a:srgbClr val="000000"/>
                </a:solidFill>
                <a:cs typeface="Calibri" panose="020F0502020204030204" pitchFamily="34" charset="0"/>
              </a:rPr>
              <a:t>Impact of TCR TT 2027 at </a:t>
            </a:r>
            <a:r>
              <a:rPr lang="en-GB" altLang="fr-FR" sz="2000" b="1">
                <a:solidFill>
                  <a:prstClr val="black"/>
                </a:solidFill>
                <a:cs typeface="Calibri" panose="020F0502020204030204" pitchFamily="34" charset="0"/>
              </a:rPr>
              <a:t>DB InfraGO</a:t>
            </a:r>
          </a:p>
          <a:p>
            <a:pPr algn="l" fontAlgn="base">
              <a:spcBef>
                <a:spcPct val="50000"/>
              </a:spcBef>
              <a:spcAft>
                <a:spcPct val="0"/>
              </a:spcAft>
              <a:buFontTx/>
              <a:buNone/>
            </a:pPr>
            <a:r>
              <a:rPr lang="en-GB" altLang="fr-FR" sz="2000" b="1">
                <a:solidFill>
                  <a:srgbClr val="000000"/>
                </a:solidFill>
                <a:cs typeface="Calibri" panose="020F0502020204030204" pitchFamily="34" charset="0"/>
              </a:rPr>
              <a:t>Bremen - Oldenburg</a:t>
            </a:r>
          </a:p>
        </p:txBody>
      </p:sp>
      <p:graphicFrame>
        <p:nvGraphicFramePr>
          <p:cNvPr id="3" name="Inhaltsplatzhalter 8"/>
          <p:cNvGraphicFramePr>
            <a:graphicFrameLocks/>
          </p:cNvGraphicFramePr>
          <p:nvPr>
            <p:extLst>
              <p:ext uri="{D42A27DB-BD31-4B8C-83A1-F6EECF244321}">
                <p14:modId xmlns:p14="http://schemas.microsoft.com/office/powerpoint/2010/main" val="3982142866"/>
              </p:ext>
            </p:extLst>
          </p:nvPr>
        </p:nvGraphicFramePr>
        <p:xfrm>
          <a:off x="4945711" y="1552655"/>
          <a:ext cx="4613098" cy="1724025"/>
        </p:xfrm>
        <a:graphic>
          <a:graphicData uri="http://schemas.openxmlformats.org/drawingml/2006/table">
            <a:tbl>
              <a:tblPr firstRow="1" bandRow="1">
                <a:tableStyleId>{5C22544A-7EE6-4342-B048-85BDC9FD1C3A}</a:tableStyleId>
              </a:tblPr>
              <a:tblGrid>
                <a:gridCol w="4613098">
                  <a:extLst>
                    <a:ext uri="{9D8B030D-6E8A-4147-A177-3AD203B41FA5}">
                      <a16:colId xmlns:a16="http://schemas.microsoft.com/office/drawing/2014/main" val="20000"/>
                    </a:ext>
                  </a:extLst>
                </a:gridCol>
              </a:tblGrid>
              <a:tr h="412366">
                <a:tc>
                  <a:txBody>
                    <a:bodyPr/>
                    <a:lstStyle/>
                    <a:p>
                      <a:pPr algn="l"/>
                      <a:r>
                        <a:rPr lang="en-US" sz="1000" i="0" noProof="0">
                          <a:solidFill>
                            <a:schemeClr val="tx1"/>
                          </a:solidFill>
                          <a:latin typeface="+mn-lt"/>
                        </a:rPr>
                        <a:t>Major Capacity</a:t>
                      </a:r>
                      <a:r>
                        <a:rPr lang="en-US" sz="1000" i="0" baseline="0" noProof="0">
                          <a:solidFill>
                            <a:schemeClr val="tx1"/>
                          </a:solidFill>
                          <a:latin typeface="+mn-lt"/>
                        </a:rPr>
                        <a:t> Restriction</a:t>
                      </a:r>
                      <a:endParaRPr lang="en-US" sz="1000" i="0" noProof="0">
                        <a:solidFill>
                          <a:schemeClr val="tx1"/>
                        </a:solidFill>
                        <a:latin typeface="+mn-lt"/>
                      </a:endParaRPr>
                    </a:p>
                  </a:txBody>
                  <a:tcPr marL="91438" marR="91438" marT="45727" marB="4572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10000"/>
                  </a:ext>
                </a:extLst>
              </a:tr>
              <a:tr h="1311659">
                <a:tc>
                  <a:txBody>
                    <a:bodyPr/>
                    <a:lstStyle/>
                    <a:p>
                      <a:pPr marL="171450" indent="-171450" algn="l" defTabSz="914400" rtl="0" eaLnBrk="1" latinLnBrk="0" hangingPunct="1">
                        <a:buFont typeface="Arial" panose="020B0604020202020204" pitchFamily="34" charset="0"/>
                        <a:buChar char="•"/>
                      </a:pPr>
                      <a:r>
                        <a:rPr lang="en-US" sz="1100" i="0" kern="1200" noProof="0">
                          <a:solidFill>
                            <a:schemeClr val="tx1"/>
                          </a:solidFill>
                          <a:latin typeface="+mn-lt"/>
                          <a:ea typeface="+mn-ea"/>
                          <a:cs typeface="+mn-cs"/>
                        </a:rPr>
                        <a:t>Location: Bremen – Oldenburg (VZG 1500)</a:t>
                      </a:r>
                    </a:p>
                    <a:p>
                      <a:pPr marL="171450" indent="-171450" algn="l" defTabSz="914400" rtl="0" eaLnBrk="1" latinLnBrk="0" hangingPunct="1">
                        <a:buFont typeface="Arial" panose="020B0604020202020204" pitchFamily="34" charset="0"/>
                        <a:buChar char="•"/>
                      </a:pPr>
                      <a:r>
                        <a:rPr lang="en-US" sz="1100" i="0" kern="1200" noProof="0">
                          <a:solidFill>
                            <a:schemeClr val="tx1"/>
                          </a:solidFill>
                          <a:latin typeface="+mn-lt"/>
                          <a:ea typeface="+mn-ea"/>
                          <a:cs typeface="+mn-cs"/>
                        </a:rPr>
                        <a:t>Type: Single Closure</a:t>
                      </a:r>
                    </a:p>
                    <a:p>
                      <a:pPr marL="171450" indent="-171450" algn="l" defTabSz="914400" rtl="0" eaLnBrk="1" latinLnBrk="0" hangingPunct="1">
                        <a:buFont typeface="Arial" panose="020B0604020202020204" pitchFamily="34" charset="0"/>
                        <a:buChar char="•"/>
                      </a:pPr>
                      <a:r>
                        <a:rPr lang="en-US" sz="1100" i="0" kern="1200" noProof="0">
                          <a:solidFill>
                            <a:schemeClr val="tx1"/>
                          </a:solidFill>
                          <a:latin typeface="+mn-lt"/>
                          <a:ea typeface="+mn-ea"/>
                          <a:cs typeface="+mn-cs"/>
                        </a:rPr>
                        <a:t>Period: 15.10. – 10.12.2027</a:t>
                      </a:r>
                    </a:p>
                    <a:p>
                      <a:pPr marL="171450" indent="-171450" algn="l" defTabSz="914400" rtl="0" eaLnBrk="1" latinLnBrk="0" hangingPunct="1">
                        <a:buFont typeface="Arial" panose="020B0604020202020204" pitchFamily="34" charset="0"/>
                        <a:buChar char="•"/>
                      </a:pPr>
                      <a:r>
                        <a:rPr lang="en-US" sz="1100" i="0" kern="1200" noProof="0">
                          <a:solidFill>
                            <a:schemeClr val="tx1"/>
                          </a:solidFill>
                          <a:latin typeface="+mn-lt"/>
                          <a:ea typeface="+mn-ea"/>
                          <a:cs typeface="+mn-cs"/>
                        </a:rPr>
                        <a:t>Type of works: Maintaining route availability and increasing capacity</a:t>
                      </a:r>
                      <a:endParaRPr lang="de-DE" sz="1000" i="0" kern="1200">
                        <a:solidFill>
                          <a:schemeClr val="tx1"/>
                        </a:solidFill>
                        <a:latin typeface="+mn-lt"/>
                        <a:ea typeface="+mn-ea"/>
                        <a:cs typeface="+mn-cs"/>
                      </a:endParaRPr>
                    </a:p>
                    <a:p>
                      <a:pPr marL="0" indent="0" algn="l" defTabSz="914400" rtl="0" eaLnBrk="1" latinLnBrk="0" hangingPunct="1">
                        <a:buFont typeface="Arial" panose="020B0604020202020204" pitchFamily="34" charset="0"/>
                        <a:buNone/>
                      </a:pPr>
                      <a:endParaRPr lang="en-US" sz="1000" i="0" kern="1200" noProof="0">
                        <a:solidFill>
                          <a:schemeClr val="tx1"/>
                        </a:solidFill>
                        <a:latin typeface="+mn-lt"/>
                        <a:ea typeface="+mn-ea"/>
                        <a:cs typeface="+mn-cs"/>
                      </a:endParaRPr>
                    </a:p>
                  </a:txBody>
                  <a:tcPr marL="91438" marR="91438" marT="45727" marB="4572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5" name="Textfeld 18"/>
          <p:cNvSpPr txBox="1">
            <a:spLocks noChangeArrowheads="1"/>
          </p:cNvSpPr>
          <p:nvPr/>
        </p:nvSpPr>
        <p:spPr bwMode="auto">
          <a:xfrm>
            <a:off x="342429" y="1552655"/>
            <a:ext cx="4325938" cy="307975"/>
          </a:xfrm>
          <a:prstGeom prst="rect">
            <a:avLst/>
          </a:prstGeom>
          <a:solidFill>
            <a:srgbClr val="FFCC00"/>
          </a:solidFill>
          <a:ln w="9525">
            <a:solidFill>
              <a:srgbClr val="0066FF"/>
            </a:solidFill>
            <a:miter lim="800000"/>
            <a:headEnd/>
            <a:tailEnd/>
          </a:ln>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de-DE" altLang="fr-FR" sz="1400" b="1">
                <a:solidFill>
                  <a:prstClr val="black"/>
                </a:solidFill>
                <a:cs typeface="Arial" pitchFamily="34" charset="0"/>
              </a:rPr>
              <a:t>Map view</a:t>
            </a:r>
          </a:p>
        </p:txBody>
      </p:sp>
      <p:sp>
        <p:nvSpPr>
          <p:cNvPr id="6" name="Rechteck 20"/>
          <p:cNvSpPr>
            <a:spLocks noChangeArrowheads="1"/>
          </p:cNvSpPr>
          <p:nvPr/>
        </p:nvSpPr>
        <p:spPr bwMode="auto">
          <a:xfrm>
            <a:off x="342429" y="1843168"/>
            <a:ext cx="4325938" cy="2681287"/>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fontAlgn="base">
              <a:spcBef>
                <a:spcPct val="50000"/>
              </a:spcBef>
              <a:spcAft>
                <a:spcPct val="0"/>
              </a:spcAft>
              <a:buFontTx/>
              <a:buNone/>
            </a:pPr>
            <a:endParaRPr lang="de-DE" altLang="fr-FR" sz="1200" b="1">
              <a:solidFill>
                <a:prstClr val="black"/>
              </a:solidFill>
              <a:latin typeface="DB Office" pitchFamily="34" charset="0"/>
              <a:cs typeface="Arial" pitchFamily="34" charset="0"/>
            </a:endParaRPr>
          </a:p>
        </p:txBody>
      </p:sp>
      <p:graphicFrame>
        <p:nvGraphicFramePr>
          <p:cNvPr id="9" name="Inhaltsplatzhalter 8">
            <a:extLst>
              <a:ext uri="{FF2B5EF4-FFF2-40B4-BE49-F238E27FC236}">
                <a16:creationId xmlns:a16="http://schemas.microsoft.com/office/drawing/2014/main" id="{5C5543BE-AD15-4112-A86E-9187FDBF0E25}"/>
              </a:ext>
            </a:extLst>
          </p:cNvPr>
          <p:cNvGraphicFramePr>
            <a:graphicFrameLocks/>
          </p:cNvGraphicFramePr>
          <p:nvPr>
            <p:extLst>
              <p:ext uri="{D42A27DB-BD31-4B8C-83A1-F6EECF244321}">
                <p14:modId xmlns:p14="http://schemas.microsoft.com/office/powerpoint/2010/main" val="722688990"/>
              </p:ext>
            </p:extLst>
          </p:nvPr>
        </p:nvGraphicFramePr>
        <p:xfrm>
          <a:off x="341403" y="4540285"/>
          <a:ext cx="4321184" cy="1902150"/>
        </p:xfrm>
        <a:graphic>
          <a:graphicData uri="http://schemas.openxmlformats.org/drawingml/2006/table">
            <a:tbl>
              <a:tblPr firstRow="1" bandRow="1">
                <a:tableStyleId>{5C22544A-7EE6-4342-B048-85BDC9FD1C3A}</a:tableStyleId>
              </a:tblPr>
              <a:tblGrid>
                <a:gridCol w="4321184">
                  <a:extLst>
                    <a:ext uri="{9D8B030D-6E8A-4147-A177-3AD203B41FA5}">
                      <a16:colId xmlns:a16="http://schemas.microsoft.com/office/drawing/2014/main" val="20000"/>
                    </a:ext>
                  </a:extLst>
                </a:gridCol>
              </a:tblGrid>
              <a:tr h="413710">
                <a:tc>
                  <a:txBody>
                    <a:bodyPr/>
                    <a:lstStyle/>
                    <a:p>
                      <a:pPr algn="l"/>
                      <a:r>
                        <a:rPr lang="en-US" sz="1400" noProof="0">
                          <a:solidFill>
                            <a:schemeClr val="tx1"/>
                          </a:solidFill>
                          <a:latin typeface="+mn-lt"/>
                        </a:rPr>
                        <a:t>Impact on</a:t>
                      </a:r>
                      <a:r>
                        <a:rPr lang="en-US" sz="1400" baseline="0" noProof="0">
                          <a:solidFill>
                            <a:schemeClr val="tx1"/>
                          </a:solidFill>
                          <a:latin typeface="+mn-lt"/>
                        </a:rPr>
                        <a:t> </a:t>
                      </a:r>
                      <a:r>
                        <a:rPr lang="en-US" sz="1400" noProof="0">
                          <a:solidFill>
                            <a:schemeClr val="tx1"/>
                          </a:solidFill>
                          <a:latin typeface="+mn-lt"/>
                        </a:rPr>
                        <a:t>International Rail Freight </a:t>
                      </a:r>
                    </a:p>
                  </a:txBody>
                  <a:tcPr marL="91429" marR="91429"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CC00"/>
                    </a:solidFill>
                  </a:tcPr>
                </a:tc>
                <a:extLst>
                  <a:ext uri="{0D108BD9-81ED-4DB2-BD59-A6C34878D82A}">
                    <a16:rowId xmlns:a16="http://schemas.microsoft.com/office/drawing/2014/main" val="10000"/>
                  </a:ext>
                </a:extLst>
              </a:tr>
              <a:tr h="148844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mn-lt"/>
                          <a:ea typeface="+mn-ea"/>
                          <a:cs typeface="+mn-cs"/>
                        </a:rPr>
                        <a:t>Cancellations: Y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mn-lt"/>
                          <a:ea typeface="+mn-ea"/>
                          <a:cs typeface="+mn-cs"/>
                        </a:rPr>
                        <a:t>Deviations: Y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mn-lt"/>
                          <a:ea typeface="+mn-ea"/>
                          <a:cs typeface="+mn-cs"/>
                        </a:rPr>
                        <a:t>Estimated extra running time: </a:t>
                      </a:r>
                      <a:r>
                        <a:rPr kumimoji="0" lang="nl-NL" sz="1100" b="0" i="0" u="none" strike="noStrike" kern="1200" cap="none" spc="0" normalizeH="0" baseline="0" noProof="0">
                          <a:ln>
                            <a:noFill/>
                          </a:ln>
                          <a:solidFill>
                            <a:prstClr val="black"/>
                          </a:solidFill>
                          <a:effectLst/>
                          <a:uLnTx/>
                          <a:uFillTx/>
                          <a:latin typeface="+mn-lt"/>
                          <a:ea typeface="+mn-ea"/>
                          <a:cs typeface="+mn-cs"/>
                        </a:rPr>
                        <a:t>Detailed information on extra running time is </a:t>
                      </a:r>
                      <a:r>
                        <a:rPr kumimoji="0" lang="nl-NL" sz="1050" b="0" i="0" u="none" strike="noStrike" kern="1200" cap="none" spc="0" normalizeH="0" baseline="0" noProof="0">
                          <a:ln>
                            <a:noFill/>
                          </a:ln>
                          <a:solidFill>
                            <a:prstClr val="black"/>
                          </a:solidFill>
                          <a:effectLst/>
                          <a:uLnTx/>
                          <a:uFillTx/>
                          <a:latin typeface="+mn-lt"/>
                          <a:ea typeface="+mn-ea"/>
                          <a:cs typeface="+mn-cs"/>
                        </a:rPr>
                        <a:t>distributed</a:t>
                      </a:r>
                      <a:r>
                        <a:rPr kumimoji="0" lang="nl-NL" sz="1100" b="0" i="0" u="none" strike="noStrike" kern="1200" cap="none" spc="0" normalizeH="0" baseline="0" noProof="0">
                          <a:ln>
                            <a:noFill/>
                          </a:ln>
                          <a:solidFill>
                            <a:prstClr val="black"/>
                          </a:solidFill>
                          <a:effectLst/>
                          <a:uLnTx/>
                          <a:uFillTx/>
                          <a:latin typeface="+mn-lt"/>
                          <a:ea typeface="+mn-ea"/>
                          <a:cs typeface="+mn-cs"/>
                        </a:rPr>
                        <a:t> by DB Netz individually for every customer for each affected train. Additionally DB Netz offers train path advice free of charge</a:t>
                      </a:r>
                      <a:endParaRPr kumimoji="0" lang="en-US" sz="1100" b="0" i="0" u="none" strike="noStrike" kern="1200" cap="none" spc="0" normalizeH="0" baseline="0" noProof="0">
                        <a:ln>
                          <a:noFill/>
                        </a:ln>
                        <a:solidFill>
                          <a:prstClr val="black"/>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mn-lt"/>
                          <a:ea typeface="+mn-ea"/>
                          <a:cs typeface="+mn-cs"/>
                        </a:rPr>
                        <a:t>In annual timetable: </a:t>
                      </a:r>
                      <a:r>
                        <a:rPr kumimoji="0" lang="en-US" sz="1100" b="0" i="0" u="none" strike="noStrike" kern="1200" cap="none" spc="0" normalizeH="0" baseline="0" noProof="0" err="1">
                          <a:ln>
                            <a:noFill/>
                          </a:ln>
                          <a:solidFill>
                            <a:prstClr val="black"/>
                          </a:solidFill>
                          <a:effectLst/>
                          <a:uLnTx/>
                          <a:uFillTx/>
                          <a:latin typeface="+mn-lt"/>
                          <a:ea typeface="+mn-ea"/>
                          <a:cs typeface="+mn-cs"/>
                        </a:rPr>
                        <a:t>tbd</a:t>
                      </a:r>
                      <a:endParaRPr kumimoji="0" lang="en-US" sz="1050" b="0" i="0" u="none" strike="noStrike" kern="1200" cap="none" spc="0" normalizeH="0" baseline="0" noProof="0">
                        <a:ln>
                          <a:noFill/>
                        </a:ln>
                        <a:solidFill>
                          <a:prstClr val="black"/>
                        </a:solidFill>
                        <a:effectLst/>
                        <a:uLnTx/>
                        <a:uFillTx/>
                        <a:latin typeface="+mn-lt"/>
                        <a:ea typeface="+mn-ea"/>
                        <a:cs typeface="+mn-cs"/>
                      </a:endParaRPr>
                    </a:p>
                  </a:txBody>
                  <a:tcPr marL="91429" marR="91429"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pic>
        <p:nvPicPr>
          <p:cNvPr id="8" name="Afbeelding 7">
            <a:extLst>
              <a:ext uri="{FF2B5EF4-FFF2-40B4-BE49-F238E27FC236}">
                <a16:creationId xmlns:a16="http://schemas.microsoft.com/office/drawing/2014/main" id="{B6594AAA-C01E-BA5A-C058-A12A45E84C72}"/>
              </a:ext>
            </a:extLst>
          </p:cNvPr>
          <p:cNvPicPr>
            <a:picLocks noChangeAspect="1"/>
          </p:cNvPicPr>
          <p:nvPr/>
        </p:nvPicPr>
        <p:blipFill>
          <a:blip r:embed="rId2"/>
          <a:stretch>
            <a:fillRect/>
          </a:stretch>
        </p:blipFill>
        <p:spPr>
          <a:xfrm>
            <a:off x="617279" y="1949073"/>
            <a:ext cx="3860853" cy="2503864"/>
          </a:xfrm>
          <a:prstGeom prst="rect">
            <a:avLst/>
          </a:prstGeom>
        </p:spPr>
      </p:pic>
      <p:graphicFrame>
        <p:nvGraphicFramePr>
          <p:cNvPr id="10" name="Object 9">
            <a:extLst>
              <a:ext uri="{FF2B5EF4-FFF2-40B4-BE49-F238E27FC236}">
                <a16:creationId xmlns:a16="http://schemas.microsoft.com/office/drawing/2014/main" id="{A3D3697D-17C1-DE20-A95B-5D1B74778FCD}"/>
              </a:ext>
            </a:extLst>
          </p:cNvPr>
          <p:cNvGraphicFramePr>
            <a:graphicFrameLocks noChangeAspect="1"/>
          </p:cNvGraphicFramePr>
          <p:nvPr>
            <p:extLst>
              <p:ext uri="{D42A27DB-BD31-4B8C-83A1-F6EECF244321}">
                <p14:modId xmlns:p14="http://schemas.microsoft.com/office/powerpoint/2010/main" val="2774340638"/>
              </p:ext>
            </p:extLst>
          </p:nvPr>
        </p:nvGraphicFramePr>
        <p:xfrm>
          <a:off x="5048142" y="3227589"/>
          <a:ext cx="4408235" cy="3214846"/>
        </p:xfrm>
        <a:graphic>
          <a:graphicData uri="http://schemas.openxmlformats.org/presentationml/2006/ole">
            <mc:AlternateContent xmlns:mc="http://schemas.openxmlformats.org/markup-compatibility/2006">
              <mc:Choice xmlns:v="urn:schemas-microsoft-com:vml" Requires="v">
                <p:oleObj name="Worksheet" r:id="rId3" imgW="11677650" imgH="8515350" progId="Excel.Sheet.12">
                  <p:embed/>
                </p:oleObj>
              </mc:Choice>
              <mc:Fallback>
                <p:oleObj name="Worksheet" r:id="rId3" imgW="11677650" imgH="8515350" progId="Excel.Sheet.12">
                  <p:embed/>
                  <p:pic>
                    <p:nvPicPr>
                      <p:cNvPr id="0" name=""/>
                      <p:cNvPicPr/>
                      <p:nvPr/>
                    </p:nvPicPr>
                    <p:blipFill>
                      <a:blip r:embed="rId4"/>
                      <a:stretch>
                        <a:fillRect/>
                      </a:stretch>
                    </p:blipFill>
                    <p:spPr>
                      <a:xfrm>
                        <a:off x="5048142" y="3227589"/>
                        <a:ext cx="4408235" cy="3214846"/>
                      </a:xfrm>
                      <a:prstGeom prst="rect">
                        <a:avLst/>
                      </a:prstGeom>
                      <a:ln w="9525">
                        <a:solidFill>
                          <a:schemeClr val="tx1"/>
                        </a:solidFill>
                      </a:ln>
                    </p:spPr>
                  </p:pic>
                </p:oleObj>
              </mc:Fallback>
            </mc:AlternateContent>
          </a:graphicData>
        </a:graphic>
      </p:graphicFrame>
    </p:spTree>
    <p:extLst>
      <p:ext uri="{BB962C8B-B14F-4D97-AF65-F5344CB8AC3E}">
        <p14:creationId xmlns:p14="http://schemas.microsoft.com/office/powerpoint/2010/main" val="34553695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34925" y="695325"/>
            <a:ext cx="9155728"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07763" dir="18900000" algn="ctr" rotWithShape="0">
                    <a:schemeClr val="bg2"/>
                  </a:outerShdw>
                </a:effectLst>
              </a14:hiddenEffects>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l" fontAlgn="base">
              <a:spcBef>
                <a:spcPct val="50000"/>
              </a:spcBef>
              <a:spcAft>
                <a:spcPct val="0"/>
              </a:spcAft>
              <a:buFontTx/>
              <a:buNone/>
            </a:pPr>
            <a:r>
              <a:rPr lang="en-GB" altLang="fr-FR" sz="2000" b="1">
                <a:solidFill>
                  <a:srgbClr val="000000"/>
                </a:solidFill>
                <a:cs typeface="Calibri" panose="020F0502020204030204" pitchFamily="34" charset="0"/>
              </a:rPr>
              <a:t>Impact of TCR TT 2027 at </a:t>
            </a:r>
            <a:r>
              <a:rPr lang="en-GB" altLang="fr-FR" sz="2000" b="1">
                <a:solidFill>
                  <a:prstClr val="black"/>
                </a:solidFill>
                <a:cs typeface="Calibri" panose="020F0502020204030204" pitchFamily="34" charset="0"/>
              </a:rPr>
              <a:t>DB InfraGO</a:t>
            </a:r>
          </a:p>
          <a:p>
            <a:pPr algn="l" fontAlgn="base">
              <a:spcBef>
                <a:spcPct val="50000"/>
              </a:spcBef>
              <a:spcAft>
                <a:spcPct val="0"/>
              </a:spcAft>
              <a:buFontTx/>
              <a:buNone/>
            </a:pPr>
            <a:r>
              <a:rPr lang="en-GB" altLang="fr-FR" sz="2000" b="1">
                <a:solidFill>
                  <a:srgbClr val="000000"/>
                </a:solidFill>
                <a:cs typeface="Calibri" panose="020F0502020204030204" pitchFamily="34" charset="0"/>
              </a:rPr>
              <a:t>Osnabrück - Rheine</a:t>
            </a:r>
          </a:p>
        </p:txBody>
      </p:sp>
      <p:graphicFrame>
        <p:nvGraphicFramePr>
          <p:cNvPr id="3" name="Inhaltsplatzhalter 8"/>
          <p:cNvGraphicFramePr>
            <a:graphicFrameLocks/>
          </p:cNvGraphicFramePr>
          <p:nvPr>
            <p:extLst>
              <p:ext uri="{D42A27DB-BD31-4B8C-83A1-F6EECF244321}">
                <p14:modId xmlns:p14="http://schemas.microsoft.com/office/powerpoint/2010/main" val="2342853176"/>
              </p:ext>
            </p:extLst>
          </p:nvPr>
        </p:nvGraphicFramePr>
        <p:xfrm>
          <a:off x="4945711" y="1552655"/>
          <a:ext cx="4613098" cy="1814460"/>
        </p:xfrm>
        <a:graphic>
          <a:graphicData uri="http://schemas.openxmlformats.org/drawingml/2006/table">
            <a:tbl>
              <a:tblPr firstRow="1" bandRow="1">
                <a:tableStyleId>{5C22544A-7EE6-4342-B048-85BDC9FD1C3A}</a:tableStyleId>
              </a:tblPr>
              <a:tblGrid>
                <a:gridCol w="4613098">
                  <a:extLst>
                    <a:ext uri="{9D8B030D-6E8A-4147-A177-3AD203B41FA5}">
                      <a16:colId xmlns:a16="http://schemas.microsoft.com/office/drawing/2014/main" val="20000"/>
                    </a:ext>
                  </a:extLst>
                </a:gridCol>
              </a:tblGrid>
              <a:tr h="412366">
                <a:tc>
                  <a:txBody>
                    <a:bodyPr/>
                    <a:lstStyle/>
                    <a:p>
                      <a:pPr algn="l"/>
                      <a:r>
                        <a:rPr lang="en-US" sz="1000" i="0" noProof="0">
                          <a:solidFill>
                            <a:schemeClr val="tx1"/>
                          </a:solidFill>
                          <a:latin typeface="+mn-lt"/>
                        </a:rPr>
                        <a:t>Major Capacity</a:t>
                      </a:r>
                      <a:r>
                        <a:rPr lang="en-US" sz="1000" i="0" baseline="0" noProof="0">
                          <a:solidFill>
                            <a:schemeClr val="tx1"/>
                          </a:solidFill>
                          <a:latin typeface="+mn-lt"/>
                        </a:rPr>
                        <a:t> Restriction</a:t>
                      </a:r>
                      <a:endParaRPr lang="en-US" sz="1000" i="0" noProof="0">
                        <a:solidFill>
                          <a:schemeClr val="tx1"/>
                        </a:solidFill>
                        <a:latin typeface="+mn-lt"/>
                      </a:endParaRPr>
                    </a:p>
                  </a:txBody>
                  <a:tcPr marL="91438" marR="91438" marT="45727" marB="4572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10000"/>
                  </a:ext>
                </a:extLst>
              </a:tr>
              <a:tr h="1311659">
                <a:tc>
                  <a:txBody>
                    <a:bodyPr/>
                    <a:lstStyle/>
                    <a:p>
                      <a:pPr marL="171450" indent="-171450" algn="l" defTabSz="914400" rtl="0" eaLnBrk="1" latinLnBrk="0" hangingPunct="1">
                        <a:buFont typeface="Arial" panose="020B0604020202020204" pitchFamily="34" charset="0"/>
                        <a:buChar char="•"/>
                      </a:pPr>
                      <a:r>
                        <a:rPr lang="en-US" sz="1100" i="0" kern="1200" noProof="0" dirty="0">
                          <a:solidFill>
                            <a:schemeClr val="tx1"/>
                          </a:solidFill>
                          <a:latin typeface="+mn-lt"/>
                          <a:ea typeface="+mn-ea"/>
                          <a:cs typeface="+mn-cs"/>
                        </a:rPr>
                        <a:t>Location: Osnabrück – Rheine (VZG 2992)</a:t>
                      </a:r>
                    </a:p>
                    <a:p>
                      <a:pPr marL="171450" indent="-171450" algn="l" defTabSz="914400" rtl="0" eaLnBrk="1" latinLnBrk="0" hangingPunct="1">
                        <a:buFont typeface="Arial" panose="020B0604020202020204" pitchFamily="34" charset="0"/>
                        <a:buChar char="•"/>
                      </a:pPr>
                      <a:r>
                        <a:rPr lang="en-US" sz="1100" i="0" kern="1200" noProof="0" dirty="0">
                          <a:solidFill>
                            <a:schemeClr val="tx1"/>
                          </a:solidFill>
                          <a:latin typeface="+mn-lt"/>
                          <a:ea typeface="+mn-ea"/>
                          <a:cs typeface="+mn-cs"/>
                        </a:rPr>
                        <a:t>Type: Total closure, Single Closure</a:t>
                      </a:r>
                    </a:p>
                    <a:p>
                      <a:pPr marL="171450" indent="-171450" algn="l" defTabSz="914400" rtl="0" eaLnBrk="1" latinLnBrk="0" hangingPunct="1">
                        <a:buFont typeface="Arial" panose="020B0604020202020204" pitchFamily="34" charset="0"/>
                        <a:buChar char="•"/>
                      </a:pPr>
                      <a:r>
                        <a:rPr lang="en-US" sz="1100" i="0" kern="1200" noProof="0" dirty="0">
                          <a:solidFill>
                            <a:schemeClr val="tx1"/>
                          </a:solidFill>
                          <a:latin typeface="+mn-lt"/>
                          <a:ea typeface="+mn-ea"/>
                          <a:cs typeface="+mn-cs"/>
                        </a:rPr>
                        <a:t>Period: July – December 2027</a:t>
                      </a:r>
                    </a:p>
                    <a:p>
                      <a:pPr marL="171450" indent="-171450" algn="l" defTabSz="914400" rtl="0" eaLnBrk="1" latinLnBrk="0" hangingPunct="1">
                        <a:buFont typeface="Arial" panose="020B0604020202020204" pitchFamily="34" charset="0"/>
                        <a:buChar char="•"/>
                      </a:pPr>
                      <a:r>
                        <a:rPr lang="en-US" sz="1100" i="0" kern="1200" noProof="0" dirty="0">
                          <a:solidFill>
                            <a:schemeClr val="tx1"/>
                          </a:solidFill>
                          <a:latin typeface="+mn-lt"/>
                          <a:ea typeface="+mn-ea"/>
                          <a:cs typeface="+mn-cs"/>
                        </a:rPr>
                        <a:t>Total Closure: 09.07. – 15.10.2027</a:t>
                      </a:r>
                    </a:p>
                    <a:p>
                      <a:pPr marL="171450" indent="-171450" algn="l" defTabSz="914400" rtl="0" eaLnBrk="1" latinLnBrk="0" hangingPunct="1">
                        <a:buFont typeface="Arial" panose="020B0604020202020204" pitchFamily="34" charset="0"/>
                        <a:buChar char="•"/>
                      </a:pPr>
                      <a:r>
                        <a:rPr lang="en-US" sz="1100" i="0" kern="1200" noProof="0" dirty="0">
                          <a:solidFill>
                            <a:schemeClr val="tx1"/>
                          </a:solidFill>
                          <a:latin typeface="+mn-lt"/>
                          <a:ea typeface="+mn-ea"/>
                          <a:cs typeface="+mn-cs"/>
                        </a:rPr>
                        <a:t>Single Track Operation: 15.10. – 10.12.2027</a:t>
                      </a:r>
                    </a:p>
                    <a:p>
                      <a:pPr marL="171450" indent="-171450" algn="l" defTabSz="914400" rtl="0" eaLnBrk="1" latinLnBrk="0" hangingPunct="1">
                        <a:buFont typeface="Arial" panose="020B0604020202020204" pitchFamily="34" charset="0"/>
                        <a:buChar char="•"/>
                      </a:pPr>
                      <a:r>
                        <a:rPr lang="en-US" sz="1100" i="0" kern="1200" noProof="0" dirty="0">
                          <a:solidFill>
                            <a:schemeClr val="tx1"/>
                          </a:solidFill>
                          <a:latin typeface="+mn-lt"/>
                          <a:ea typeface="+mn-ea"/>
                          <a:cs typeface="+mn-cs"/>
                        </a:rPr>
                        <a:t>Type of works: Bridge work</a:t>
                      </a:r>
                    </a:p>
                    <a:p>
                      <a:pPr marL="0" indent="0" algn="l" defTabSz="914400" rtl="0" eaLnBrk="1" latinLnBrk="0" hangingPunct="1">
                        <a:buFont typeface="Arial" panose="020B0604020202020204" pitchFamily="34" charset="0"/>
                        <a:buNone/>
                      </a:pPr>
                      <a:endParaRPr lang="de-DE" sz="1000" i="0" kern="1200" dirty="0">
                        <a:solidFill>
                          <a:schemeClr val="tx1"/>
                        </a:solidFill>
                        <a:latin typeface="+mn-lt"/>
                        <a:ea typeface="+mn-ea"/>
                        <a:cs typeface="+mn-cs"/>
                      </a:endParaRPr>
                    </a:p>
                    <a:p>
                      <a:pPr marL="0" indent="0" algn="l" defTabSz="914400" rtl="0" eaLnBrk="1" latinLnBrk="0" hangingPunct="1">
                        <a:buFont typeface="Arial" panose="020B0604020202020204" pitchFamily="34" charset="0"/>
                        <a:buNone/>
                      </a:pPr>
                      <a:endParaRPr lang="en-US" sz="1000" i="0" kern="1200" noProof="0" dirty="0">
                        <a:solidFill>
                          <a:schemeClr val="tx1"/>
                        </a:solidFill>
                        <a:latin typeface="+mn-lt"/>
                        <a:ea typeface="+mn-ea"/>
                        <a:cs typeface="+mn-cs"/>
                      </a:endParaRPr>
                    </a:p>
                  </a:txBody>
                  <a:tcPr marL="91438" marR="91438" marT="45727" marB="4572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5" name="Textfeld 18"/>
          <p:cNvSpPr txBox="1">
            <a:spLocks noChangeArrowheads="1"/>
          </p:cNvSpPr>
          <p:nvPr/>
        </p:nvSpPr>
        <p:spPr bwMode="auto">
          <a:xfrm>
            <a:off x="342429" y="1552655"/>
            <a:ext cx="4325938" cy="307975"/>
          </a:xfrm>
          <a:prstGeom prst="rect">
            <a:avLst/>
          </a:prstGeom>
          <a:solidFill>
            <a:srgbClr val="FFCC00"/>
          </a:solidFill>
          <a:ln w="9525">
            <a:solidFill>
              <a:srgbClr val="0066FF"/>
            </a:solidFill>
            <a:miter lim="800000"/>
            <a:headEnd/>
            <a:tailEnd/>
          </a:ln>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de-DE" altLang="fr-FR" sz="1400" b="1">
                <a:solidFill>
                  <a:prstClr val="black"/>
                </a:solidFill>
                <a:cs typeface="Arial" pitchFamily="34" charset="0"/>
              </a:rPr>
              <a:t>Map view</a:t>
            </a:r>
          </a:p>
        </p:txBody>
      </p:sp>
      <p:sp>
        <p:nvSpPr>
          <p:cNvPr id="6" name="Rechteck 20"/>
          <p:cNvSpPr>
            <a:spLocks noChangeArrowheads="1"/>
          </p:cNvSpPr>
          <p:nvPr/>
        </p:nvSpPr>
        <p:spPr bwMode="auto">
          <a:xfrm>
            <a:off x="342429" y="1843168"/>
            <a:ext cx="4325938" cy="2681287"/>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fontAlgn="base">
              <a:spcBef>
                <a:spcPct val="50000"/>
              </a:spcBef>
              <a:spcAft>
                <a:spcPct val="0"/>
              </a:spcAft>
              <a:buFontTx/>
              <a:buNone/>
            </a:pPr>
            <a:endParaRPr lang="de-DE" altLang="fr-FR" sz="1200" b="1">
              <a:solidFill>
                <a:prstClr val="black"/>
              </a:solidFill>
              <a:latin typeface="DB Office" pitchFamily="34" charset="0"/>
              <a:cs typeface="Arial" pitchFamily="34" charset="0"/>
            </a:endParaRPr>
          </a:p>
        </p:txBody>
      </p:sp>
      <p:graphicFrame>
        <p:nvGraphicFramePr>
          <p:cNvPr id="9" name="Inhaltsplatzhalter 8">
            <a:extLst>
              <a:ext uri="{FF2B5EF4-FFF2-40B4-BE49-F238E27FC236}">
                <a16:creationId xmlns:a16="http://schemas.microsoft.com/office/drawing/2014/main" id="{5C5543BE-AD15-4112-A86E-9187FDBF0E25}"/>
              </a:ext>
            </a:extLst>
          </p:cNvPr>
          <p:cNvGraphicFramePr>
            <a:graphicFrameLocks/>
          </p:cNvGraphicFramePr>
          <p:nvPr>
            <p:extLst>
              <p:ext uri="{D42A27DB-BD31-4B8C-83A1-F6EECF244321}">
                <p14:modId xmlns:p14="http://schemas.microsoft.com/office/powerpoint/2010/main" val="1979099949"/>
              </p:ext>
            </p:extLst>
          </p:nvPr>
        </p:nvGraphicFramePr>
        <p:xfrm>
          <a:off x="341403" y="4540285"/>
          <a:ext cx="4321184" cy="1902150"/>
        </p:xfrm>
        <a:graphic>
          <a:graphicData uri="http://schemas.openxmlformats.org/drawingml/2006/table">
            <a:tbl>
              <a:tblPr firstRow="1" bandRow="1">
                <a:tableStyleId>{5C22544A-7EE6-4342-B048-85BDC9FD1C3A}</a:tableStyleId>
              </a:tblPr>
              <a:tblGrid>
                <a:gridCol w="4321184">
                  <a:extLst>
                    <a:ext uri="{9D8B030D-6E8A-4147-A177-3AD203B41FA5}">
                      <a16:colId xmlns:a16="http://schemas.microsoft.com/office/drawing/2014/main" val="20000"/>
                    </a:ext>
                  </a:extLst>
                </a:gridCol>
              </a:tblGrid>
              <a:tr h="413710">
                <a:tc>
                  <a:txBody>
                    <a:bodyPr/>
                    <a:lstStyle/>
                    <a:p>
                      <a:pPr algn="l"/>
                      <a:r>
                        <a:rPr lang="en-US" sz="1400" noProof="0">
                          <a:solidFill>
                            <a:schemeClr val="tx1"/>
                          </a:solidFill>
                          <a:latin typeface="+mn-lt"/>
                        </a:rPr>
                        <a:t>Impact on</a:t>
                      </a:r>
                      <a:r>
                        <a:rPr lang="en-US" sz="1400" baseline="0" noProof="0">
                          <a:solidFill>
                            <a:schemeClr val="tx1"/>
                          </a:solidFill>
                          <a:latin typeface="+mn-lt"/>
                        </a:rPr>
                        <a:t> </a:t>
                      </a:r>
                      <a:r>
                        <a:rPr lang="en-US" sz="1400" noProof="0">
                          <a:solidFill>
                            <a:schemeClr val="tx1"/>
                          </a:solidFill>
                          <a:latin typeface="+mn-lt"/>
                        </a:rPr>
                        <a:t>International Rail Freight </a:t>
                      </a:r>
                    </a:p>
                  </a:txBody>
                  <a:tcPr marL="91429" marR="91429"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CC00"/>
                    </a:solidFill>
                  </a:tcPr>
                </a:tc>
                <a:extLst>
                  <a:ext uri="{0D108BD9-81ED-4DB2-BD59-A6C34878D82A}">
                    <a16:rowId xmlns:a16="http://schemas.microsoft.com/office/drawing/2014/main" val="10000"/>
                  </a:ext>
                </a:extLst>
              </a:tr>
              <a:tr h="148844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mn-lt"/>
                          <a:ea typeface="+mn-ea"/>
                          <a:cs typeface="+mn-cs"/>
                        </a:rPr>
                        <a:t>Cancellations: N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mn-lt"/>
                          <a:ea typeface="+mn-ea"/>
                          <a:cs typeface="+mn-cs"/>
                        </a:rPr>
                        <a:t>Deviations: Y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mn-lt"/>
                          <a:ea typeface="+mn-ea"/>
                          <a:cs typeface="+mn-cs"/>
                        </a:rPr>
                        <a:t>Estimated extra running time: </a:t>
                      </a:r>
                      <a:r>
                        <a:rPr kumimoji="0" lang="nl-NL" sz="1100" b="0" i="0" u="none" strike="noStrike" kern="1200" cap="none" spc="0" normalizeH="0" baseline="0" noProof="0">
                          <a:ln>
                            <a:noFill/>
                          </a:ln>
                          <a:solidFill>
                            <a:prstClr val="black"/>
                          </a:solidFill>
                          <a:effectLst/>
                          <a:uLnTx/>
                          <a:uFillTx/>
                          <a:latin typeface="+mn-lt"/>
                          <a:ea typeface="+mn-ea"/>
                          <a:cs typeface="+mn-cs"/>
                        </a:rPr>
                        <a:t>Detailed information on extra running time is </a:t>
                      </a:r>
                      <a:r>
                        <a:rPr kumimoji="0" lang="nl-NL" sz="1050" b="0" i="0" u="none" strike="noStrike" kern="1200" cap="none" spc="0" normalizeH="0" baseline="0" noProof="0">
                          <a:ln>
                            <a:noFill/>
                          </a:ln>
                          <a:solidFill>
                            <a:prstClr val="black"/>
                          </a:solidFill>
                          <a:effectLst/>
                          <a:uLnTx/>
                          <a:uFillTx/>
                          <a:latin typeface="+mn-lt"/>
                          <a:ea typeface="+mn-ea"/>
                          <a:cs typeface="+mn-cs"/>
                        </a:rPr>
                        <a:t>distributed</a:t>
                      </a:r>
                      <a:r>
                        <a:rPr kumimoji="0" lang="nl-NL" sz="1100" b="0" i="0" u="none" strike="noStrike" kern="1200" cap="none" spc="0" normalizeH="0" baseline="0" noProof="0">
                          <a:ln>
                            <a:noFill/>
                          </a:ln>
                          <a:solidFill>
                            <a:prstClr val="black"/>
                          </a:solidFill>
                          <a:effectLst/>
                          <a:uLnTx/>
                          <a:uFillTx/>
                          <a:latin typeface="+mn-lt"/>
                          <a:ea typeface="+mn-ea"/>
                          <a:cs typeface="+mn-cs"/>
                        </a:rPr>
                        <a:t> by DB Netz individually for every customer for each affected train. Additionally DB Netz offers train path advice free of charge</a:t>
                      </a:r>
                      <a:endParaRPr kumimoji="0" lang="en-US" sz="1100" b="0" i="0" u="none" strike="noStrike" kern="1200" cap="none" spc="0" normalizeH="0" baseline="0" noProof="0">
                        <a:ln>
                          <a:noFill/>
                        </a:ln>
                        <a:solidFill>
                          <a:prstClr val="black"/>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mn-lt"/>
                          <a:ea typeface="+mn-ea"/>
                          <a:cs typeface="+mn-cs"/>
                        </a:rPr>
                        <a:t>In annual timetable: </a:t>
                      </a:r>
                      <a:r>
                        <a:rPr kumimoji="0" lang="en-US" sz="1100" b="0" i="0" u="none" strike="noStrike" kern="1200" cap="none" spc="0" normalizeH="0" baseline="0" noProof="0" err="1">
                          <a:ln>
                            <a:noFill/>
                          </a:ln>
                          <a:solidFill>
                            <a:prstClr val="black"/>
                          </a:solidFill>
                          <a:effectLst/>
                          <a:uLnTx/>
                          <a:uFillTx/>
                          <a:latin typeface="+mn-lt"/>
                          <a:ea typeface="+mn-ea"/>
                          <a:cs typeface="+mn-cs"/>
                        </a:rPr>
                        <a:t>tbd</a:t>
                      </a:r>
                      <a:endParaRPr kumimoji="0" lang="en-US" sz="1050" b="0" i="0" u="none" strike="noStrike" kern="1200" cap="none" spc="0" normalizeH="0" baseline="0" noProof="0">
                        <a:ln>
                          <a:noFill/>
                        </a:ln>
                        <a:solidFill>
                          <a:prstClr val="black"/>
                        </a:solidFill>
                        <a:effectLst/>
                        <a:uLnTx/>
                        <a:uFillTx/>
                        <a:latin typeface="+mn-lt"/>
                        <a:ea typeface="+mn-ea"/>
                        <a:cs typeface="+mn-cs"/>
                      </a:endParaRPr>
                    </a:p>
                  </a:txBody>
                  <a:tcPr marL="91429" marR="91429"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pic>
        <p:nvPicPr>
          <p:cNvPr id="8" name="Afbeelding 7">
            <a:extLst>
              <a:ext uri="{FF2B5EF4-FFF2-40B4-BE49-F238E27FC236}">
                <a16:creationId xmlns:a16="http://schemas.microsoft.com/office/drawing/2014/main" id="{B3855B9A-EBF1-C6CF-F69F-A023692E59F5}"/>
              </a:ext>
            </a:extLst>
          </p:cNvPr>
          <p:cNvPicPr>
            <a:picLocks noChangeAspect="1"/>
          </p:cNvPicPr>
          <p:nvPr/>
        </p:nvPicPr>
        <p:blipFill>
          <a:blip r:embed="rId2"/>
          <a:stretch>
            <a:fillRect/>
          </a:stretch>
        </p:blipFill>
        <p:spPr>
          <a:xfrm>
            <a:off x="461727" y="1991762"/>
            <a:ext cx="4120823" cy="2163779"/>
          </a:xfrm>
          <a:prstGeom prst="rect">
            <a:avLst/>
          </a:prstGeom>
        </p:spPr>
      </p:pic>
      <p:graphicFrame>
        <p:nvGraphicFramePr>
          <p:cNvPr id="12" name="Object 11">
            <a:extLst>
              <a:ext uri="{FF2B5EF4-FFF2-40B4-BE49-F238E27FC236}">
                <a16:creationId xmlns:a16="http://schemas.microsoft.com/office/drawing/2014/main" id="{21763888-9A89-BFCC-D5AC-3965FCD6D0EC}"/>
              </a:ext>
            </a:extLst>
          </p:cNvPr>
          <p:cNvGraphicFramePr>
            <a:graphicFrameLocks noChangeAspect="1"/>
          </p:cNvGraphicFramePr>
          <p:nvPr>
            <p:extLst>
              <p:ext uri="{D42A27DB-BD31-4B8C-83A1-F6EECF244321}">
                <p14:modId xmlns:p14="http://schemas.microsoft.com/office/powerpoint/2010/main" val="4206962042"/>
              </p:ext>
            </p:extLst>
          </p:nvPr>
        </p:nvGraphicFramePr>
        <p:xfrm>
          <a:off x="5054296" y="3374056"/>
          <a:ext cx="4207398" cy="3068379"/>
        </p:xfrm>
        <a:graphic>
          <a:graphicData uri="http://schemas.openxmlformats.org/presentationml/2006/ole">
            <mc:AlternateContent xmlns:mc="http://schemas.openxmlformats.org/markup-compatibility/2006">
              <mc:Choice xmlns:v="urn:schemas-microsoft-com:vml" Requires="v">
                <p:oleObj name="Worksheet" r:id="rId3" imgW="11677650" imgH="8515350" progId="Excel.Sheet.12">
                  <p:embed/>
                </p:oleObj>
              </mc:Choice>
              <mc:Fallback>
                <p:oleObj name="Worksheet" r:id="rId3" imgW="11677650" imgH="8515350" progId="Excel.Sheet.12">
                  <p:embed/>
                  <p:pic>
                    <p:nvPicPr>
                      <p:cNvPr id="0" name=""/>
                      <p:cNvPicPr/>
                      <p:nvPr/>
                    </p:nvPicPr>
                    <p:blipFill>
                      <a:blip r:embed="rId4"/>
                      <a:stretch>
                        <a:fillRect/>
                      </a:stretch>
                    </p:blipFill>
                    <p:spPr>
                      <a:xfrm>
                        <a:off x="5054296" y="3374056"/>
                        <a:ext cx="4207398" cy="3068379"/>
                      </a:xfrm>
                      <a:prstGeom prst="rect">
                        <a:avLst/>
                      </a:prstGeom>
                      <a:ln w="9525">
                        <a:solidFill>
                          <a:schemeClr val="tx1"/>
                        </a:solidFill>
                      </a:ln>
                    </p:spPr>
                  </p:pic>
                </p:oleObj>
              </mc:Fallback>
            </mc:AlternateContent>
          </a:graphicData>
        </a:graphic>
      </p:graphicFrame>
    </p:spTree>
    <p:extLst>
      <p:ext uri="{BB962C8B-B14F-4D97-AF65-F5344CB8AC3E}">
        <p14:creationId xmlns:p14="http://schemas.microsoft.com/office/powerpoint/2010/main" val="12456668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39000B-77D2-EF23-D0F7-AC1B84BEB9FE}"/>
            </a:ext>
          </a:extLst>
        </p:cNvPr>
        <p:cNvGrpSpPr/>
        <p:nvPr/>
      </p:nvGrpSpPr>
      <p:grpSpPr>
        <a:xfrm>
          <a:off x="0" y="0"/>
          <a:ext cx="0" cy="0"/>
          <a:chOff x="0" y="0"/>
          <a:chExt cx="0" cy="0"/>
        </a:xfrm>
      </p:grpSpPr>
      <p:sp>
        <p:nvSpPr>
          <p:cNvPr id="2" name="Text Box 3">
            <a:extLst>
              <a:ext uri="{FF2B5EF4-FFF2-40B4-BE49-F238E27FC236}">
                <a16:creationId xmlns:a16="http://schemas.microsoft.com/office/drawing/2014/main" id="{0E4AB323-4BFC-C1A4-2877-EED0C387CD16}"/>
              </a:ext>
            </a:extLst>
          </p:cNvPr>
          <p:cNvSpPr txBox="1">
            <a:spLocks noChangeArrowheads="1"/>
          </p:cNvSpPr>
          <p:nvPr/>
        </p:nvSpPr>
        <p:spPr bwMode="auto">
          <a:xfrm>
            <a:off x="958538" y="1208958"/>
            <a:ext cx="5595231" cy="1092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07763" dir="18900000" algn="ctr" rotWithShape="0">
                    <a:schemeClr val="bg2"/>
                  </a:outerShdw>
                </a:effectLst>
              </a14:hiddenEffects>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l" fontAlgn="base">
              <a:spcBef>
                <a:spcPct val="50000"/>
              </a:spcBef>
              <a:spcAft>
                <a:spcPct val="0"/>
              </a:spcAft>
              <a:buFontTx/>
              <a:buNone/>
            </a:pPr>
            <a:r>
              <a:rPr lang="en-GB" altLang="fr-FR" sz="1624" b="1" dirty="0">
                <a:solidFill>
                  <a:srgbClr val="000000"/>
                </a:solidFill>
                <a:cs typeface="Calibri" panose="020F0502020204030204" pitchFamily="34" charset="0"/>
              </a:rPr>
              <a:t>Impact of TCR TT 2027 at </a:t>
            </a:r>
            <a:r>
              <a:rPr lang="en-GB" altLang="fr-FR" sz="1624" b="1" dirty="0">
                <a:solidFill>
                  <a:prstClr val="black"/>
                </a:solidFill>
                <a:cs typeface="Calibri" panose="020F0502020204030204" pitchFamily="34" charset="0"/>
              </a:rPr>
              <a:t>Infrabel</a:t>
            </a:r>
          </a:p>
          <a:p>
            <a:pPr algn="l" fontAlgn="base">
              <a:spcBef>
                <a:spcPct val="50000"/>
              </a:spcBef>
              <a:spcAft>
                <a:spcPct val="0"/>
              </a:spcAft>
              <a:buFontTx/>
              <a:buNone/>
            </a:pPr>
            <a:r>
              <a:rPr lang="en-GB" altLang="fr-FR" sz="1624" b="1" dirty="0">
                <a:solidFill>
                  <a:srgbClr val="000000"/>
                </a:solidFill>
                <a:cs typeface="Calibri" panose="020F0502020204030204" pitchFamily="34" charset="0"/>
              </a:rPr>
              <a:t>Section </a:t>
            </a:r>
            <a:r>
              <a:rPr lang="nl-NL" altLang="fr-FR" sz="1624" b="1" dirty="0">
                <a:solidFill>
                  <a:srgbClr val="000000"/>
                </a:solidFill>
                <a:cs typeface="Calibri" panose="020F0502020204030204" pitchFamily="34" charset="0"/>
              </a:rPr>
              <a:t>Y. Rooierweg – Y. Oost </a:t>
            </a:r>
            <a:r>
              <a:rPr lang="nl-NL" altLang="fr-FR" sz="1624" b="1" dirty="0" err="1">
                <a:solidFill>
                  <a:srgbClr val="000000"/>
                </a:solidFill>
                <a:cs typeface="Calibri" panose="020F0502020204030204" pitchFamily="34" charset="0"/>
              </a:rPr>
              <a:t>Dr</a:t>
            </a:r>
            <a:r>
              <a:rPr lang="nl-NL" altLang="fr-FR" sz="1624" b="1" dirty="0">
                <a:solidFill>
                  <a:srgbClr val="000000"/>
                </a:solidFill>
                <a:cs typeface="Calibri" panose="020F0502020204030204" pitchFamily="34" charset="0"/>
              </a:rPr>
              <a:t> Aarschot</a:t>
            </a:r>
          </a:p>
          <a:p>
            <a:pPr algn="l" fontAlgn="base">
              <a:spcBef>
                <a:spcPct val="50000"/>
              </a:spcBef>
              <a:spcAft>
                <a:spcPct val="0"/>
              </a:spcAft>
              <a:buFontTx/>
              <a:buNone/>
            </a:pPr>
            <a:endParaRPr lang="en-GB" altLang="fr-FR" sz="1624" b="1" dirty="0">
              <a:solidFill>
                <a:srgbClr val="000000"/>
              </a:solidFill>
              <a:cs typeface="Calibri" panose="020F0502020204030204" pitchFamily="34" charset="0"/>
            </a:endParaRPr>
          </a:p>
        </p:txBody>
      </p:sp>
      <p:graphicFrame>
        <p:nvGraphicFramePr>
          <p:cNvPr id="3" name="Inhaltsplatzhalter 8">
            <a:extLst>
              <a:ext uri="{FF2B5EF4-FFF2-40B4-BE49-F238E27FC236}">
                <a16:creationId xmlns:a16="http://schemas.microsoft.com/office/drawing/2014/main" id="{0059CFF6-DDB1-2508-39DF-EE1A8729101E}"/>
              </a:ext>
            </a:extLst>
          </p:cNvPr>
          <p:cNvGraphicFramePr>
            <a:graphicFrameLocks/>
          </p:cNvGraphicFramePr>
          <p:nvPr/>
        </p:nvGraphicFramePr>
        <p:xfrm>
          <a:off x="5062702" y="1905204"/>
          <a:ext cx="2972385" cy="1400097"/>
        </p:xfrm>
        <a:graphic>
          <a:graphicData uri="http://schemas.openxmlformats.org/drawingml/2006/table">
            <a:tbl>
              <a:tblPr firstRow="1" bandRow="1">
                <a:tableStyleId>{5C22544A-7EE6-4342-B048-85BDC9FD1C3A}</a:tableStyleId>
              </a:tblPr>
              <a:tblGrid>
                <a:gridCol w="2972385">
                  <a:extLst>
                    <a:ext uri="{9D8B030D-6E8A-4147-A177-3AD203B41FA5}">
                      <a16:colId xmlns:a16="http://schemas.microsoft.com/office/drawing/2014/main" val="20000"/>
                    </a:ext>
                  </a:extLst>
                </a:gridCol>
              </a:tblGrid>
              <a:tr h="334886">
                <a:tc>
                  <a:txBody>
                    <a:bodyPr/>
                    <a:lstStyle/>
                    <a:p>
                      <a:pPr algn="l"/>
                      <a:r>
                        <a:rPr lang="en-US" sz="1100" i="0" noProof="0" dirty="0">
                          <a:solidFill>
                            <a:schemeClr val="tx1"/>
                          </a:solidFill>
                          <a:latin typeface="+mn-lt"/>
                        </a:rPr>
                        <a:t>Major Capacity</a:t>
                      </a:r>
                      <a:r>
                        <a:rPr lang="en-US" sz="1100" i="0" baseline="0" noProof="0" dirty="0">
                          <a:solidFill>
                            <a:schemeClr val="tx1"/>
                          </a:solidFill>
                          <a:latin typeface="+mn-lt"/>
                        </a:rPr>
                        <a:t> Restriction</a:t>
                      </a:r>
                      <a:endParaRPr lang="en-US" sz="1100" i="0" noProof="0" dirty="0">
                        <a:solidFill>
                          <a:schemeClr val="tx1"/>
                        </a:solidFill>
                        <a:latin typeface="+mn-lt"/>
                      </a:endParaRPr>
                    </a:p>
                  </a:txBody>
                  <a:tcPr marL="74258" marR="74258" marT="37135" marB="3713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10000"/>
                  </a:ext>
                </a:extLst>
              </a:tr>
              <a:tr h="1065211">
                <a:tc>
                  <a:txBody>
                    <a:bodyPr/>
                    <a:lstStyle/>
                    <a:p>
                      <a:pPr marL="171450" lvl="0" indent="-171450">
                        <a:buFont typeface="Arial" panose="020B0604020202020204" pitchFamily="34" charset="0"/>
                        <a:buChar char="•"/>
                        <a:defRPr/>
                      </a:pPr>
                      <a:r>
                        <a:rPr lang="de-DE" sz="1000" dirty="0">
                          <a:solidFill>
                            <a:srgbClr val="000000"/>
                          </a:solidFill>
                        </a:rPr>
                        <a:t>Location: Line 34 HASSELT-Y.ROOIERWEG </a:t>
                      </a:r>
                    </a:p>
                    <a:p>
                      <a:pPr marL="171450" lvl="0" indent="-171450">
                        <a:buFont typeface="Arial" panose="020B0604020202020204" pitchFamily="34" charset="0"/>
                        <a:buChar char="•"/>
                        <a:defRPr/>
                      </a:pPr>
                      <a:r>
                        <a:rPr lang="de-DE" sz="1000" dirty="0">
                          <a:solidFill>
                            <a:srgbClr val="000000"/>
                          </a:solidFill>
                        </a:rPr>
                        <a:t>Total </a:t>
                      </a:r>
                      <a:r>
                        <a:rPr lang="de-DE" sz="1000" dirty="0" err="1">
                          <a:solidFill>
                            <a:srgbClr val="000000"/>
                          </a:solidFill>
                        </a:rPr>
                        <a:t>Closure</a:t>
                      </a:r>
                      <a:endParaRPr lang="de-DE" sz="1000" dirty="0">
                        <a:solidFill>
                          <a:srgbClr val="000000"/>
                        </a:solidFill>
                      </a:endParaRPr>
                    </a:p>
                    <a:p>
                      <a:pPr marL="171450" lvl="0" indent="-171450">
                        <a:buFont typeface="Arial" panose="020B0604020202020204" pitchFamily="34" charset="0"/>
                        <a:buChar char="•"/>
                        <a:defRPr/>
                      </a:pPr>
                      <a:r>
                        <a:rPr lang="en-GB" sz="1000" dirty="0">
                          <a:solidFill>
                            <a:srgbClr val="000000"/>
                          </a:solidFill>
                        </a:rPr>
                        <a:t>Period: 26/03/27 (23:40) to 19/04/27 (4:00)</a:t>
                      </a:r>
                    </a:p>
                    <a:p>
                      <a:pPr marL="171450" lvl="0" indent="-171450">
                        <a:buFont typeface="Arial" panose="020B0604020202020204" pitchFamily="34" charset="0"/>
                        <a:buChar char="•"/>
                        <a:defRPr/>
                      </a:pPr>
                      <a:r>
                        <a:rPr lang="en-GB" sz="1000" dirty="0">
                          <a:solidFill>
                            <a:srgbClr val="000000"/>
                          </a:solidFill>
                        </a:rPr>
                        <a:t>Type of works: Switches &amp; tracks renewal</a:t>
                      </a:r>
                    </a:p>
                  </a:txBody>
                  <a:tcPr marL="74258" marR="74258" marT="37135" marB="3713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5" name="Textfeld 18">
            <a:extLst>
              <a:ext uri="{FF2B5EF4-FFF2-40B4-BE49-F238E27FC236}">
                <a16:creationId xmlns:a16="http://schemas.microsoft.com/office/drawing/2014/main" id="{E93D0936-AE33-08A0-A2CA-1EB4474DAAF9}"/>
              </a:ext>
            </a:extLst>
          </p:cNvPr>
          <p:cNvSpPr txBox="1">
            <a:spLocks noChangeArrowheads="1"/>
          </p:cNvSpPr>
          <p:nvPr/>
        </p:nvSpPr>
        <p:spPr bwMode="auto">
          <a:xfrm>
            <a:off x="1208265" y="1905204"/>
            <a:ext cx="3513135" cy="267317"/>
          </a:xfrm>
          <a:prstGeom prst="rect">
            <a:avLst/>
          </a:prstGeom>
          <a:solidFill>
            <a:srgbClr val="FFCC00"/>
          </a:solidFill>
          <a:ln w="9525">
            <a:solidFill>
              <a:srgbClr val="0066FF"/>
            </a:solidFill>
            <a:miter lim="800000"/>
            <a:headEnd/>
            <a:tailEnd/>
          </a:ln>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de-DE" altLang="fr-FR" sz="1137" b="1">
                <a:solidFill>
                  <a:prstClr val="black"/>
                </a:solidFill>
                <a:cs typeface="Arial" pitchFamily="34" charset="0"/>
              </a:rPr>
              <a:t>Map view</a:t>
            </a:r>
          </a:p>
        </p:txBody>
      </p:sp>
      <p:sp>
        <p:nvSpPr>
          <p:cNvPr id="6" name="Rechteck 20">
            <a:extLst>
              <a:ext uri="{FF2B5EF4-FFF2-40B4-BE49-F238E27FC236}">
                <a16:creationId xmlns:a16="http://schemas.microsoft.com/office/drawing/2014/main" id="{C7DFD6B1-17C4-51E5-99FC-6AD537901C50}"/>
              </a:ext>
            </a:extLst>
          </p:cNvPr>
          <p:cNvSpPr>
            <a:spLocks noChangeArrowheads="1"/>
          </p:cNvSpPr>
          <p:nvPr/>
        </p:nvSpPr>
        <p:spPr bwMode="auto">
          <a:xfrm>
            <a:off x="1208265" y="2141132"/>
            <a:ext cx="3513135" cy="2177498"/>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fontAlgn="base">
              <a:spcBef>
                <a:spcPct val="50000"/>
              </a:spcBef>
              <a:spcAft>
                <a:spcPct val="0"/>
              </a:spcAft>
              <a:buFontTx/>
              <a:buNone/>
            </a:pPr>
            <a:endParaRPr lang="de-DE" altLang="fr-FR" sz="975" b="1">
              <a:solidFill>
                <a:prstClr val="black"/>
              </a:solidFill>
              <a:latin typeface="DB Office" pitchFamily="34" charset="0"/>
              <a:cs typeface="Arial" pitchFamily="34" charset="0"/>
            </a:endParaRPr>
          </a:p>
        </p:txBody>
      </p:sp>
      <p:graphicFrame>
        <p:nvGraphicFramePr>
          <p:cNvPr id="9" name="Inhaltsplatzhalter 8">
            <a:extLst>
              <a:ext uri="{FF2B5EF4-FFF2-40B4-BE49-F238E27FC236}">
                <a16:creationId xmlns:a16="http://schemas.microsoft.com/office/drawing/2014/main" id="{4BFBE075-5936-1A3D-E4EF-1561B7237C88}"/>
              </a:ext>
            </a:extLst>
          </p:cNvPr>
          <p:cNvGraphicFramePr>
            <a:graphicFrameLocks/>
          </p:cNvGraphicFramePr>
          <p:nvPr/>
        </p:nvGraphicFramePr>
        <p:xfrm>
          <a:off x="1207431" y="4331485"/>
          <a:ext cx="3509274" cy="1612819"/>
        </p:xfrm>
        <a:graphic>
          <a:graphicData uri="http://schemas.openxmlformats.org/drawingml/2006/table">
            <a:tbl>
              <a:tblPr firstRow="1" bandRow="1">
                <a:tableStyleId>{5C22544A-7EE6-4342-B048-85BDC9FD1C3A}</a:tableStyleId>
              </a:tblPr>
              <a:tblGrid>
                <a:gridCol w="3509274">
                  <a:extLst>
                    <a:ext uri="{9D8B030D-6E8A-4147-A177-3AD203B41FA5}">
                      <a16:colId xmlns:a16="http://schemas.microsoft.com/office/drawing/2014/main" val="20000"/>
                    </a:ext>
                  </a:extLst>
                </a:gridCol>
              </a:tblGrid>
              <a:tr h="350782">
                <a:tc>
                  <a:txBody>
                    <a:bodyPr/>
                    <a:lstStyle/>
                    <a:p>
                      <a:pPr algn="l"/>
                      <a:r>
                        <a:rPr lang="en-US" sz="1100" noProof="0" dirty="0">
                          <a:solidFill>
                            <a:schemeClr val="tx1"/>
                          </a:solidFill>
                          <a:latin typeface="+mn-lt"/>
                        </a:rPr>
                        <a:t>Impact on</a:t>
                      </a:r>
                      <a:r>
                        <a:rPr lang="en-US" sz="1100" baseline="0" noProof="0" dirty="0">
                          <a:solidFill>
                            <a:schemeClr val="tx1"/>
                          </a:solidFill>
                          <a:latin typeface="+mn-lt"/>
                        </a:rPr>
                        <a:t> </a:t>
                      </a:r>
                      <a:r>
                        <a:rPr lang="en-US" sz="1100" noProof="0" dirty="0">
                          <a:solidFill>
                            <a:schemeClr val="tx1"/>
                          </a:solidFill>
                          <a:latin typeface="+mn-lt"/>
                        </a:rPr>
                        <a:t>International Rail Freight </a:t>
                      </a:r>
                    </a:p>
                  </a:txBody>
                  <a:tcPr marL="74250" marR="74250" marT="37120" marB="371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CC00"/>
                    </a:solidFill>
                  </a:tcPr>
                </a:tc>
                <a:extLst>
                  <a:ext uri="{0D108BD9-81ED-4DB2-BD59-A6C34878D82A}">
                    <a16:rowId xmlns:a16="http://schemas.microsoft.com/office/drawing/2014/main" val="10000"/>
                  </a:ext>
                </a:extLst>
              </a:tr>
              <a:tr h="1262037">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i="0" kern="1200" noProof="0" dirty="0">
                          <a:solidFill>
                            <a:schemeClr val="tx1"/>
                          </a:solidFill>
                          <a:latin typeface="+mn-lt"/>
                          <a:ea typeface="+mn-ea"/>
                          <a:cs typeface="+mn-cs"/>
                        </a:rPr>
                        <a:t>Deviations: via line 36</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i="0" kern="1200" noProof="0" dirty="0">
                          <a:solidFill>
                            <a:schemeClr val="tx1"/>
                          </a:solidFill>
                          <a:latin typeface="+mn-lt"/>
                          <a:ea typeface="+mn-ea"/>
                          <a:cs typeface="+mn-cs"/>
                        </a:rPr>
                        <a:t>Estimated extra running time: 15 mi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i="0" kern="1200" noProof="0" dirty="0">
                          <a:solidFill>
                            <a:schemeClr val="tx1"/>
                          </a:solidFill>
                          <a:latin typeface="+mn-lt"/>
                          <a:ea typeface="+mn-ea"/>
                          <a:cs typeface="+mn-cs"/>
                        </a:rPr>
                        <a:t>Restrictions for ad-hoc requests: y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i="0" kern="1200" noProof="0" dirty="0">
                          <a:solidFill>
                            <a:schemeClr val="tx1"/>
                          </a:solidFill>
                          <a:latin typeface="+mn-lt"/>
                          <a:ea typeface="+mn-ea"/>
                          <a:cs typeface="+mn-cs"/>
                        </a:rPr>
                        <a:t>Restrictions in train parameters: n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i="0" kern="1200" noProof="0" dirty="0">
                          <a:solidFill>
                            <a:schemeClr val="tx1"/>
                          </a:solidFill>
                          <a:latin typeface="+mn-lt"/>
                          <a:ea typeface="+mn-ea"/>
                          <a:cs typeface="+mn-cs"/>
                        </a:rPr>
                        <a:t>Restrictions in container profile: N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i="0" kern="1200" noProof="0" dirty="0">
                          <a:solidFill>
                            <a:schemeClr val="tx1"/>
                          </a:solidFill>
                          <a:latin typeface="+mn-lt"/>
                          <a:ea typeface="+mn-ea"/>
                          <a:cs typeface="+mn-cs"/>
                        </a:rPr>
                        <a:t>In annual timetable: </a:t>
                      </a:r>
                      <a:r>
                        <a:rPr lang="en-GB" sz="1100" i="0" kern="1200" noProof="0" dirty="0" err="1">
                          <a:solidFill>
                            <a:schemeClr val="tx1"/>
                          </a:solidFill>
                          <a:latin typeface="+mn-lt"/>
                          <a:ea typeface="+mn-ea"/>
                          <a:cs typeface="+mn-cs"/>
                        </a:rPr>
                        <a:t>tbd</a:t>
                      </a:r>
                      <a:r>
                        <a:rPr lang="en-GB" sz="1100" i="0" kern="1200" noProof="0" dirty="0">
                          <a:solidFill>
                            <a:schemeClr val="tx1"/>
                          </a:solidFill>
                          <a:latin typeface="+mn-lt"/>
                          <a:ea typeface="+mn-ea"/>
                          <a:cs typeface="+mn-cs"/>
                        </a:rPr>
                        <a:t> in 2026</a:t>
                      </a:r>
                    </a:p>
                  </a:txBody>
                  <a:tcPr marL="74250" marR="74250" marT="37120" marB="371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graphicFrame>
        <p:nvGraphicFramePr>
          <p:cNvPr id="11" name="Object 10">
            <a:extLst>
              <a:ext uri="{FF2B5EF4-FFF2-40B4-BE49-F238E27FC236}">
                <a16:creationId xmlns:a16="http://schemas.microsoft.com/office/drawing/2014/main" id="{7ED3A1B6-CC55-5979-5883-F0667C989E62}"/>
              </a:ext>
            </a:extLst>
          </p:cNvPr>
          <p:cNvGraphicFramePr>
            <a:graphicFrameLocks noChangeAspect="1"/>
          </p:cNvGraphicFramePr>
          <p:nvPr>
            <p:extLst>
              <p:ext uri="{D42A27DB-BD31-4B8C-83A1-F6EECF244321}">
                <p14:modId xmlns:p14="http://schemas.microsoft.com/office/powerpoint/2010/main" val="2932963924"/>
              </p:ext>
            </p:extLst>
          </p:nvPr>
        </p:nvGraphicFramePr>
        <p:xfrm>
          <a:off x="4950619" y="3429000"/>
          <a:ext cx="3976098" cy="2899696"/>
        </p:xfrm>
        <a:graphic>
          <a:graphicData uri="http://schemas.openxmlformats.org/presentationml/2006/ole">
            <mc:AlternateContent xmlns:mc="http://schemas.openxmlformats.org/markup-compatibility/2006">
              <mc:Choice xmlns:v="urn:schemas-microsoft-com:vml" Requires="v">
                <p:oleObj name="Worksheet" r:id="rId2" imgW="11677650" imgH="8515350" progId="Excel.Sheet.12">
                  <p:embed/>
                </p:oleObj>
              </mc:Choice>
              <mc:Fallback>
                <p:oleObj name="Worksheet" r:id="rId2" imgW="11677650" imgH="8515350" progId="Excel.Sheet.12">
                  <p:embed/>
                  <p:pic>
                    <p:nvPicPr>
                      <p:cNvPr id="0" name=""/>
                      <p:cNvPicPr/>
                      <p:nvPr/>
                    </p:nvPicPr>
                    <p:blipFill>
                      <a:blip r:embed="rId3"/>
                      <a:stretch>
                        <a:fillRect/>
                      </a:stretch>
                    </p:blipFill>
                    <p:spPr>
                      <a:xfrm>
                        <a:off x="4950619" y="3429000"/>
                        <a:ext cx="3976098" cy="2899696"/>
                      </a:xfrm>
                      <a:prstGeom prst="rect">
                        <a:avLst/>
                      </a:prstGeom>
                      <a:ln w="9525">
                        <a:solidFill>
                          <a:schemeClr val="tx1"/>
                        </a:solidFill>
                      </a:ln>
                    </p:spPr>
                  </p:pic>
                </p:oleObj>
              </mc:Fallback>
            </mc:AlternateContent>
          </a:graphicData>
        </a:graphic>
      </p:graphicFrame>
      <p:pic>
        <p:nvPicPr>
          <p:cNvPr id="13" name="Afbeelding 12">
            <a:extLst>
              <a:ext uri="{FF2B5EF4-FFF2-40B4-BE49-F238E27FC236}">
                <a16:creationId xmlns:a16="http://schemas.microsoft.com/office/drawing/2014/main" id="{762CF40F-A525-7D39-BBE0-6446CF49E16E}"/>
              </a:ext>
            </a:extLst>
          </p:cNvPr>
          <p:cNvPicPr>
            <a:picLocks noChangeAspect="1"/>
          </p:cNvPicPr>
          <p:nvPr/>
        </p:nvPicPr>
        <p:blipFill>
          <a:blip r:embed="rId4"/>
          <a:stretch>
            <a:fillRect/>
          </a:stretch>
        </p:blipFill>
        <p:spPr>
          <a:xfrm>
            <a:off x="1261749" y="2240057"/>
            <a:ext cx="3409836" cy="1962897"/>
          </a:xfrm>
          <a:prstGeom prst="rect">
            <a:avLst/>
          </a:prstGeom>
        </p:spPr>
      </p:pic>
    </p:spTree>
    <p:extLst>
      <p:ext uri="{BB962C8B-B14F-4D97-AF65-F5344CB8AC3E}">
        <p14:creationId xmlns:p14="http://schemas.microsoft.com/office/powerpoint/2010/main" val="40171892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046F78-DC54-5E1D-5CD8-B532BB769A74}"/>
            </a:ext>
          </a:extLst>
        </p:cNvPr>
        <p:cNvGrpSpPr/>
        <p:nvPr/>
      </p:nvGrpSpPr>
      <p:grpSpPr>
        <a:xfrm>
          <a:off x="0" y="0"/>
          <a:ext cx="0" cy="0"/>
          <a:chOff x="0" y="0"/>
          <a:chExt cx="0" cy="0"/>
        </a:xfrm>
      </p:grpSpPr>
      <p:sp>
        <p:nvSpPr>
          <p:cNvPr id="2" name="Text Box 3">
            <a:extLst>
              <a:ext uri="{FF2B5EF4-FFF2-40B4-BE49-F238E27FC236}">
                <a16:creationId xmlns:a16="http://schemas.microsoft.com/office/drawing/2014/main" id="{6F4C8FAB-3A2F-36CB-C607-14FB41975318}"/>
              </a:ext>
            </a:extLst>
          </p:cNvPr>
          <p:cNvSpPr txBox="1">
            <a:spLocks noChangeArrowheads="1"/>
          </p:cNvSpPr>
          <p:nvPr/>
        </p:nvSpPr>
        <p:spPr bwMode="auto">
          <a:xfrm>
            <a:off x="410873" y="904395"/>
            <a:ext cx="6362828" cy="8029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07763" dir="18900000" algn="ctr" rotWithShape="0">
                    <a:schemeClr val="bg2"/>
                  </a:outerShdw>
                </a:effectLst>
              </a14:hiddenEffects>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l">
              <a:spcBef>
                <a:spcPct val="50000"/>
              </a:spcBef>
              <a:buNone/>
            </a:pPr>
            <a:r>
              <a:rPr lang="en-GB" altLang="fr-FR" sz="1847" b="1" dirty="0">
                <a:solidFill>
                  <a:srgbClr val="000000"/>
                </a:solidFill>
                <a:cs typeface="Calibri" panose="020F0502020204030204" pitchFamily="34" charset="0"/>
              </a:rPr>
              <a:t>Impact of TCR TT 2027 at </a:t>
            </a:r>
            <a:r>
              <a:rPr lang="nl-NL" altLang="fr-FR" sz="1847" b="1" dirty="0">
                <a:solidFill>
                  <a:srgbClr val="000000"/>
                </a:solidFill>
                <a:cs typeface="Calibri" panose="020F0502020204030204" pitchFamily="34" charset="0"/>
              </a:rPr>
              <a:t>ProRail</a:t>
            </a:r>
            <a:endParaRPr lang="en-GB" altLang="fr-FR" sz="1847" b="1" dirty="0">
              <a:solidFill>
                <a:prstClr val="black"/>
              </a:solidFill>
              <a:cs typeface="Calibri" panose="020F0502020204030204" pitchFamily="34" charset="0"/>
            </a:endParaRPr>
          </a:p>
          <a:p>
            <a:pPr algn="l">
              <a:spcBef>
                <a:spcPct val="50000"/>
              </a:spcBef>
              <a:buNone/>
            </a:pPr>
            <a:r>
              <a:rPr lang="en-GB" altLang="fr-FR" sz="1847" b="1" dirty="0">
                <a:solidFill>
                  <a:srgbClr val="000000"/>
                </a:solidFill>
                <a:cs typeface="Calibri" panose="020F0502020204030204" pitchFamily="34" charset="0"/>
              </a:rPr>
              <a:t>Section Breda - Tilburg</a:t>
            </a:r>
          </a:p>
        </p:txBody>
      </p:sp>
      <p:graphicFrame>
        <p:nvGraphicFramePr>
          <p:cNvPr id="3" name="Inhaltsplatzhalter 8">
            <a:extLst>
              <a:ext uri="{FF2B5EF4-FFF2-40B4-BE49-F238E27FC236}">
                <a16:creationId xmlns:a16="http://schemas.microsoft.com/office/drawing/2014/main" id="{8B3BA7DF-56FC-E95E-3EE1-66CBE8562148}"/>
              </a:ext>
            </a:extLst>
          </p:cNvPr>
          <p:cNvGraphicFramePr>
            <a:graphicFrameLocks/>
          </p:cNvGraphicFramePr>
          <p:nvPr>
            <p:extLst>
              <p:ext uri="{D42A27DB-BD31-4B8C-83A1-F6EECF244321}">
                <p14:modId xmlns:p14="http://schemas.microsoft.com/office/powerpoint/2010/main" val="4081159565"/>
              </p:ext>
            </p:extLst>
          </p:nvPr>
        </p:nvGraphicFramePr>
        <p:xfrm>
          <a:off x="5078078" y="1696159"/>
          <a:ext cx="3380160" cy="2040323"/>
        </p:xfrm>
        <a:graphic>
          <a:graphicData uri="http://schemas.openxmlformats.org/drawingml/2006/table">
            <a:tbl>
              <a:tblPr firstRow="1" bandRow="1">
                <a:tableStyleId>{5C22544A-7EE6-4342-B048-85BDC9FD1C3A}</a:tableStyleId>
              </a:tblPr>
              <a:tblGrid>
                <a:gridCol w="3380160">
                  <a:extLst>
                    <a:ext uri="{9D8B030D-6E8A-4147-A177-3AD203B41FA5}">
                      <a16:colId xmlns:a16="http://schemas.microsoft.com/office/drawing/2014/main" val="20000"/>
                    </a:ext>
                  </a:extLst>
                </a:gridCol>
              </a:tblGrid>
              <a:tr h="258890">
                <a:tc>
                  <a:txBody>
                    <a:bodyPr/>
                    <a:lstStyle/>
                    <a:p>
                      <a:pPr algn="l"/>
                      <a:r>
                        <a:rPr lang="en-US" sz="1300" i="0" noProof="0" dirty="0">
                          <a:solidFill>
                            <a:schemeClr val="tx1"/>
                          </a:solidFill>
                          <a:latin typeface="+mn-lt"/>
                        </a:rPr>
                        <a:t>Major Capacity</a:t>
                      </a:r>
                      <a:r>
                        <a:rPr lang="en-US" sz="1300" i="0" baseline="0" noProof="0" dirty="0">
                          <a:solidFill>
                            <a:schemeClr val="tx1"/>
                          </a:solidFill>
                          <a:latin typeface="+mn-lt"/>
                        </a:rPr>
                        <a:t> Restriction</a:t>
                      </a:r>
                      <a:endParaRPr lang="en-US" sz="1300" i="0" noProof="0" dirty="0">
                        <a:solidFill>
                          <a:schemeClr val="tx1"/>
                        </a:solidFill>
                        <a:latin typeface="+mn-lt"/>
                      </a:endParaRPr>
                    </a:p>
                  </a:txBody>
                  <a:tcPr marL="84445" marR="84445" marT="42230" marB="422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10000"/>
                  </a:ext>
                </a:extLst>
              </a:tr>
              <a:tr h="998895">
                <a:tc>
                  <a:txBody>
                    <a:bodyPr/>
                    <a:lstStyle/>
                    <a:p>
                      <a:pPr marL="171450" indent="-171450">
                        <a:buFont typeface="Arial" panose="020B0604020202020204" pitchFamily="34" charset="0"/>
                        <a:buChar char="•"/>
                      </a:pPr>
                      <a:r>
                        <a:rPr lang="en-US" sz="1100" i="0" noProof="0" dirty="0">
                          <a:solidFill>
                            <a:schemeClr val="tx1"/>
                          </a:solidFill>
                          <a:latin typeface="+mn-lt"/>
                        </a:rPr>
                        <a:t>Location</a:t>
                      </a:r>
                      <a:r>
                        <a:rPr lang="cs-CZ" sz="1100" i="0" noProof="0" dirty="0">
                          <a:solidFill>
                            <a:schemeClr val="tx1"/>
                          </a:solidFill>
                          <a:latin typeface="+mn-lt"/>
                        </a:rPr>
                        <a:t> </a:t>
                      </a:r>
                      <a:r>
                        <a:rPr lang="nl-NL" sz="1100" i="0" noProof="0" dirty="0">
                          <a:solidFill>
                            <a:schemeClr val="tx1"/>
                          </a:solidFill>
                          <a:latin typeface="+mn-lt"/>
                        </a:rPr>
                        <a:t>Breda – Tilburg – Vught (aansluiting)</a:t>
                      </a:r>
                      <a:endParaRPr lang="en-US" sz="1100" i="0" noProof="0" dirty="0">
                        <a:solidFill>
                          <a:schemeClr val="tx1"/>
                        </a:solidFill>
                        <a:latin typeface="+mn-lt"/>
                      </a:endParaRPr>
                    </a:p>
                    <a:p>
                      <a:pPr marL="171450" indent="-171450">
                        <a:buFont typeface="Arial" panose="020B0604020202020204" pitchFamily="34" charset="0"/>
                        <a:buChar char="•"/>
                      </a:pPr>
                      <a:r>
                        <a:rPr lang="en-US" sz="1100" i="0" noProof="0" dirty="0">
                          <a:solidFill>
                            <a:schemeClr val="tx1"/>
                          </a:solidFill>
                          <a:latin typeface="+mn-lt"/>
                        </a:rPr>
                        <a:t>Type: Total Closure</a:t>
                      </a:r>
                    </a:p>
                    <a:p>
                      <a:pPr marL="171450" indent="-171450">
                        <a:buFont typeface="Arial" panose="020B0604020202020204" pitchFamily="34" charset="0"/>
                        <a:buChar char="•"/>
                      </a:pPr>
                      <a:r>
                        <a:rPr lang="en-US" sz="1100" i="0" noProof="0" dirty="0">
                          <a:solidFill>
                            <a:schemeClr val="tx1"/>
                          </a:solidFill>
                          <a:latin typeface="+mn-lt"/>
                        </a:rPr>
                        <a:t>Periods:</a:t>
                      </a:r>
                      <a:r>
                        <a:rPr lang="cs-CZ" sz="1100" i="0" noProof="0" dirty="0">
                          <a:solidFill>
                            <a:schemeClr val="tx1"/>
                          </a:solidFill>
                          <a:latin typeface="+mn-lt"/>
                        </a:rPr>
                        <a:t>  </a:t>
                      </a:r>
                      <a:r>
                        <a:rPr lang="nl-NL" sz="1100" i="0" noProof="0" dirty="0">
                          <a:solidFill>
                            <a:schemeClr val="tx1"/>
                          </a:solidFill>
                          <a:latin typeface="+mn-lt"/>
                        </a:rPr>
                        <a:t>28.04.</a:t>
                      </a:r>
                      <a:r>
                        <a:rPr lang="cs-CZ" sz="1100" i="0" noProof="0" dirty="0">
                          <a:solidFill>
                            <a:schemeClr val="tx1"/>
                          </a:solidFill>
                          <a:latin typeface="+mn-lt"/>
                        </a:rPr>
                        <a:t> -</a:t>
                      </a:r>
                      <a:r>
                        <a:rPr lang="nl-NL" sz="1100" i="0" noProof="0" dirty="0">
                          <a:solidFill>
                            <a:schemeClr val="tx1"/>
                          </a:solidFill>
                          <a:latin typeface="+mn-lt"/>
                        </a:rPr>
                        <a:t>13</a:t>
                      </a:r>
                      <a:r>
                        <a:rPr lang="cs-CZ" sz="1100" i="0" noProof="0" dirty="0">
                          <a:solidFill>
                            <a:schemeClr val="tx1"/>
                          </a:solidFill>
                          <a:latin typeface="+mn-lt"/>
                        </a:rPr>
                        <a:t>.</a:t>
                      </a:r>
                      <a:r>
                        <a:rPr lang="nl-NL" sz="1100" i="0" noProof="0" dirty="0">
                          <a:solidFill>
                            <a:schemeClr val="tx1"/>
                          </a:solidFill>
                          <a:latin typeface="+mn-lt"/>
                        </a:rPr>
                        <a:t>05</a:t>
                      </a:r>
                      <a:r>
                        <a:rPr lang="cs-CZ" sz="1100" i="0" noProof="0" dirty="0">
                          <a:solidFill>
                            <a:schemeClr val="tx1"/>
                          </a:solidFill>
                          <a:latin typeface="+mn-lt"/>
                        </a:rPr>
                        <a:t>.202</a:t>
                      </a:r>
                      <a:r>
                        <a:rPr lang="nl-NL" sz="1100" i="0" noProof="0" dirty="0">
                          <a:solidFill>
                            <a:schemeClr val="tx1"/>
                          </a:solidFill>
                          <a:latin typeface="+mn-lt"/>
                        </a:rPr>
                        <a:t>7 </a:t>
                      </a:r>
                      <a:r>
                        <a:rPr lang="nl-NL" sz="1100" i="0" noProof="0" dirty="0" err="1">
                          <a:solidFill>
                            <a:schemeClr val="tx1"/>
                          </a:solidFill>
                          <a:latin typeface="+mn-lt"/>
                        </a:rPr>
                        <a:t>and</a:t>
                      </a:r>
                      <a:r>
                        <a:rPr lang="nl-NL" sz="1100" i="0" noProof="0" dirty="0">
                          <a:solidFill>
                            <a:schemeClr val="tx1"/>
                          </a:solidFill>
                          <a:latin typeface="+mn-lt"/>
                        </a:rPr>
                        <a:t> 13.08 - 21.08. 2027  </a:t>
                      </a:r>
                    </a:p>
                    <a:p>
                      <a:pPr marL="0" indent="0">
                        <a:buFont typeface="Arial" panose="020B0604020202020204" pitchFamily="34" charset="0"/>
                        <a:buNone/>
                      </a:pPr>
                      <a:r>
                        <a:rPr lang="nl-NL" sz="1100" i="0" noProof="0" dirty="0">
                          <a:solidFill>
                            <a:schemeClr val="tx1"/>
                          </a:solidFill>
                          <a:latin typeface="+mn-lt"/>
                        </a:rPr>
                        <a:t>     </a:t>
                      </a:r>
                      <a:r>
                        <a:rPr lang="en-US" sz="1100" i="0" noProof="0" dirty="0">
                          <a:solidFill>
                            <a:schemeClr val="tx1"/>
                          </a:solidFill>
                          <a:latin typeface="+mn-lt"/>
                        </a:rPr>
                        <a:t>                 </a:t>
                      </a:r>
                    </a:p>
                    <a:p>
                      <a:pPr marL="171450" indent="-171450">
                        <a:buFont typeface="Arial" panose="020B0604020202020204" pitchFamily="34" charset="0"/>
                        <a:buChar char="•"/>
                      </a:pPr>
                      <a:r>
                        <a:rPr lang="en-US" sz="1100" i="0" noProof="0" dirty="0">
                          <a:solidFill>
                            <a:schemeClr val="tx1"/>
                          </a:solidFill>
                          <a:latin typeface="+mn-lt"/>
                        </a:rPr>
                        <a:t>Type of works:</a:t>
                      </a:r>
                      <a:r>
                        <a:rPr lang="cs-CZ" sz="1100" i="0" noProof="0" dirty="0">
                          <a:solidFill>
                            <a:schemeClr val="tx1"/>
                          </a:solidFill>
                          <a:latin typeface="+mn-lt"/>
                        </a:rPr>
                        <a:t> </a:t>
                      </a:r>
                      <a:r>
                        <a:rPr lang="nl-NL" sz="1100" i="0" noProof="0" dirty="0" err="1">
                          <a:solidFill>
                            <a:schemeClr val="tx1"/>
                          </a:solidFill>
                          <a:latin typeface="+mn-lt"/>
                        </a:rPr>
                        <a:t>Renewal</a:t>
                      </a:r>
                      <a:r>
                        <a:rPr lang="nl-NL" sz="1100" i="0" noProof="0" dirty="0">
                          <a:solidFill>
                            <a:schemeClr val="tx1"/>
                          </a:solidFill>
                          <a:latin typeface="+mn-lt"/>
                        </a:rPr>
                        <a:t> of tracks </a:t>
                      </a:r>
                      <a:r>
                        <a:rPr lang="nl-NL" sz="1100" i="0" noProof="0" dirty="0" err="1">
                          <a:solidFill>
                            <a:schemeClr val="tx1"/>
                          </a:solidFill>
                          <a:latin typeface="+mn-lt"/>
                        </a:rPr>
                        <a:t>and</a:t>
                      </a:r>
                      <a:r>
                        <a:rPr lang="nl-NL" sz="1100" i="0" noProof="0" dirty="0">
                          <a:solidFill>
                            <a:schemeClr val="tx1"/>
                          </a:solidFill>
                          <a:latin typeface="+mn-lt"/>
                        </a:rPr>
                        <a:t> </a:t>
                      </a:r>
                      <a:r>
                        <a:rPr lang="nl-NL" sz="1100" i="0" noProof="0" dirty="0" err="1">
                          <a:solidFill>
                            <a:schemeClr val="tx1"/>
                          </a:solidFill>
                          <a:latin typeface="+mn-lt"/>
                        </a:rPr>
                        <a:t>safety</a:t>
                      </a:r>
                      <a:r>
                        <a:rPr lang="nl-NL" sz="1100" i="0" noProof="0" dirty="0">
                          <a:solidFill>
                            <a:schemeClr val="tx1"/>
                          </a:solidFill>
                          <a:latin typeface="+mn-lt"/>
                        </a:rPr>
                        <a:t> systems. New </a:t>
                      </a:r>
                      <a:r>
                        <a:rPr lang="nl-NL" sz="1100" i="0" noProof="0" dirty="0" err="1">
                          <a:solidFill>
                            <a:schemeClr val="tx1"/>
                          </a:solidFill>
                          <a:latin typeface="+mn-lt"/>
                        </a:rPr>
                        <a:t>infrastructure</a:t>
                      </a:r>
                      <a:r>
                        <a:rPr lang="nl-NL" sz="1100" i="0" noProof="0" dirty="0">
                          <a:solidFill>
                            <a:schemeClr val="tx1"/>
                          </a:solidFill>
                          <a:latin typeface="+mn-lt"/>
                        </a:rPr>
                        <a:t> on Tilburg Station </a:t>
                      </a:r>
                      <a:endParaRPr lang="en-US" sz="900" i="0" noProof="0" dirty="0">
                        <a:solidFill>
                          <a:schemeClr val="tx1"/>
                        </a:solidFill>
                        <a:highlight>
                          <a:srgbClr val="FFFF00"/>
                        </a:highlight>
                        <a:latin typeface="+mn-lt"/>
                      </a:endParaRPr>
                    </a:p>
                  </a:txBody>
                  <a:tcPr marL="84445" marR="84445" marT="42230" marB="422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667443">
                <a:tc>
                  <a:txBody>
                    <a:bodyPr/>
                    <a:lstStyle/>
                    <a:p>
                      <a:pPr marL="171450" indent="-171450">
                        <a:buFont typeface="Arial" panose="020B0604020202020204" pitchFamily="34" charset="0"/>
                        <a:buChar char="•"/>
                      </a:pPr>
                      <a:endParaRPr lang="en-US" sz="900" i="0" noProof="0" dirty="0">
                        <a:solidFill>
                          <a:schemeClr val="tx1"/>
                        </a:solidFill>
                        <a:highlight>
                          <a:srgbClr val="FFFF00"/>
                        </a:highlight>
                        <a:latin typeface="+mn-lt"/>
                      </a:endParaRPr>
                    </a:p>
                  </a:txBody>
                  <a:tcPr marL="84445" marR="84445" marT="42230" marB="422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51372690"/>
                  </a:ext>
                </a:extLst>
              </a:tr>
            </a:tbl>
          </a:graphicData>
        </a:graphic>
      </p:graphicFrame>
      <p:sp>
        <p:nvSpPr>
          <p:cNvPr id="5" name="Textfeld 18">
            <a:extLst>
              <a:ext uri="{FF2B5EF4-FFF2-40B4-BE49-F238E27FC236}">
                <a16:creationId xmlns:a16="http://schemas.microsoft.com/office/drawing/2014/main" id="{49D4D64E-1E15-1B5A-25C6-481F35CA18BC}"/>
              </a:ext>
            </a:extLst>
          </p:cNvPr>
          <p:cNvSpPr txBox="1">
            <a:spLocks noChangeArrowheads="1"/>
          </p:cNvSpPr>
          <p:nvPr/>
        </p:nvSpPr>
        <p:spPr bwMode="auto">
          <a:xfrm>
            <a:off x="694859" y="1696156"/>
            <a:ext cx="3995094" cy="291298"/>
          </a:xfrm>
          <a:prstGeom prst="rect">
            <a:avLst/>
          </a:prstGeom>
          <a:solidFill>
            <a:srgbClr val="FFCC00"/>
          </a:solidFill>
          <a:ln w="9525">
            <a:solidFill>
              <a:srgbClr val="0066FF"/>
            </a:solidFill>
            <a:miter lim="800000"/>
            <a:headEnd/>
            <a:tailEnd/>
          </a:ln>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de-DE" altLang="fr-FR" sz="1293" b="1">
                <a:solidFill>
                  <a:prstClr val="black"/>
                </a:solidFill>
                <a:cs typeface="Arial" pitchFamily="34" charset="0"/>
              </a:rPr>
              <a:t>Map view</a:t>
            </a:r>
          </a:p>
        </p:txBody>
      </p:sp>
      <p:sp>
        <p:nvSpPr>
          <p:cNvPr id="6" name="Rechteck 20">
            <a:extLst>
              <a:ext uri="{FF2B5EF4-FFF2-40B4-BE49-F238E27FC236}">
                <a16:creationId xmlns:a16="http://schemas.microsoft.com/office/drawing/2014/main" id="{5E6D7180-DF71-40A6-73F1-BCEF1A0CBE2B}"/>
              </a:ext>
            </a:extLst>
          </p:cNvPr>
          <p:cNvSpPr>
            <a:spLocks noChangeArrowheads="1"/>
          </p:cNvSpPr>
          <p:nvPr/>
        </p:nvSpPr>
        <p:spPr bwMode="auto">
          <a:xfrm>
            <a:off x="694859" y="1964452"/>
            <a:ext cx="3995094" cy="2476225"/>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fontAlgn="base">
              <a:spcBef>
                <a:spcPct val="50000"/>
              </a:spcBef>
              <a:spcAft>
                <a:spcPct val="0"/>
              </a:spcAft>
              <a:buFontTx/>
              <a:buNone/>
            </a:pPr>
            <a:endParaRPr lang="de-DE" altLang="fr-FR" sz="1108" b="1">
              <a:solidFill>
                <a:prstClr val="black"/>
              </a:solidFill>
              <a:latin typeface="DB Office" pitchFamily="34" charset="0"/>
              <a:cs typeface="Arial" pitchFamily="34" charset="0"/>
            </a:endParaRPr>
          </a:p>
        </p:txBody>
      </p:sp>
      <p:graphicFrame>
        <p:nvGraphicFramePr>
          <p:cNvPr id="9" name="Inhaltsplatzhalter 8">
            <a:extLst>
              <a:ext uri="{FF2B5EF4-FFF2-40B4-BE49-F238E27FC236}">
                <a16:creationId xmlns:a16="http://schemas.microsoft.com/office/drawing/2014/main" id="{D890913A-A142-F910-285B-52F8FD87BB32}"/>
              </a:ext>
            </a:extLst>
          </p:cNvPr>
          <p:cNvGraphicFramePr>
            <a:graphicFrameLocks/>
          </p:cNvGraphicFramePr>
          <p:nvPr/>
        </p:nvGraphicFramePr>
        <p:xfrm>
          <a:off x="693912" y="4455296"/>
          <a:ext cx="3990704" cy="1834079"/>
        </p:xfrm>
        <a:graphic>
          <a:graphicData uri="http://schemas.openxmlformats.org/drawingml/2006/table">
            <a:tbl>
              <a:tblPr firstRow="1" bandRow="1">
                <a:tableStyleId>{5C22544A-7EE6-4342-B048-85BDC9FD1C3A}</a:tableStyleId>
              </a:tblPr>
              <a:tblGrid>
                <a:gridCol w="3990704">
                  <a:extLst>
                    <a:ext uri="{9D8B030D-6E8A-4147-A177-3AD203B41FA5}">
                      <a16:colId xmlns:a16="http://schemas.microsoft.com/office/drawing/2014/main" val="20000"/>
                    </a:ext>
                  </a:extLst>
                </a:gridCol>
              </a:tblGrid>
              <a:tr h="398905">
                <a:tc>
                  <a:txBody>
                    <a:bodyPr/>
                    <a:lstStyle/>
                    <a:p>
                      <a:pPr algn="l"/>
                      <a:r>
                        <a:rPr lang="en-US" sz="1300" noProof="0" dirty="0">
                          <a:solidFill>
                            <a:schemeClr val="tx1"/>
                          </a:solidFill>
                          <a:latin typeface="+mn-lt"/>
                        </a:rPr>
                        <a:t>Impact on</a:t>
                      </a:r>
                      <a:r>
                        <a:rPr lang="en-US" sz="1300" baseline="0" noProof="0" dirty="0">
                          <a:solidFill>
                            <a:schemeClr val="tx1"/>
                          </a:solidFill>
                          <a:latin typeface="+mn-lt"/>
                        </a:rPr>
                        <a:t> </a:t>
                      </a:r>
                      <a:r>
                        <a:rPr lang="en-US" sz="1300" noProof="0" dirty="0">
                          <a:solidFill>
                            <a:schemeClr val="tx1"/>
                          </a:solidFill>
                          <a:latin typeface="+mn-lt"/>
                        </a:rPr>
                        <a:t>International Rail Freight </a:t>
                      </a:r>
                    </a:p>
                  </a:txBody>
                  <a:tcPr marL="84437" marR="84437" marT="42212" marB="422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CC00"/>
                    </a:solidFill>
                  </a:tcPr>
                </a:tc>
                <a:extLst>
                  <a:ext uri="{0D108BD9-81ED-4DB2-BD59-A6C34878D82A}">
                    <a16:rowId xmlns:a16="http://schemas.microsoft.com/office/drawing/2014/main" val="10000"/>
                  </a:ext>
                </a:extLst>
              </a:tr>
              <a:tr h="1435174">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dirty="0">
                          <a:solidFill>
                            <a:schemeClr val="tx1"/>
                          </a:solidFill>
                          <a:latin typeface="+mn-lt"/>
                          <a:ea typeface="+mn-ea"/>
                          <a:cs typeface="+mn-cs"/>
                        </a:rPr>
                        <a:t>Cancellations: </a:t>
                      </a:r>
                      <a:r>
                        <a:rPr lang="cs-CZ" sz="1200" i="0" kern="1200" noProof="0" dirty="0">
                          <a:solidFill>
                            <a:schemeClr val="tx1"/>
                          </a:solidFill>
                          <a:latin typeface="+mn-lt"/>
                          <a:ea typeface="+mn-ea"/>
                          <a:cs typeface="+mn-cs"/>
                        </a:rPr>
                        <a:t>No</a:t>
                      </a:r>
                      <a:endParaRPr lang="en-US" sz="1200" i="0" kern="1200" noProof="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dirty="0">
                          <a:solidFill>
                            <a:schemeClr val="tx1"/>
                          </a:solidFill>
                          <a:latin typeface="+mn-lt"/>
                          <a:ea typeface="+mn-ea"/>
                          <a:cs typeface="+mn-cs"/>
                        </a:rPr>
                        <a:t>Deviations: </a:t>
                      </a:r>
                      <a:r>
                        <a:rPr lang="nl-NL" sz="1200" i="0" kern="1200" noProof="0" dirty="0">
                          <a:solidFill>
                            <a:schemeClr val="tx1"/>
                          </a:solidFill>
                          <a:latin typeface="+mn-lt"/>
                          <a:ea typeface="+mn-ea"/>
                          <a:cs typeface="+mn-cs"/>
                        </a:rPr>
                        <a:t>Yes, via Betuweroute (A15) - Emmerich</a:t>
                      </a:r>
                      <a:endParaRPr lang="en-US" sz="1200" i="0" kern="1200" noProof="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dirty="0">
                          <a:solidFill>
                            <a:schemeClr val="tx1"/>
                          </a:solidFill>
                          <a:latin typeface="+mn-lt"/>
                          <a:ea typeface="+mn-ea"/>
                          <a:cs typeface="+mn-cs"/>
                        </a:rPr>
                        <a:t>Estimated extra running time:</a:t>
                      </a:r>
                      <a:r>
                        <a:rPr lang="cs-CZ" sz="1200" i="0" kern="1200" noProof="0" dirty="0">
                          <a:solidFill>
                            <a:schemeClr val="tx1"/>
                          </a:solidFill>
                          <a:latin typeface="+mn-lt"/>
                          <a:ea typeface="+mn-ea"/>
                          <a:cs typeface="+mn-cs"/>
                        </a:rPr>
                        <a:t> </a:t>
                      </a:r>
                      <a:r>
                        <a:rPr lang="en-US" sz="1200" i="0" kern="1200" noProof="0" dirty="0">
                          <a:solidFill>
                            <a:schemeClr val="tx1"/>
                          </a:solidFill>
                          <a:latin typeface="+mn-lt"/>
                          <a:ea typeface="+mn-ea"/>
                          <a:cs typeface="+mn-cs"/>
                        </a:rPr>
                        <a:t>delay of freight trains approx. 30 - 90 minu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dirty="0">
                          <a:solidFill>
                            <a:schemeClr val="tx1"/>
                          </a:solidFill>
                          <a:latin typeface="+mn-lt"/>
                          <a:ea typeface="+mn-ea"/>
                          <a:cs typeface="+mn-cs"/>
                        </a:rPr>
                        <a:t>In annual timetable: No </a:t>
                      </a:r>
                      <a:endParaRPr lang="en-US" sz="1100" i="0" noProof="0" dirty="0">
                        <a:solidFill>
                          <a:schemeClr val="tx1"/>
                        </a:solidFill>
                      </a:endParaRPr>
                    </a:p>
                  </a:txBody>
                  <a:tcPr marL="84437" marR="84437" marT="42212" marB="422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4" name="Textfeld 17">
            <a:extLst>
              <a:ext uri="{FF2B5EF4-FFF2-40B4-BE49-F238E27FC236}">
                <a16:creationId xmlns:a16="http://schemas.microsoft.com/office/drawing/2014/main" id="{06FCEA82-E3AD-1442-1109-DF279299E866}"/>
              </a:ext>
            </a:extLst>
          </p:cNvPr>
          <p:cNvSpPr txBox="1">
            <a:spLocks noChangeArrowheads="1"/>
          </p:cNvSpPr>
          <p:nvPr/>
        </p:nvSpPr>
        <p:spPr bwMode="auto">
          <a:xfrm>
            <a:off x="8008148" y="671884"/>
            <a:ext cx="77457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nl-NL" altLang="fr-FR" sz="1000" dirty="0">
                <a:solidFill>
                  <a:prstClr val="black"/>
                </a:solidFill>
                <a:cs typeface="Arial" pitchFamily="34" charset="0"/>
              </a:rPr>
              <a:t>31.01.2025</a:t>
            </a:r>
            <a:endParaRPr lang="de-DE" altLang="fr-FR" sz="1000" dirty="0">
              <a:solidFill>
                <a:srgbClr val="FF0000"/>
              </a:solidFill>
              <a:cs typeface="Arial" pitchFamily="34" charset="0"/>
            </a:endParaRPr>
          </a:p>
        </p:txBody>
      </p:sp>
      <p:pic>
        <p:nvPicPr>
          <p:cNvPr id="11" name="Afbeelding 10">
            <a:extLst>
              <a:ext uri="{FF2B5EF4-FFF2-40B4-BE49-F238E27FC236}">
                <a16:creationId xmlns:a16="http://schemas.microsoft.com/office/drawing/2014/main" id="{F87B04AF-33CE-DA90-A6BB-1E4A42D24F40}"/>
              </a:ext>
            </a:extLst>
          </p:cNvPr>
          <p:cNvPicPr>
            <a:picLocks noChangeAspect="1"/>
          </p:cNvPicPr>
          <p:nvPr/>
        </p:nvPicPr>
        <p:blipFill>
          <a:blip r:embed="rId2"/>
          <a:stretch>
            <a:fillRect/>
          </a:stretch>
        </p:blipFill>
        <p:spPr>
          <a:xfrm>
            <a:off x="800721" y="2127564"/>
            <a:ext cx="3799148" cy="2190923"/>
          </a:xfrm>
          <a:prstGeom prst="rect">
            <a:avLst/>
          </a:prstGeom>
        </p:spPr>
      </p:pic>
      <p:graphicFrame>
        <p:nvGraphicFramePr>
          <p:cNvPr id="10" name="Object 9">
            <a:extLst>
              <a:ext uri="{FF2B5EF4-FFF2-40B4-BE49-F238E27FC236}">
                <a16:creationId xmlns:a16="http://schemas.microsoft.com/office/drawing/2014/main" id="{8D9E676D-4F47-0CE2-8069-B02226A029E2}"/>
              </a:ext>
            </a:extLst>
          </p:cNvPr>
          <p:cNvGraphicFramePr>
            <a:graphicFrameLocks noChangeAspect="1"/>
          </p:cNvGraphicFramePr>
          <p:nvPr>
            <p:extLst>
              <p:ext uri="{D42A27DB-BD31-4B8C-83A1-F6EECF244321}">
                <p14:modId xmlns:p14="http://schemas.microsoft.com/office/powerpoint/2010/main" val="388129398"/>
              </p:ext>
            </p:extLst>
          </p:nvPr>
        </p:nvGraphicFramePr>
        <p:xfrm>
          <a:off x="4964766" y="3775295"/>
          <a:ext cx="3636896" cy="2652322"/>
        </p:xfrm>
        <a:graphic>
          <a:graphicData uri="http://schemas.openxmlformats.org/presentationml/2006/ole">
            <mc:AlternateContent xmlns:mc="http://schemas.openxmlformats.org/markup-compatibility/2006">
              <mc:Choice xmlns:v="urn:schemas-microsoft-com:vml" Requires="v">
                <p:oleObj name="Worksheet" r:id="rId3" imgW="11677650" imgH="8515350" progId="Excel.Sheet.12">
                  <p:embed/>
                </p:oleObj>
              </mc:Choice>
              <mc:Fallback>
                <p:oleObj name="Worksheet" r:id="rId3" imgW="11677650" imgH="8515350" progId="Excel.Sheet.12">
                  <p:embed/>
                  <p:pic>
                    <p:nvPicPr>
                      <p:cNvPr id="0" name=""/>
                      <p:cNvPicPr/>
                      <p:nvPr/>
                    </p:nvPicPr>
                    <p:blipFill>
                      <a:blip r:embed="rId4"/>
                      <a:stretch>
                        <a:fillRect/>
                      </a:stretch>
                    </p:blipFill>
                    <p:spPr>
                      <a:xfrm>
                        <a:off x="4964766" y="3775295"/>
                        <a:ext cx="3636896" cy="2652322"/>
                      </a:xfrm>
                      <a:prstGeom prst="rect">
                        <a:avLst/>
                      </a:prstGeom>
                      <a:ln w="9525">
                        <a:solidFill>
                          <a:schemeClr val="tx1"/>
                        </a:solidFill>
                      </a:ln>
                    </p:spPr>
                  </p:pic>
                </p:oleObj>
              </mc:Fallback>
            </mc:AlternateContent>
          </a:graphicData>
        </a:graphic>
      </p:graphicFrame>
    </p:spTree>
    <p:extLst>
      <p:ext uri="{BB962C8B-B14F-4D97-AF65-F5344CB8AC3E}">
        <p14:creationId xmlns:p14="http://schemas.microsoft.com/office/powerpoint/2010/main" val="22404249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8A6CF8-04D5-CB48-7374-FC776DD6483A}"/>
            </a:ext>
          </a:extLst>
        </p:cNvPr>
        <p:cNvGrpSpPr/>
        <p:nvPr/>
      </p:nvGrpSpPr>
      <p:grpSpPr>
        <a:xfrm>
          <a:off x="0" y="0"/>
          <a:ext cx="0" cy="0"/>
          <a:chOff x="0" y="0"/>
          <a:chExt cx="0" cy="0"/>
        </a:xfrm>
      </p:grpSpPr>
      <p:sp>
        <p:nvSpPr>
          <p:cNvPr id="2" name="Text Box 3">
            <a:extLst>
              <a:ext uri="{FF2B5EF4-FFF2-40B4-BE49-F238E27FC236}">
                <a16:creationId xmlns:a16="http://schemas.microsoft.com/office/drawing/2014/main" id="{87596154-F629-2CCC-02D2-295FAA59B476}"/>
              </a:ext>
            </a:extLst>
          </p:cNvPr>
          <p:cNvSpPr txBox="1">
            <a:spLocks noChangeArrowheads="1"/>
          </p:cNvSpPr>
          <p:nvPr/>
        </p:nvSpPr>
        <p:spPr bwMode="auto">
          <a:xfrm>
            <a:off x="410873" y="904395"/>
            <a:ext cx="6362828" cy="8029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07763" dir="18900000" algn="ctr" rotWithShape="0">
                    <a:schemeClr val="bg2"/>
                  </a:outerShdw>
                </a:effectLst>
              </a14:hiddenEffects>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l">
              <a:spcBef>
                <a:spcPct val="50000"/>
              </a:spcBef>
              <a:buNone/>
            </a:pPr>
            <a:r>
              <a:rPr lang="en-GB" altLang="fr-FR" sz="1847" b="1" dirty="0">
                <a:solidFill>
                  <a:srgbClr val="000000"/>
                </a:solidFill>
                <a:cs typeface="Calibri" panose="020F0502020204030204" pitchFamily="34" charset="0"/>
              </a:rPr>
              <a:t>Impact of TCR TT 2027 at </a:t>
            </a:r>
            <a:r>
              <a:rPr lang="nl-NL" altLang="fr-FR" sz="1847" b="1" dirty="0">
                <a:solidFill>
                  <a:srgbClr val="000000"/>
                </a:solidFill>
                <a:cs typeface="Calibri" panose="020F0502020204030204" pitchFamily="34" charset="0"/>
              </a:rPr>
              <a:t>ProRail</a:t>
            </a:r>
            <a:endParaRPr lang="en-GB" altLang="fr-FR" sz="1847" b="1" dirty="0">
              <a:solidFill>
                <a:prstClr val="black"/>
              </a:solidFill>
              <a:cs typeface="Calibri" panose="020F0502020204030204" pitchFamily="34" charset="0"/>
            </a:endParaRPr>
          </a:p>
          <a:p>
            <a:pPr algn="l">
              <a:spcBef>
                <a:spcPct val="50000"/>
              </a:spcBef>
              <a:buNone/>
            </a:pPr>
            <a:r>
              <a:rPr lang="en-GB" altLang="fr-FR" sz="1847" b="1" dirty="0">
                <a:solidFill>
                  <a:srgbClr val="000000"/>
                </a:solidFill>
                <a:cs typeface="Calibri" panose="020F0502020204030204" pitchFamily="34" charset="0"/>
              </a:rPr>
              <a:t>Section </a:t>
            </a:r>
            <a:r>
              <a:rPr lang="en-GB" altLang="fr-FR" sz="1847" b="1" dirty="0" err="1">
                <a:solidFill>
                  <a:srgbClr val="000000"/>
                </a:solidFill>
                <a:cs typeface="Calibri" panose="020F0502020204030204" pitchFamily="34" charset="0"/>
              </a:rPr>
              <a:t>Kijfhoek</a:t>
            </a:r>
            <a:r>
              <a:rPr lang="en-GB" altLang="fr-FR" sz="1847" b="1" dirty="0">
                <a:solidFill>
                  <a:srgbClr val="000000"/>
                </a:solidFill>
                <a:cs typeface="Calibri" panose="020F0502020204030204" pitchFamily="34" charset="0"/>
              </a:rPr>
              <a:t> – </a:t>
            </a:r>
            <a:r>
              <a:rPr lang="en-GB" altLang="fr-FR" sz="1847" b="1" dirty="0" err="1">
                <a:solidFill>
                  <a:srgbClr val="000000"/>
                </a:solidFill>
                <a:cs typeface="Calibri" panose="020F0502020204030204" pitchFamily="34" charset="0"/>
              </a:rPr>
              <a:t>Meteren</a:t>
            </a:r>
            <a:r>
              <a:rPr lang="en-GB" altLang="fr-FR" sz="1847" b="1" dirty="0">
                <a:solidFill>
                  <a:srgbClr val="000000"/>
                </a:solidFill>
                <a:cs typeface="Calibri" panose="020F0502020204030204" pitchFamily="34" charset="0"/>
              </a:rPr>
              <a:t> – </a:t>
            </a:r>
            <a:r>
              <a:rPr lang="en-GB" altLang="fr-FR" sz="1847" b="1" dirty="0" err="1">
                <a:solidFill>
                  <a:srgbClr val="000000"/>
                </a:solidFill>
                <a:cs typeface="Calibri" panose="020F0502020204030204" pitchFamily="34" charset="0"/>
              </a:rPr>
              <a:t>Zevenaar</a:t>
            </a:r>
            <a:r>
              <a:rPr lang="en-GB" altLang="fr-FR" sz="1847" b="1" dirty="0">
                <a:solidFill>
                  <a:srgbClr val="000000"/>
                </a:solidFill>
                <a:cs typeface="Calibri" panose="020F0502020204030204" pitchFamily="34" charset="0"/>
              </a:rPr>
              <a:t> (A15 </a:t>
            </a:r>
            <a:r>
              <a:rPr lang="en-GB" altLang="fr-FR" sz="1847" b="1" dirty="0" err="1">
                <a:solidFill>
                  <a:srgbClr val="000000"/>
                </a:solidFill>
                <a:cs typeface="Calibri" panose="020F0502020204030204" pitchFamily="34" charset="0"/>
              </a:rPr>
              <a:t>Tracé</a:t>
            </a:r>
            <a:r>
              <a:rPr lang="en-GB" altLang="fr-FR" sz="1847" b="1" dirty="0">
                <a:solidFill>
                  <a:srgbClr val="000000"/>
                </a:solidFill>
                <a:cs typeface="Calibri" panose="020F0502020204030204" pitchFamily="34" charset="0"/>
              </a:rPr>
              <a:t>)</a:t>
            </a:r>
          </a:p>
        </p:txBody>
      </p:sp>
      <p:graphicFrame>
        <p:nvGraphicFramePr>
          <p:cNvPr id="3" name="Inhaltsplatzhalter 8">
            <a:extLst>
              <a:ext uri="{FF2B5EF4-FFF2-40B4-BE49-F238E27FC236}">
                <a16:creationId xmlns:a16="http://schemas.microsoft.com/office/drawing/2014/main" id="{C20A8B42-9E2B-1EE5-D637-33D9713186FE}"/>
              </a:ext>
            </a:extLst>
          </p:cNvPr>
          <p:cNvGraphicFramePr>
            <a:graphicFrameLocks/>
          </p:cNvGraphicFramePr>
          <p:nvPr>
            <p:extLst>
              <p:ext uri="{D42A27DB-BD31-4B8C-83A1-F6EECF244321}">
                <p14:modId xmlns:p14="http://schemas.microsoft.com/office/powerpoint/2010/main" val="1002937826"/>
              </p:ext>
            </p:extLst>
          </p:nvPr>
        </p:nvGraphicFramePr>
        <p:xfrm>
          <a:off x="5078078" y="1696158"/>
          <a:ext cx="3380160" cy="1916067"/>
        </p:xfrm>
        <a:graphic>
          <a:graphicData uri="http://schemas.openxmlformats.org/drawingml/2006/table">
            <a:tbl>
              <a:tblPr firstRow="1" bandRow="1">
                <a:tableStyleId>{5C22544A-7EE6-4342-B048-85BDC9FD1C3A}</a:tableStyleId>
              </a:tblPr>
              <a:tblGrid>
                <a:gridCol w="3380160">
                  <a:extLst>
                    <a:ext uri="{9D8B030D-6E8A-4147-A177-3AD203B41FA5}">
                      <a16:colId xmlns:a16="http://schemas.microsoft.com/office/drawing/2014/main" val="20000"/>
                    </a:ext>
                  </a:extLst>
                </a:gridCol>
              </a:tblGrid>
              <a:tr h="244063">
                <a:tc>
                  <a:txBody>
                    <a:bodyPr/>
                    <a:lstStyle/>
                    <a:p>
                      <a:pPr algn="l"/>
                      <a:r>
                        <a:rPr lang="en-US" sz="1300" i="0" noProof="0" dirty="0">
                          <a:solidFill>
                            <a:schemeClr val="tx1"/>
                          </a:solidFill>
                          <a:latin typeface="+mn-lt"/>
                        </a:rPr>
                        <a:t>Major Capacity</a:t>
                      </a:r>
                      <a:r>
                        <a:rPr lang="en-US" sz="1300" i="0" baseline="0" noProof="0" dirty="0">
                          <a:solidFill>
                            <a:schemeClr val="tx1"/>
                          </a:solidFill>
                          <a:latin typeface="+mn-lt"/>
                        </a:rPr>
                        <a:t> Restriction</a:t>
                      </a:r>
                      <a:endParaRPr lang="en-US" sz="1300" i="0" noProof="0" dirty="0">
                        <a:solidFill>
                          <a:schemeClr val="tx1"/>
                        </a:solidFill>
                        <a:latin typeface="+mn-lt"/>
                      </a:endParaRPr>
                    </a:p>
                  </a:txBody>
                  <a:tcPr marL="84445" marR="84445" marT="42230" marB="422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10000"/>
                  </a:ext>
                </a:extLst>
              </a:tr>
              <a:tr h="941685">
                <a:tc>
                  <a:txBody>
                    <a:bodyPr/>
                    <a:lstStyle/>
                    <a:p>
                      <a:pPr marL="171450" indent="-171450">
                        <a:buFont typeface="Arial" panose="020B0604020202020204" pitchFamily="34" charset="0"/>
                        <a:buChar char="•"/>
                      </a:pPr>
                      <a:r>
                        <a:rPr lang="en-US" sz="1100" i="0" noProof="0" dirty="0">
                          <a:solidFill>
                            <a:schemeClr val="tx1"/>
                          </a:solidFill>
                          <a:latin typeface="+mn-lt"/>
                        </a:rPr>
                        <a:t>Location</a:t>
                      </a:r>
                      <a:r>
                        <a:rPr lang="cs-CZ" sz="1100" i="0" noProof="0" dirty="0">
                          <a:solidFill>
                            <a:schemeClr val="tx1"/>
                          </a:solidFill>
                          <a:latin typeface="+mn-lt"/>
                        </a:rPr>
                        <a:t> </a:t>
                      </a:r>
                      <a:r>
                        <a:rPr lang="nl-NL" sz="1100" i="0" noProof="0" dirty="0">
                          <a:solidFill>
                            <a:schemeClr val="tx1"/>
                          </a:solidFill>
                          <a:latin typeface="+mn-lt"/>
                        </a:rPr>
                        <a:t>Kijfhoek – Meteren – Zevenaar (A15 </a:t>
                      </a:r>
                      <a:r>
                        <a:rPr lang="nl-NL" sz="1100" i="0" noProof="0" dirty="0" err="1">
                          <a:solidFill>
                            <a:schemeClr val="tx1"/>
                          </a:solidFill>
                          <a:latin typeface="+mn-lt"/>
                        </a:rPr>
                        <a:t>trace</a:t>
                      </a:r>
                      <a:r>
                        <a:rPr lang="nl-NL" sz="1100" i="0" noProof="0" dirty="0">
                          <a:solidFill>
                            <a:schemeClr val="tx1"/>
                          </a:solidFill>
                          <a:latin typeface="+mn-lt"/>
                        </a:rPr>
                        <a:t>)</a:t>
                      </a:r>
                      <a:endParaRPr lang="en-US" sz="1100" i="0" noProof="0" dirty="0">
                        <a:solidFill>
                          <a:schemeClr val="tx1"/>
                        </a:solidFill>
                        <a:latin typeface="+mn-lt"/>
                      </a:endParaRPr>
                    </a:p>
                    <a:p>
                      <a:pPr marL="171450" indent="-171450">
                        <a:buFont typeface="Arial" panose="020B0604020202020204" pitchFamily="34" charset="0"/>
                        <a:buChar char="•"/>
                      </a:pPr>
                      <a:r>
                        <a:rPr lang="en-US" sz="1100" i="0" noProof="0" dirty="0">
                          <a:solidFill>
                            <a:schemeClr val="tx1"/>
                          </a:solidFill>
                          <a:latin typeface="+mn-lt"/>
                        </a:rPr>
                        <a:t>Type: Total Closure (combination 80-weeks)</a:t>
                      </a:r>
                    </a:p>
                    <a:p>
                      <a:pPr marL="171450" indent="-171450">
                        <a:buFont typeface="Arial" panose="020B0604020202020204" pitchFamily="34" charset="0"/>
                        <a:buChar char="•"/>
                      </a:pPr>
                      <a:r>
                        <a:rPr lang="en-US" sz="1100" i="0" noProof="0" dirty="0">
                          <a:solidFill>
                            <a:schemeClr val="tx1"/>
                          </a:solidFill>
                          <a:latin typeface="+mn-lt"/>
                        </a:rPr>
                        <a:t>Periods:</a:t>
                      </a:r>
                      <a:r>
                        <a:rPr lang="cs-CZ" sz="1100" i="0" noProof="0" dirty="0">
                          <a:solidFill>
                            <a:schemeClr val="tx1"/>
                          </a:solidFill>
                          <a:latin typeface="+mn-lt"/>
                        </a:rPr>
                        <a:t>  </a:t>
                      </a:r>
                      <a:r>
                        <a:rPr lang="nl-NL" sz="1100" i="0" noProof="0" dirty="0">
                          <a:solidFill>
                            <a:schemeClr val="tx1"/>
                          </a:solidFill>
                          <a:latin typeface="+mn-lt"/>
                        </a:rPr>
                        <a:t>16.03.</a:t>
                      </a:r>
                      <a:r>
                        <a:rPr lang="cs-CZ" sz="1100" i="0" noProof="0" dirty="0">
                          <a:solidFill>
                            <a:schemeClr val="tx1"/>
                          </a:solidFill>
                          <a:latin typeface="+mn-lt"/>
                        </a:rPr>
                        <a:t> -</a:t>
                      </a:r>
                      <a:r>
                        <a:rPr lang="nl-NL" sz="1100" i="0" noProof="0" dirty="0">
                          <a:solidFill>
                            <a:schemeClr val="tx1"/>
                          </a:solidFill>
                          <a:latin typeface="+mn-lt"/>
                        </a:rPr>
                        <a:t>29.03</a:t>
                      </a:r>
                      <a:r>
                        <a:rPr lang="cs-CZ" sz="1100" i="0" noProof="0" dirty="0">
                          <a:solidFill>
                            <a:schemeClr val="tx1"/>
                          </a:solidFill>
                          <a:latin typeface="+mn-lt"/>
                        </a:rPr>
                        <a:t>.202</a:t>
                      </a:r>
                      <a:r>
                        <a:rPr lang="nl-NL" sz="1100" i="0" noProof="0" dirty="0">
                          <a:solidFill>
                            <a:schemeClr val="tx1"/>
                          </a:solidFill>
                          <a:latin typeface="+mn-lt"/>
                        </a:rPr>
                        <a:t>7 </a:t>
                      </a:r>
                      <a:r>
                        <a:rPr lang="nl-NL" sz="1100" i="0" noProof="0" dirty="0" err="1">
                          <a:solidFill>
                            <a:schemeClr val="tx1"/>
                          </a:solidFill>
                          <a:latin typeface="+mn-lt"/>
                        </a:rPr>
                        <a:t>and</a:t>
                      </a:r>
                      <a:r>
                        <a:rPr lang="nl-NL" sz="1100" i="0" noProof="0" dirty="0">
                          <a:solidFill>
                            <a:schemeClr val="tx1"/>
                          </a:solidFill>
                          <a:latin typeface="+mn-lt"/>
                        </a:rPr>
                        <a:t> 07.06 - 27.06.2027  </a:t>
                      </a:r>
                    </a:p>
                    <a:p>
                      <a:pPr marL="0" indent="0">
                        <a:buFont typeface="Arial" panose="020B0604020202020204" pitchFamily="34" charset="0"/>
                        <a:buNone/>
                      </a:pPr>
                      <a:r>
                        <a:rPr lang="nl-NL" sz="1100" i="0" noProof="0" dirty="0">
                          <a:solidFill>
                            <a:schemeClr val="tx1"/>
                          </a:solidFill>
                          <a:latin typeface="+mn-lt"/>
                        </a:rPr>
                        <a:t>     </a:t>
                      </a:r>
                      <a:r>
                        <a:rPr lang="en-US" sz="1100" i="0" noProof="0" dirty="0">
                          <a:solidFill>
                            <a:schemeClr val="tx1"/>
                          </a:solidFill>
                          <a:latin typeface="+mn-lt"/>
                        </a:rPr>
                        <a:t>                 </a:t>
                      </a:r>
                    </a:p>
                    <a:p>
                      <a:pPr marL="171450" indent="-171450">
                        <a:buFont typeface="Arial" panose="020B0604020202020204" pitchFamily="34" charset="0"/>
                        <a:buChar char="•"/>
                      </a:pPr>
                      <a:r>
                        <a:rPr lang="en-US" sz="1100" i="0" noProof="0" dirty="0">
                          <a:solidFill>
                            <a:schemeClr val="tx1"/>
                          </a:solidFill>
                          <a:latin typeface="+mn-lt"/>
                        </a:rPr>
                        <a:t>Type of works:</a:t>
                      </a:r>
                      <a:r>
                        <a:rPr lang="cs-CZ" sz="1100" i="0" noProof="0" dirty="0">
                          <a:solidFill>
                            <a:schemeClr val="tx1"/>
                          </a:solidFill>
                          <a:latin typeface="+mn-lt"/>
                        </a:rPr>
                        <a:t> </a:t>
                      </a:r>
                      <a:r>
                        <a:rPr lang="nl-NL" sz="1100" i="0" noProof="0" dirty="0">
                          <a:solidFill>
                            <a:schemeClr val="tx1"/>
                          </a:solidFill>
                          <a:latin typeface="+mn-lt"/>
                        </a:rPr>
                        <a:t>New </a:t>
                      </a:r>
                      <a:r>
                        <a:rPr lang="nl-NL" sz="1100" i="0" noProof="0" dirty="0" err="1">
                          <a:solidFill>
                            <a:schemeClr val="tx1"/>
                          </a:solidFill>
                          <a:latin typeface="+mn-lt"/>
                        </a:rPr>
                        <a:t>Infrastructure</a:t>
                      </a:r>
                      <a:r>
                        <a:rPr lang="nl-NL" sz="1100" i="0" noProof="0" dirty="0">
                          <a:solidFill>
                            <a:schemeClr val="tx1"/>
                          </a:solidFill>
                          <a:latin typeface="+mn-lt"/>
                        </a:rPr>
                        <a:t> as a </a:t>
                      </a:r>
                      <a:r>
                        <a:rPr lang="nl-NL" sz="1100" i="0" noProof="0" dirty="0" err="1">
                          <a:solidFill>
                            <a:schemeClr val="tx1"/>
                          </a:solidFill>
                          <a:latin typeface="+mn-lt"/>
                        </a:rPr>
                        <a:t>result</a:t>
                      </a:r>
                      <a:r>
                        <a:rPr lang="nl-NL" sz="1100" i="0" noProof="0" dirty="0">
                          <a:solidFill>
                            <a:schemeClr val="tx1"/>
                          </a:solidFill>
                          <a:latin typeface="+mn-lt"/>
                        </a:rPr>
                        <a:t> of </a:t>
                      </a:r>
                      <a:r>
                        <a:rPr lang="nl-NL" sz="1100" i="0" noProof="0" dirty="0" err="1">
                          <a:solidFill>
                            <a:schemeClr val="tx1"/>
                          </a:solidFill>
                          <a:latin typeface="+mn-lt"/>
                        </a:rPr>
                        <a:t>works</a:t>
                      </a:r>
                      <a:r>
                        <a:rPr lang="nl-NL" sz="1100" i="0" noProof="0" dirty="0">
                          <a:solidFill>
                            <a:schemeClr val="tx1"/>
                          </a:solidFill>
                          <a:latin typeface="+mn-lt"/>
                        </a:rPr>
                        <a:t> on Highway A15 </a:t>
                      </a:r>
                      <a:endParaRPr lang="en-US" sz="900" i="0" noProof="0" dirty="0">
                        <a:solidFill>
                          <a:schemeClr val="tx1"/>
                        </a:solidFill>
                        <a:highlight>
                          <a:srgbClr val="FFFF00"/>
                        </a:highlight>
                        <a:latin typeface="+mn-lt"/>
                      </a:endParaRPr>
                    </a:p>
                  </a:txBody>
                  <a:tcPr marL="84445" marR="84445" marT="42230" marB="422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543187">
                <a:tc>
                  <a:txBody>
                    <a:bodyPr/>
                    <a:lstStyle/>
                    <a:p>
                      <a:pPr marL="171450" indent="-171450">
                        <a:buFont typeface="Arial" panose="020B0604020202020204" pitchFamily="34" charset="0"/>
                        <a:buChar char="•"/>
                      </a:pPr>
                      <a:endParaRPr lang="en-US" sz="900" i="0" noProof="0" dirty="0">
                        <a:solidFill>
                          <a:schemeClr val="tx1"/>
                        </a:solidFill>
                        <a:highlight>
                          <a:srgbClr val="FFFF00"/>
                        </a:highlight>
                        <a:latin typeface="+mn-lt"/>
                      </a:endParaRPr>
                    </a:p>
                  </a:txBody>
                  <a:tcPr marL="84445" marR="84445" marT="42230" marB="422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51372690"/>
                  </a:ext>
                </a:extLst>
              </a:tr>
            </a:tbl>
          </a:graphicData>
        </a:graphic>
      </p:graphicFrame>
      <p:sp>
        <p:nvSpPr>
          <p:cNvPr id="5" name="Textfeld 18">
            <a:extLst>
              <a:ext uri="{FF2B5EF4-FFF2-40B4-BE49-F238E27FC236}">
                <a16:creationId xmlns:a16="http://schemas.microsoft.com/office/drawing/2014/main" id="{025006DC-EAB6-3DF5-11C5-D26A3DBD1B6F}"/>
              </a:ext>
            </a:extLst>
          </p:cNvPr>
          <p:cNvSpPr txBox="1">
            <a:spLocks noChangeArrowheads="1"/>
          </p:cNvSpPr>
          <p:nvPr/>
        </p:nvSpPr>
        <p:spPr bwMode="auto">
          <a:xfrm>
            <a:off x="694859" y="1696156"/>
            <a:ext cx="3995094" cy="291298"/>
          </a:xfrm>
          <a:prstGeom prst="rect">
            <a:avLst/>
          </a:prstGeom>
          <a:solidFill>
            <a:srgbClr val="FFCC00"/>
          </a:solidFill>
          <a:ln w="9525">
            <a:solidFill>
              <a:srgbClr val="0066FF"/>
            </a:solidFill>
            <a:miter lim="800000"/>
            <a:headEnd/>
            <a:tailEnd/>
          </a:ln>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de-DE" altLang="fr-FR" sz="1293" b="1">
                <a:solidFill>
                  <a:prstClr val="black"/>
                </a:solidFill>
                <a:cs typeface="Arial" pitchFamily="34" charset="0"/>
              </a:rPr>
              <a:t>Map view</a:t>
            </a:r>
          </a:p>
        </p:txBody>
      </p:sp>
      <p:sp>
        <p:nvSpPr>
          <p:cNvPr id="6" name="Rechteck 20">
            <a:extLst>
              <a:ext uri="{FF2B5EF4-FFF2-40B4-BE49-F238E27FC236}">
                <a16:creationId xmlns:a16="http://schemas.microsoft.com/office/drawing/2014/main" id="{2796793E-64A2-78E1-76BC-BFEB865CA26B}"/>
              </a:ext>
            </a:extLst>
          </p:cNvPr>
          <p:cNvSpPr>
            <a:spLocks noChangeArrowheads="1"/>
          </p:cNvSpPr>
          <p:nvPr/>
        </p:nvSpPr>
        <p:spPr bwMode="auto">
          <a:xfrm>
            <a:off x="694859" y="1964452"/>
            <a:ext cx="3995094" cy="2476225"/>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fontAlgn="base">
              <a:spcBef>
                <a:spcPct val="50000"/>
              </a:spcBef>
              <a:spcAft>
                <a:spcPct val="0"/>
              </a:spcAft>
              <a:buFontTx/>
              <a:buNone/>
            </a:pPr>
            <a:endParaRPr lang="de-DE" altLang="fr-FR" sz="1108" b="1">
              <a:solidFill>
                <a:prstClr val="black"/>
              </a:solidFill>
              <a:latin typeface="DB Office" pitchFamily="34" charset="0"/>
              <a:cs typeface="Arial" pitchFamily="34" charset="0"/>
            </a:endParaRPr>
          </a:p>
        </p:txBody>
      </p:sp>
      <p:graphicFrame>
        <p:nvGraphicFramePr>
          <p:cNvPr id="9" name="Inhaltsplatzhalter 8">
            <a:extLst>
              <a:ext uri="{FF2B5EF4-FFF2-40B4-BE49-F238E27FC236}">
                <a16:creationId xmlns:a16="http://schemas.microsoft.com/office/drawing/2014/main" id="{D701CB52-5D6F-B8C1-863C-9F1B5184B1B6}"/>
              </a:ext>
            </a:extLst>
          </p:cNvPr>
          <p:cNvGraphicFramePr>
            <a:graphicFrameLocks/>
          </p:cNvGraphicFramePr>
          <p:nvPr>
            <p:extLst>
              <p:ext uri="{D42A27DB-BD31-4B8C-83A1-F6EECF244321}">
                <p14:modId xmlns:p14="http://schemas.microsoft.com/office/powerpoint/2010/main" val="4095460815"/>
              </p:ext>
            </p:extLst>
          </p:nvPr>
        </p:nvGraphicFramePr>
        <p:xfrm>
          <a:off x="693912" y="4455296"/>
          <a:ext cx="3990704" cy="1834079"/>
        </p:xfrm>
        <a:graphic>
          <a:graphicData uri="http://schemas.openxmlformats.org/drawingml/2006/table">
            <a:tbl>
              <a:tblPr firstRow="1" bandRow="1">
                <a:tableStyleId>{5C22544A-7EE6-4342-B048-85BDC9FD1C3A}</a:tableStyleId>
              </a:tblPr>
              <a:tblGrid>
                <a:gridCol w="3990704">
                  <a:extLst>
                    <a:ext uri="{9D8B030D-6E8A-4147-A177-3AD203B41FA5}">
                      <a16:colId xmlns:a16="http://schemas.microsoft.com/office/drawing/2014/main" val="20000"/>
                    </a:ext>
                  </a:extLst>
                </a:gridCol>
              </a:tblGrid>
              <a:tr h="398905">
                <a:tc>
                  <a:txBody>
                    <a:bodyPr/>
                    <a:lstStyle/>
                    <a:p>
                      <a:pPr algn="l"/>
                      <a:r>
                        <a:rPr lang="en-US" sz="1300" noProof="0" dirty="0">
                          <a:solidFill>
                            <a:schemeClr val="tx1"/>
                          </a:solidFill>
                          <a:latin typeface="+mn-lt"/>
                        </a:rPr>
                        <a:t>Impact on</a:t>
                      </a:r>
                      <a:r>
                        <a:rPr lang="en-US" sz="1300" baseline="0" noProof="0" dirty="0">
                          <a:solidFill>
                            <a:schemeClr val="tx1"/>
                          </a:solidFill>
                          <a:latin typeface="+mn-lt"/>
                        </a:rPr>
                        <a:t> </a:t>
                      </a:r>
                      <a:r>
                        <a:rPr lang="en-US" sz="1300" noProof="0" dirty="0">
                          <a:solidFill>
                            <a:schemeClr val="tx1"/>
                          </a:solidFill>
                          <a:latin typeface="+mn-lt"/>
                        </a:rPr>
                        <a:t>International Rail Freight </a:t>
                      </a:r>
                    </a:p>
                  </a:txBody>
                  <a:tcPr marL="84437" marR="84437" marT="42212" marB="422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CC00"/>
                    </a:solidFill>
                  </a:tcPr>
                </a:tc>
                <a:extLst>
                  <a:ext uri="{0D108BD9-81ED-4DB2-BD59-A6C34878D82A}">
                    <a16:rowId xmlns:a16="http://schemas.microsoft.com/office/drawing/2014/main" val="10000"/>
                  </a:ext>
                </a:extLst>
              </a:tr>
              <a:tr h="1435174">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dirty="0">
                          <a:solidFill>
                            <a:schemeClr val="tx1"/>
                          </a:solidFill>
                          <a:latin typeface="+mn-lt"/>
                          <a:ea typeface="+mn-ea"/>
                          <a:cs typeface="+mn-cs"/>
                        </a:rPr>
                        <a:t>Cancellations: </a:t>
                      </a:r>
                      <a:r>
                        <a:rPr lang="cs-CZ" sz="1200" i="0" kern="1200" noProof="0" dirty="0">
                          <a:solidFill>
                            <a:schemeClr val="tx1"/>
                          </a:solidFill>
                          <a:latin typeface="+mn-lt"/>
                          <a:ea typeface="+mn-ea"/>
                          <a:cs typeface="+mn-cs"/>
                        </a:rPr>
                        <a:t>No</a:t>
                      </a:r>
                      <a:endParaRPr lang="en-US" sz="1200" i="0" kern="1200" noProof="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dirty="0">
                          <a:solidFill>
                            <a:schemeClr val="tx1"/>
                          </a:solidFill>
                          <a:latin typeface="+mn-lt"/>
                          <a:ea typeface="+mn-ea"/>
                          <a:cs typeface="+mn-cs"/>
                        </a:rPr>
                        <a:t>Deviations: </a:t>
                      </a:r>
                      <a:r>
                        <a:rPr lang="nl-NL" sz="1200" i="0" kern="1200" noProof="0" dirty="0">
                          <a:solidFill>
                            <a:schemeClr val="tx1"/>
                          </a:solidFill>
                          <a:latin typeface="+mn-lt"/>
                          <a:ea typeface="+mn-ea"/>
                          <a:cs typeface="+mn-cs"/>
                        </a:rPr>
                        <a:t>Yes</a:t>
                      </a:r>
                      <a:endParaRPr lang="en-US" sz="1200" i="0" kern="1200" noProof="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dirty="0">
                          <a:solidFill>
                            <a:schemeClr val="tx1"/>
                          </a:solidFill>
                          <a:latin typeface="+mn-lt"/>
                          <a:ea typeface="+mn-ea"/>
                          <a:cs typeface="+mn-cs"/>
                        </a:rPr>
                        <a:t>Estimated extra running time:</a:t>
                      </a:r>
                      <a:r>
                        <a:rPr lang="cs-CZ" sz="1200" i="0" kern="1200" noProof="0" dirty="0">
                          <a:solidFill>
                            <a:schemeClr val="tx1"/>
                          </a:solidFill>
                          <a:latin typeface="+mn-lt"/>
                          <a:ea typeface="+mn-ea"/>
                          <a:cs typeface="+mn-cs"/>
                        </a:rPr>
                        <a:t> </a:t>
                      </a:r>
                      <a:r>
                        <a:rPr lang="en-US" sz="1200" i="0" kern="1200" noProof="0" dirty="0">
                          <a:solidFill>
                            <a:schemeClr val="tx1"/>
                          </a:solidFill>
                          <a:latin typeface="+mn-lt"/>
                          <a:ea typeface="+mn-ea"/>
                          <a:cs typeface="+mn-cs"/>
                        </a:rPr>
                        <a:t>delay of freight trains approx. 30 - 60 minu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dirty="0">
                          <a:solidFill>
                            <a:schemeClr val="tx1"/>
                          </a:solidFill>
                          <a:latin typeface="+mn-lt"/>
                          <a:ea typeface="+mn-ea"/>
                          <a:cs typeface="+mn-cs"/>
                        </a:rPr>
                        <a:t>In annual timetable: No</a:t>
                      </a:r>
                      <a:endParaRPr lang="en-US" sz="1100" i="0" noProof="0" dirty="0">
                        <a:solidFill>
                          <a:schemeClr val="tx1"/>
                        </a:solidFill>
                      </a:endParaRPr>
                    </a:p>
                  </a:txBody>
                  <a:tcPr marL="84437" marR="84437" marT="42212" marB="422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4" name="Textfeld 17">
            <a:extLst>
              <a:ext uri="{FF2B5EF4-FFF2-40B4-BE49-F238E27FC236}">
                <a16:creationId xmlns:a16="http://schemas.microsoft.com/office/drawing/2014/main" id="{260D6C71-1FCE-2A88-9DF5-75A425EC025C}"/>
              </a:ext>
            </a:extLst>
          </p:cNvPr>
          <p:cNvSpPr txBox="1">
            <a:spLocks noChangeArrowheads="1"/>
          </p:cNvSpPr>
          <p:nvPr/>
        </p:nvSpPr>
        <p:spPr bwMode="auto">
          <a:xfrm>
            <a:off x="8008148" y="671884"/>
            <a:ext cx="77457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nl-NL" altLang="fr-FR" sz="1000" dirty="0">
                <a:solidFill>
                  <a:prstClr val="black"/>
                </a:solidFill>
                <a:cs typeface="Arial" pitchFamily="34" charset="0"/>
              </a:rPr>
              <a:t>31.01.2025</a:t>
            </a:r>
            <a:endParaRPr lang="de-DE" altLang="fr-FR" sz="1000" dirty="0">
              <a:solidFill>
                <a:srgbClr val="FF0000"/>
              </a:solidFill>
              <a:cs typeface="Arial" pitchFamily="34" charset="0"/>
            </a:endParaRPr>
          </a:p>
        </p:txBody>
      </p:sp>
      <p:pic>
        <p:nvPicPr>
          <p:cNvPr id="8" name="Afbeelding 7">
            <a:extLst>
              <a:ext uri="{FF2B5EF4-FFF2-40B4-BE49-F238E27FC236}">
                <a16:creationId xmlns:a16="http://schemas.microsoft.com/office/drawing/2014/main" id="{6FC7D8CB-80B1-1F98-6149-E243EBE04047}"/>
              </a:ext>
            </a:extLst>
          </p:cNvPr>
          <p:cNvPicPr>
            <a:picLocks noChangeAspect="1"/>
          </p:cNvPicPr>
          <p:nvPr/>
        </p:nvPicPr>
        <p:blipFill>
          <a:blip r:embed="rId2"/>
          <a:stretch>
            <a:fillRect/>
          </a:stretch>
        </p:blipFill>
        <p:spPr>
          <a:xfrm>
            <a:off x="990179" y="2043887"/>
            <a:ext cx="3541070" cy="2392040"/>
          </a:xfrm>
          <a:prstGeom prst="rect">
            <a:avLst/>
          </a:prstGeom>
        </p:spPr>
      </p:pic>
      <p:graphicFrame>
        <p:nvGraphicFramePr>
          <p:cNvPr id="11" name="Object 10">
            <a:extLst>
              <a:ext uri="{FF2B5EF4-FFF2-40B4-BE49-F238E27FC236}">
                <a16:creationId xmlns:a16="http://schemas.microsoft.com/office/drawing/2014/main" id="{C808AA08-F5B8-79B6-E524-7C57CA2C4C21}"/>
              </a:ext>
            </a:extLst>
          </p:cNvPr>
          <p:cNvGraphicFramePr>
            <a:graphicFrameLocks noChangeAspect="1"/>
          </p:cNvGraphicFramePr>
          <p:nvPr>
            <p:extLst>
              <p:ext uri="{D42A27DB-BD31-4B8C-83A1-F6EECF244321}">
                <p14:modId xmlns:p14="http://schemas.microsoft.com/office/powerpoint/2010/main" val="1246623476"/>
              </p:ext>
            </p:extLst>
          </p:nvPr>
        </p:nvGraphicFramePr>
        <p:xfrm>
          <a:off x="4950619" y="3425093"/>
          <a:ext cx="4143634" cy="3021877"/>
        </p:xfrm>
        <a:graphic>
          <a:graphicData uri="http://schemas.openxmlformats.org/presentationml/2006/ole">
            <mc:AlternateContent xmlns:mc="http://schemas.openxmlformats.org/markup-compatibility/2006">
              <mc:Choice xmlns:v="urn:schemas-microsoft-com:vml" Requires="v">
                <p:oleObj name="Worksheet" r:id="rId3" imgW="11677650" imgH="8515350" progId="Excel.Sheet.12">
                  <p:embed/>
                </p:oleObj>
              </mc:Choice>
              <mc:Fallback>
                <p:oleObj name="Worksheet" r:id="rId3" imgW="11677650" imgH="8515350" progId="Excel.Sheet.12">
                  <p:embed/>
                  <p:pic>
                    <p:nvPicPr>
                      <p:cNvPr id="0" name=""/>
                      <p:cNvPicPr/>
                      <p:nvPr/>
                    </p:nvPicPr>
                    <p:blipFill>
                      <a:blip r:embed="rId4"/>
                      <a:stretch>
                        <a:fillRect/>
                      </a:stretch>
                    </p:blipFill>
                    <p:spPr>
                      <a:xfrm>
                        <a:off x="4950619" y="3425093"/>
                        <a:ext cx="4143634" cy="3021877"/>
                      </a:xfrm>
                      <a:prstGeom prst="rect">
                        <a:avLst/>
                      </a:prstGeom>
                      <a:ln w="9525">
                        <a:solidFill>
                          <a:schemeClr val="tx1"/>
                        </a:solidFill>
                      </a:ln>
                    </p:spPr>
                  </p:pic>
                </p:oleObj>
              </mc:Fallback>
            </mc:AlternateContent>
          </a:graphicData>
        </a:graphic>
      </p:graphicFrame>
    </p:spTree>
    <p:extLst>
      <p:ext uri="{BB962C8B-B14F-4D97-AF65-F5344CB8AC3E}">
        <p14:creationId xmlns:p14="http://schemas.microsoft.com/office/powerpoint/2010/main" val="3127227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8"/>
          <p:cNvSpPr txBox="1"/>
          <p:nvPr/>
        </p:nvSpPr>
        <p:spPr>
          <a:xfrm>
            <a:off x="107504" y="1587651"/>
            <a:ext cx="8629675" cy="4247317"/>
          </a:xfrm>
          <a:prstGeom prst="rect">
            <a:avLst/>
          </a:prstGeom>
          <a:noFill/>
        </p:spPr>
        <p:txBody>
          <a:bodyPr wrap="square" rtlCol="0">
            <a:spAutoFit/>
          </a:bodyPr>
          <a:lstStyle/>
          <a:p>
            <a:endParaRPr lang="en-US" sz="1400" u="sng" dirty="0">
              <a:latin typeface="+mn-lt"/>
            </a:endParaRPr>
          </a:p>
          <a:p>
            <a:pPr algn="just"/>
            <a:r>
              <a:rPr lang="en-US" sz="1400" u="sng" dirty="0">
                <a:latin typeface="+mn-lt"/>
              </a:rPr>
              <a:t>Foreword </a:t>
            </a:r>
          </a:p>
          <a:p>
            <a:pPr algn="just"/>
            <a:r>
              <a:rPr lang="en-US" sz="1400" dirty="0">
                <a:latin typeface="+mn-lt"/>
              </a:rPr>
              <a:t>On RFC North Sea – Baltic we introduced the </a:t>
            </a:r>
            <a:r>
              <a:rPr lang="en-US" sz="1400" b="1" dirty="0">
                <a:latin typeface="+mn-lt"/>
              </a:rPr>
              <a:t>TCR Impact sheets</a:t>
            </a:r>
            <a:r>
              <a:rPr lang="en-US" sz="1400" dirty="0">
                <a:latin typeface="+mn-lt"/>
              </a:rPr>
              <a:t> to present in one glance general and important information about upcoming TCRs. These impact sheets highlight </a:t>
            </a:r>
            <a:r>
              <a:rPr lang="en-US" sz="1400" b="1" dirty="0">
                <a:latin typeface="+mn-lt"/>
              </a:rPr>
              <a:t>some infrastructure works which have a big impact </a:t>
            </a:r>
            <a:r>
              <a:rPr lang="en-US" sz="1400" dirty="0">
                <a:latin typeface="+mn-lt"/>
              </a:rPr>
              <a:t>on international rail freight traffic along RFC North Sea – Baltic.</a:t>
            </a:r>
          </a:p>
          <a:p>
            <a:pPr algn="just"/>
            <a:endParaRPr lang="en-US" sz="1400" dirty="0">
              <a:solidFill>
                <a:srgbClr val="000000"/>
              </a:solidFill>
              <a:latin typeface="+mn-lt"/>
            </a:endParaRPr>
          </a:p>
          <a:p>
            <a:pPr algn="just"/>
            <a:r>
              <a:rPr lang="en-US" sz="1400" u="sng" dirty="0">
                <a:solidFill>
                  <a:srgbClr val="000000"/>
                </a:solidFill>
                <a:latin typeface="+mn-lt"/>
              </a:rPr>
              <a:t>Disclaimer: </a:t>
            </a:r>
          </a:p>
          <a:p>
            <a:pPr algn="just"/>
            <a:r>
              <a:rPr lang="en-US" sz="1400" dirty="0">
                <a:solidFill>
                  <a:srgbClr val="000000"/>
                </a:solidFill>
                <a:latin typeface="+mn-lt"/>
              </a:rPr>
              <a:t>The content of this document has been compiled with meticulous care based on information available at the publication date. However we cannot assume any liability for accuracy and accept no liability for damages suffered</a:t>
            </a:r>
            <a:r>
              <a:rPr lang="pl-PL" sz="1400" dirty="0">
                <a:solidFill>
                  <a:srgbClr val="000000"/>
                </a:solidFill>
                <a:latin typeface="+mn-lt"/>
              </a:rPr>
              <a:t> </a:t>
            </a:r>
            <a:r>
              <a:rPr lang="en-US" sz="1400" dirty="0">
                <a:solidFill>
                  <a:srgbClr val="000000"/>
                </a:solidFill>
                <a:latin typeface="+mn-lt"/>
              </a:rPr>
              <a:t>as a result of defects of this document.</a:t>
            </a:r>
          </a:p>
          <a:p>
            <a:pPr algn="just"/>
            <a:r>
              <a:rPr lang="en-US" sz="1400" dirty="0">
                <a:solidFill>
                  <a:srgbClr val="000000"/>
                </a:solidFill>
                <a:latin typeface="+mn-lt"/>
              </a:rPr>
              <a:t>For detailed and complete customer information we kindly refer to the information which is available via the involved national Infrastructure Managers.</a:t>
            </a:r>
          </a:p>
          <a:p>
            <a:pPr algn="just"/>
            <a:r>
              <a:rPr lang="en-US" sz="1400" dirty="0">
                <a:solidFill>
                  <a:srgbClr val="000000"/>
                </a:solidFill>
                <a:latin typeface="+mn-lt"/>
              </a:rPr>
              <a:t> </a:t>
            </a:r>
          </a:p>
          <a:p>
            <a:pPr algn="just"/>
            <a:r>
              <a:rPr lang="en-US" sz="1400" dirty="0">
                <a:solidFill>
                  <a:srgbClr val="000000"/>
                </a:solidFill>
                <a:latin typeface="+mn-lt"/>
              </a:rPr>
              <a:t>Further information (e.g. in form of an excel list on all planned TCR) is available on the website of  RFC </a:t>
            </a:r>
            <a:r>
              <a:rPr lang="pl-PL" sz="1400" dirty="0">
                <a:solidFill>
                  <a:srgbClr val="000000"/>
                </a:solidFill>
                <a:latin typeface="+mn-lt"/>
              </a:rPr>
              <a:t>NS-B</a:t>
            </a:r>
            <a:r>
              <a:rPr lang="en-US" sz="1400" dirty="0">
                <a:solidFill>
                  <a:srgbClr val="000000"/>
                </a:solidFill>
                <a:latin typeface="+mn-lt"/>
              </a:rPr>
              <a:t> under link: </a:t>
            </a:r>
            <a:r>
              <a:rPr lang="nl-NL" sz="1400" dirty="0">
                <a:latin typeface="+mn-lt"/>
                <a:hlinkClick r:id="rId2"/>
              </a:rPr>
              <a:t>http://rfc8.eu/customer/temporary-capacity-restrictions/</a:t>
            </a:r>
            <a:endParaRPr lang="en-US" sz="1400" b="1" dirty="0">
              <a:solidFill>
                <a:srgbClr val="9696FF"/>
              </a:solidFill>
              <a:latin typeface="+mn-lt"/>
            </a:endParaRPr>
          </a:p>
          <a:p>
            <a:pPr algn="just"/>
            <a:br>
              <a:rPr lang="en-US" sz="1400" dirty="0">
                <a:latin typeface="+mn-lt"/>
              </a:rPr>
            </a:br>
            <a:r>
              <a:rPr lang="en-US" sz="1400" dirty="0">
                <a:latin typeface="+mn-lt"/>
              </a:rPr>
              <a:t>Version 1.01 for timetable 2026 and 2027						</a:t>
            </a:r>
          </a:p>
          <a:p>
            <a:pPr algn="just"/>
            <a:r>
              <a:rPr lang="en-US" sz="1400" dirty="0">
                <a:latin typeface="+mn-lt"/>
              </a:rPr>
              <a:t>Publication Date: January 2025</a:t>
            </a:r>
            <a:endParaRPr lang="en-US" sz="1400" dirty="0">
              <a:solidFill>
                <a:srgbClr val="000000"/>
              </a:solidFill>
              <a:latin typeface="+mn-lt"/>
            </a:endParaRPr>
          </a:p>
          <a:p>
            <a:endParaRPr lang="en-US" sz="1400" dirty="0">
              <a:latin typeface="+mn-lt"/>
            </a:endParaRPr>
          </a:p>
        </p:txBody>
      </p:sp>
      <p:sp>
        <p:nvSpPr>
          <p:cNvPr id="4" name="Text Box 3"/>
          <p:cNvSpPr txBox="1">
            <a:spLocks noChangeArrowheads="1"/>
          </p:cNvSpPr>
          <p:nvPr/>
        </p:nvSpPr>
        <p:spPr bwMode="auto">
          <a:xfrm>
            <a:off x="107504" y="879765"/>
            <a:ext cx="4945305"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07763" dir="18900000" algn="ctr" rotWithShape="0">
                    <a:schemeClr val="bg2"/>
                  </a:outerShdw>
                </a:effectLst>
              </a14:hiddenEffects>
            </a:ext>
          </a:extLst>
        </p:spPr>
        <p:txBody>
          <a:bodyPr wrap="square">
            <a:spAutoFit/>
          </a:bodyPr>
          <a:lstStyle>
            <a:lvl1pPr>
              <a:defRPr sz="1200" b="1">
                <a:solidFill>
                  <a:schemeClr val="tx1"/>
                </a:solidFill>
                <a:latin typeface="DB Office" pitchFamily="34" charset="0"/>
              </a:defRPr>
            </a:lvl1pPr>
            <a:lvl2pPr marL="742950" indent="-285750">
              <a:defRPr sz="1200" b="1">
                <a:solidFill>
                  <a:schemeClr val="tx1"/>
                </a:solidFill>
                <a:latin typeface="DB Office" pitchFamily="34" charset="0"/>
              </a:defRPr>
            </a:lvl2pPr>
            <a:lvl3pPr marL="1143000" indent="-228600">
              <a:defRPr sz="1200" b="1">
                <a:solidFill>
                  <a:schemeClr val="tx1"/>
                </a:solidFill>
                <a:latin typeface="DB Office" pitchFamily="34" charset="0"/>
              </a:defRPr>
            </a:lvl3pPr>
            <a:lvl4pPr marL="1600200" indent="-228600">
              <a:defRPr sz="1200" b="1">
                <a:solidFill>
                  <a:schemeClr val="tx1"/>
                </a:solidFill>
                <a:latin typeface="DB Office" pitchFamily="34" charset="0"/>
              </a:defRPr>
            </a:lvl4pPr>
            <a:lvl5pPr marL="2057400" indent="-228600">
              <a:defRPr sz="1200" b="1">
                <a:solidFill>
                  <a:schemeClr val="tx1"/>
                </a:solidFill>
                <a:latin typeface="DB Office" pitchFamily="34" charset="0"/>
              </a:defRPr>
            </a:lvl5pPr>
            <a:lvl6pPr marL="2514600" indent="-228600" algn="ctr" eaLnBrk="0" fontAlgn="base" hangingPunct="0">
              <a:spcBef>
                <a:spcPct val="50000"/>
              </a:spcBef>
              <a:spcAft>
                <a:spcPct val="0"/>
              </a:spcAft>
              <a:defRPr sz="1200" b="1">
                <a:solidFill>
                  <a:schemeClr val="tx1"/>
                </a:solidFill>
                <a:latin typeface="DB Office" pitchFamily="34" charset="0"/>
              </a:defRPr>
            </a:lvl6pPr>
            <a:lvl7pPr marL="2971800" indent="-228600" algn="ctr" eaLnBrk="0" fontAlgn="base" hangingPunct="0">
              <a:spcBef>
                <a:spcPct val="50000"/>
              </a:spcBef>
              <a:spcAft>
                <a:spcPct val="0"/>
              </a:spcAft>
              <a:defRPr sz="1200" b="1">
                <a:solidFill>
                  <a:schemeClr val="tx1"/>
                </a:solidFill>
                <a:latin typeface="DB Office" pitchFamily="34" charset="0"/>
              </a:defRPr>
            </a:lvl7pPr>
            <a:lvl8pPr marL="3429000" indent="-228600" algn="ctr" eaLnBrk="0" fontAlgn="base" hangingPunct="0">
              <a:spcBef>
                <a:spcPct val="50000"/>
              </a:spcBef>
              <a:spcAft>
                <a:spcPct val="0"/>
              </a:spcAft>
              <a:defRPr sz="1200" b="1">
                <a:solidFill>
                  <a:schemeClr val="tx1"/>
                </a:solidFill>
                <a:latin typeface="DB Office" pitchFamily="34" charset="0"/>
              </a:defRPr>
            </a:lvl8pPr>
            <a:lvl9pPr marL="3886200" indent="-228600" algn="ctr" eaLnBrk="0" fontAlgn="base" hangingPunct="0">
              <a:spcBef>
                <a:spcPct val="50000"/>
              </a:spcBef>
              <a:spcAft>
                <a:spcPct val="0"/>
              </a:spcAft>
              <a:defRPr sz="1200" b="1">
                <a:solidFill>
                  <a:schemeClr val="tx1"/>
                </a:solidFill>
                <a:latin typeface="DB Office" pitchFamily="34" charset="0"/>
              </a:defRPr>
            </a:lvl9pPr>
          </a:lstStyle>
          <a:p>
            <a:pPr algn="l"/>
            <a:r>
              <a:rPr lang="en-GB" sz="2000">
                <a:solidFill>
                  <a:srgbClr val="000000"/>
                </a:solidFill>
              </a:rPr>
              <a:t>Impact sheets for selected major Temporary Capacity Restrictions (TCR)</a:t>
            </a:r>
            <a:r>
              <a:rPr lang="de-DE" sz="2000"/>
              <a:t> </a:t>
            </a:r>
          </a:p>
        </p:txBody>
      </p:sp>
    </p:spTree>
    <p:extLst>
      <p:ext uri="{BB962C8B-B14F-4D97-AF65-F5344CB8AC3E}">
        <p14:creationId xmlns:p14="http://schemas.microsoft.com/office/powerpoint/2010/main" val="29794000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ext Box 3"/>
          <p:cNvSpPr txBox="1">
            <a:spLocks noChangeArrowheads="1"/>
          </p:cNvSpPr>
          <p:nvPr/>
        </p:nvSpPr>
        <p:spPr bwMode="auto">
          <a:xfrm>
            <a:off x="413544" y="695326"/>
            <a:ext cx="6889750" cy="862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07763" dir="18900000" algn="ctr" rotWithShape="0">
                    <a:schemeClr val="bg2"/>
                  </a:outerShdw>
                </a:effectLst>
              </a14:hiddenEffects>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fontAlgn="base">
              <a:spcBef>
                <a:spcPct val="50000"/>
              </a:spcBef>
              <a:spcAft>
                <a:spcPct val="0"/>
              </a:spcAft>
              <a:buFontTx/>
              <a:buNone/>
            </a:pPr>
            <a:r>
              <a:rPr lang="en-GB" altLang="fr-FR" sz="2000" b="1" dirty="0">
                <a:solidFill>
                  <a:srgbClr val="000000"/>
                </a:solidFill>
                <a:latin typeface="DB Office" pitchFamily="34" charset="0"/>
                <a:cs typeface="Arial" pitchFamily="34" charset="0"/>
              </a:rPr>
              <a:t>Impact of TCR TT 20</a:t>
            </a:r>
            <a:r>
              <a:rPr lang="pl-PL" altLang="fr-FR" sz="2000" b="1" dirty="0">
                <a:solidFill>
                  <a:srgbClr val="000000"/>
                </a:solidFill>
                <a:latin typeface="DB Office" pitchFamily="34" charset="0"/>
                <a:cs typeface="Arial" pitchFamily="34" charset="0"/>
              </a:rPr>
              <a:t>26</a:t>
            </a:r>
            <a:r>
              <a:rPr lang="en-GB" altLang="fr-FR" sz="2000" b="1" dirty="0">
                <a:solidFill>
                  <a:srgbClr val="000000"/>
                </a:solidFill>
                <a:latin typeface="DB Office" pitchFamily="34" charset="0"/>
                <a:cs typeface="Arial" pitchFamily="34" charset="0"/>
              </a:rPr>
              <a:t> at </a:t>
            </a:r>
            <a:r>
              <a:rPr lang="pl-PL" altLang="fr-FR" sz="2000" b="1" dirty="0">
                <a:solidFill>
                  <a:prstClr val="black"/>
                </a:solidFill>
                <a:latin typeface="DB Office" pitchFamily="34" charset="0"/>
                <a:cs typeface="Arial" pitchFamily="34" charset="0"/>
              </a:rPr>
              <a:t>PKP PLK</a:t>
            </a:r>
            <a:endParaRPr lang="en-GB" altLang="fr-FR" sz="2000" b="1" dirty="0">
              <a:solidFill>
                <a:prstClr val="black"/>
              </a:solidFill>
              <a:latin typeface="DB Office" pitchFamily="34" charset="0"/>
              <a:cs typeface="Arial" pitchFamily="34" charset="0"/>
            </a:endParaRPr>
          </a:p>
          <a:p>
            <a:pPr fontAlgn="base">
              <a:spcBef>
                <a:spcPct val="50000"/>
              </a:spcBef>
              <a:spcAft>
                <a:spcPct val="0"/>
              </a:spcAft>
              <a:buFontTx/>
              <a:buNone/>
            </a:pPr>
            <a:r>
              <a:rPr lang="en-GB" altLang="fr-FR" sz="2000" b="1" dirty="0">
                <a:solidFill>
                  <a:srgbClr val="000000"/>
                </a:solidFill>
                <a:latin typeface="DB Office" pitchFamily="34" charset="0"/>
                <a:cs typeface="Arial" pitchFamily="34" charset="0"/>
              </a:rPr>
              <a:t>Section </a:t>
            </a:r>
            <a:r>
              <a:rPr lang="pl-PL" altLang="fr-FR" sz="2000" b="1" dirty="0">
                <a:latin typeface="DB Office" pitchFamily="34" charset="0"/>
                <a:cs typeface="Arial" pitchFamily="34" charset="0"/>
              </a:rPr>
              <a:t>Korsze Towarowa</a:t>
            </a:r>
            <a:r>
              <a:rPr lang="en-GB" altLang="fr-FR" sz="2000" b="1" dirty="0">
                <a:solidFill>
                  <a:srgbClr val="000000"/>
                </a:solidFill>
                <a:latin typeface="DB Office" pitchFamily="34" charset="0"/>
                <a:cs typeface="Arial" pitchFamily="34" charset="0"/>
              </a:rPr>
              <a:t> </a:t>
            </a:r>
            <a:r>
              <a:rPr lang="fr-BE" altLang="fr-FR" sz="2000" b="1" dirty="0">
                <a:solidFill>
                  <a:srgbClr val="000000"/>
                </a:solidFill>
                <a:latin typeface="DB Office" pitchFamily="34" charset="0"/>
                <a:cs typeface="Arial" pitchFamily="34" charset="0"/>
              </a:rPr>
              <a:t>– </a:t>
            </a:r>
            <a:r>
              <a:rPr lang="pl-PL" altLang="fr-FR" sz="2000" b="1" dirty="0">
                <a:solidFill>
                  <a:srgbClr val="000000"/>
                </a:solidFill>
                <a:latin typeface="DB Office" pitchFamily="34" charset="0"/>
                <a:cs typeface="Arial" pitchFamily="34" charset="0"/>
              </a:rPr>
              <a:t>Ełk Towarowy</a:t>
            </a:r>
            <a:endParaRPr lang="de-DE" altLang="fr-FR" sz="2000" b="1" dirty="0">
              <a:solidFill>
                <a:srgbClr val="FF0000"/>
              </a:solidFill>
              <a:latin typeface="DB Office" pitchFamily="34" charset="0"/>
              <a:cs typeface="Arial" pitchFamily="34" charset="0"/>
            </a:endParaRPr>
          </a:p>
        </p:txBody>
      </p:sp>
      <p:graphicFrame>
        <p:nvGraphicFramePr>
          <p:cNvPr id="10" name="Inhaltsplatzhalter 8"/>
          <p:cNvGraphicFramePr>
            <a:graphicFrameLocks/>
          </p:cNvGraphicFramePr>
          <p:nvPr/>
        </p:nvGraphicFramePr>
        <p:xfrm>
          <a:off x="5611019" y="1766889"/>
          <a:ext cx="3660080" cy="1724025"/>
        </p:xfrm>
        <a:graphic>
          <a:graphicData uri="http://schemas.openxmlformats.org/drawingml/2006/table">
            <a:tbl>
              <a:tblPr firstRow="1" bandRow="1">
                <a:tableStyleId>{5C22544A-7EE6-4342-B048-85BDC9FD1C3A}</a:tableStyleId>
              </a:tblPr>
              <a:tblGrid>
                <a:gridCol w="3660080">
                  <a:extLst>
                    <a:ext uri="{9D8B030D-6E8A-4147-A177-3AD203B41FA5}">
                      <a16:colId xmlns:a16="http://schemas.microsoft.com/office/drawing/2014/main" val="20000"/>
                    </a:ext>
                  </a:extLst>
                </a:gridCol>
              </a:tblGrid>
              <a:tr h="412366">
                <a:tc>
                  <a:txBody>
                    <a:bodyPr/>
                    <a:lstStyle/>
                    <a:p>
                      <a:pPr algn="l"/>
                      <a:r>
                        <a:rPr lang="en-US" sz="1400" i="0" noProof="0" dirty="0">
                          <a:solidFill>
                            <a:schemeClr val="tx1"/>
                          </a:solidFill>
                          <a:latin typeface="+mn-lt"/>
                        </a:rPr>
                        <a:t>Major Capacity</a:t>
                      </a:r>
                      <a:r>
                        <a:rPr lang="en-US" sz="1400" i="0" baseline="0" noProof="0" dirty="0">
                          <a:solidFill>
                            <a:schemeClr val="tx1"/>
                          </a:solidFill>
                          <a:latin typeface="+mn-lt"/>
                        </a:rPr>
                        <a:t> Restriction</a:t>
                      </a:r>
                      <a:endParaRPr lang="en-US" sz="1400" i="0" noProof="0" dirty="0">
                        <a:solidFill>
                          <a:schemeClr val="tx1"/>
                        </a:solidFill>
                        <a:latin typeface="+mn-lt"/>
                      </a:endParaRPr>
                    </a:p>
                  </a:txBody>
                  <a:tcPr marL="91438" marR="91438" marT="45727" marB="4572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10000"/>
                  </a:ext>
                </a:extLst>
              </a:tr>
              <a:tr h="1311659">
                <a:tc>
                  <a:txBody>
                    <a:bodyPr/>
                    <a:lstStyle/>
                    <a:p>
                      <a:r>
                        <a:rPr lang="en-US" sz="1200" i="0" noProof="0" dirty="0">
                          <a:solidFill>
                            <a:schemeClr val="tx1"/>
                          </a:solidFill>
                          <a:latin typeface="+mn-lt"/>
                        </a:rPr>
                        <a:t>Location: </a:t>
                      </a:r>
                      <a:r>
                        <a:rPr lang="pl-PL" sz="1200" i="0" baseline="0" noProof="0" dirty="0">
                          <a:solidFill>
                            <a:schemeClr val="tx1"/>
                          </a:solidFill>
                          <a:latin typeface="+mn-lt"/>
                        </a:rPr>
                        <a:t>Korsze Towarowa – Ełk Towarowy</a:t>
                      </a:r>
                      <a:endParaRPr lang="en-US" sz="1200" i="0" baseline="0" noProof="0" dirty="0">
                        <a:solidFill>
                          <a:schemeClr val="tx1"/>
                        </a:solidFill>
                        <a:latin typeface="+mn-lt"/>
                      </a:endParaRPr>
                    </a:p>
                    <a:p>
                      <a:r>
                        <a:rPr lang="en-US" sz="1200" i="0" noProof="0" dirty="0">
                          <a:solidFill>
                            <a:schemeClr val="tx1"/>
                          </a:solidFill>
                          <a:latin typeface="+mn-lt"/>
                        </a:rPr>
                        <a:t>Type: </a:t>
                      </a:r>
                      <a:endParaRPr lang="pl-PL" sz="1200" b="0" i="0" u="none" noProof="0" dirty="0">
                        <a:solidFill>
                          <a:schemeClr val="tx1"/>
                        </a:solidFill>
                        <a:latin typeface="+mn-lt"/>
                      </a:endParaRPr>
                    </a:p>
                    <a:p>
                      <a:pPr marL="171450" indent="-171450">
                        <a:buFont typeface="Arial" panose="020B0604020202020204" pitchFamily="34" charset="0"/>
                        <a:buChar char="•"/>
                      </a:pPr>
                      <a:r>
                        <a:rPr lang="en-US" sz="1200" b="0" i="0" u="none" noProof="0" dirty="0">
                          <a:solidFill>
                            <a:schemeClr val="tx1"/>
                          </a:solidFill>
                          <a:latin typeface="+mn-lt"/>
                        </a:rPr>
                        <a:t>Total</a:t>
                      </a:r>
                      <a:r>
                        <a:rPr lang="en-US" sz="1200" b="0" i="0" u="none" baseline="0" noProof="0" dirty="0">
                          <a:solidFill>
                            <a:schemeClr val="tx1"/>
                          </a:solidFill>
                          <a:latin typeface="+mn-lt"/>
                        </a:rPr>
                        <a:t> Line Closure, see calendar</a:t>
                      </a:r>
                      <a:endParaRPr lang="en-US" sz="1200" b="0" i="0" u="none" noProof="0" dirty="0">
                        <a:solidFill>
                          <a:schemeClr val="tx1"/>
                        </a:solidFill>
                        <a:latin typeface="+mn-lt"/>
                      </a:endParaRPr>
                    </a:p>
                    <a:p>
                      <a:pPr marL="182563" indent="-182563">
                        <a:buFont typeface="Arial" panose="020B0604020202020204" pitchFamily="34" charset="0"/>
                        <a:buChar char="•"/>
                      </a:pPr>
                      <a:r>
                        <a:rPr lang="pl-PL" sz="1200" i="0" noProof="0" dirty="0" err="1">
                          <a:solidFill>
                            <a:schemeClr val="tx1"/>
                          </a:solidFill>
                          <a:latin typeface="+mn-lt"/>
                        </a:rPr>
                        <a:t>Renewal</a:t>
                      </a:r>
                      <a:r>
                        <a:rPr lang="pl-PL" sz="1200" i="0" noProof="0" dirty="0">
                          <a:solidFill>
                            <a:schemeClr val="tx1"/>
                          </a:solidFill>
                          <a:latin typeface="+mn-lt"/>
                        </a:rPr>
                        <a:t> </a:t>
                      </a:r>
                      <a:r>
                        <a:rPr lang="en-US" sz="1200" i="0" noProof="0" dirty="0">
                          <a:solidFill>
                            <a:schemeClr val="tx1"/>
                          </a:solidFill>
                          <a:latin typeface="+mn-lt"/>
                        </a:rPr>
                        <a:t>Works: </a:t>
                      </a:r>
                      <a:r>
                        <a:rPr lang="pl-PL" sz="1200" i="0" noProof="0" dirty="0" err="1">
                          <a:solidFill>
                            <a:schemeClr val="tx1"/>
                          </a:solidFill>
                          <a:latin typeface="+mn-lt"/>
                        </a:rPr>
                        <a:t>Track</a:t>
                      </a:r>
                      <a:r>
                        <a:rPr lang="pl-PL" sz="1200" i="0" baseline="0" noProof="0" dirty="0">
                          <a:solidFill>
                            <a:schemeClr val="tx1"/>
                          </a:solidFill>
                          <a:latin typeface="+mn-lt"/>
                        </a:rPr>
                        <a:t> &amp; </a:t>
                      </a:r>
                      <a:r>
                        <a:rPr lang="pl-PL" sz="1200" i="0" baseline="0" noProof="0" dirty="0" err="1">
                          <a:solidFill>
                            <a:schemeClr val="tx1"/>
                          </a:solidFill>
                          <a:latin typeface="+mn-lt"/>
                        </a:rPr>
                        <a:t>Rail</a:t>
                      </a:r>
                      <a:r>
                        <a:rPr lang="pl-PL" sz="1200" i="0" baseline="0" noProof="0" dirty="0">
                          <a:solidFill>
                            <a:schemeClr val="tx1"/>
                          </a:solidFill>
                          <a:latin typeface="+mn-lt"/>
                        </a:rPr>
                        <a:t>, </a:t>
                      </a:r>
                      <a:r>
                        <a:rPr lang="pl-PL" sz="1200" i="0" baseline="0" noProof="0" dirty="0" err="1">
                          <a:solidFill>
                            <a:schemeClr val="tx1"/>
                          </a:solidFill>
                          <a:latin typeface="+mn-lt"/>
                        </a:rPr>
                        <a:t>Catenary</a:t>
                      </a:r>
                      <a:r>
                        <a:rPr lang="pl-PL" sz="1200" i="0" baseline="0" noProof="0" dirty="0">
                          <a:solidFill>
                            <a:schemeClr val="tx1"/>
                          </a:solidFill>
                          <a:latin typeface="+mn-lt"/>
                        </a:rPr>
                        <a:t>, </a:t>
                      </a:r>
                      <a:r>
                        <a:rPr lang="pl-PL" sz="1200" i="0" baseline="0" noProof="0" dirty="0" err="1">
                          <a:solidFill>
                            <a:schemeClr val="tx1"/>
                          </a:solidFill>
                          <a:latin typeface="+mn-lt"/>
                        </a:rPr>
                        <a:t>Telecommunications</a:t>
                      </a:r>
                      <a:r>
                        <a:rPr lang="pl-PL" sz="1200" i="0" baseline="0" noProof="0" dirty="0">
                          <a:solidFill>
                            <a:schemeClr val="tx1"/>
                          </a:solidFill>
                          <a:latin typeface="+mn-lt"/>
                        </a:rPr>
                        <a:t>, </a:t>
                      </a:r>
                      <a:r>
                        <a:rPr lang="pl-PL" sz="1200" i="0" baseline="0" noProof="0" dirty="0" err="1">
                          <a:solidFill>
                            <a:schemeClr val="tx1"/>
                          </a:solidFill>
                          <a:latin typeface="+mn-lt"/>
                        </a:rPr>
                        <a:t>Signalling</a:t>
                      </a:r>
                      <a:endParaRPr lang="en-US" sz="1200" i="0" noProof="0" dirty="0">
                        <a:solidFill>
                          <a:schemeClr val="tx1"/>
                        </a:solidFill>
                        <a:latin typeface="+mn-lt"/>
                      </a:endParaRPr>
                    </a:p>
                    <a:p>
                      <a:pPr marL="182563" indent="-182563">
                        <a:buFont typeface="Arial" panose="020B0604020202020204" pitchFamily="34" charset="0"/>
                        <a:buChar char="•"/>
                      </a:pPr>
                      <a:r>
                        <a:rPr lang="en-US" sz="1200" i="0" noProof="0" dirty="0">
                          <a:solidFill>
                            <a:schemeClr val="tx1"/>
                          </a:solidFill>
                          <a:latin typeface="+mn-lt"/>
                        </a:rPr>
                        <a:t>Duration: Continuous</a:t>
                      </a:r>
                      <a:endParaRPr lang="en-US" sz="1000" i="0" noProof="0" dirty="0">
                        <a:solidFill>
                          <a:schemeClr val="tx1"/>
                        </a:solidFill>
                        <a:latin typeface="+mn-lt"/>
                      </a:endParaRPr>
                    </a:p>
                  </a:txBody>
                  <a:tcPr marL="91438" marR="91438" marT="45727" marB="4572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graphicFrame>
        <p:nvGraphicFramePr>
          <p:cNvPr id="11" name="Inhaltsplatzhalter 8"/>
          <p:cNvGraphicFramePr>
            <a:graphicFrameLocks/>
          </p:cNvGraphicFramePr>
          <p:nvPr/>
        </p:nvGraphicFramePr>
        <p:xfrm>
          <a:off x="702470" y="4711701"/>
          <a:ext cx="4321175" cy="1985963"/>
        </p:xfrm>
        <a:graphic>
          <a:graphicData uri="http://schemas.openxmlformats.org/drawingml/2006/table">
            <a:tbl>
              <a:tblPr firstRow="1" bandRow="1">
                <a:tableStyleId>{5C22544A-7EE6-4342-B048-85BDC9FD1C3A}</a:tableStyleId>
              </a:tblPr>
              <a:tblGrid>
                <a:gridCol w="4321175">
                  <a:extLst>
                    <a:ext uri="{9D8B030D-6E8A-4147-A177-3AD203B41FA5}">
                      <a16:colId xmlns:a16="http://schemas.microsoft.com/office/drawing/2014/main" val="20000"/>
                    </a:ext>
                  </a:extLst>
                </a:gridCol>
              </a:tblGrid>
              <a:tr h="431939">
                <a:tc>
                  <a:txBody>
                    <a:bodyPr/>
                    <a:lstStyle/>
                    <a:p>
                      <a:pPr algn="l"/>
                      <a:r>
                        <a:rPr lang="en-US" sz="1400" noProof="0" dirty="0">
                          <a:solidFill>
                            <a:schemeClr val="tx1"/>
                          </a:solidFill>
                          <a:latin typeface="+mn-lt"/>
                        </a:rPr>
                        <a:t>Impact on</a:t>
                      </a:r>
                      <a:r>
                        <a:rPr lang="en-US" sz="1400" baseline="0" noProof="0" dirty="0">
                          <a:solidFill>
                            <a:schemeClr val="tx1"/>
                          </a:solidFill>
                          <a:latin typeface="+mn-lt"/>
                        </a:rPr>
                        <a:t> </a:t>
                      </a:r>
                      <a:r>
                        <a:rPr lang="en-US" sz="1400" noProof="0" dirty="0">
                          <a:solidFill>
                            <a:schemeClr val="tx1"/>
                          </a:solidFill>
                          <a:latin typeface="+mn-lt"/>
                        </a:rPr>
                        <a:t>International Rail Freight </a:t>
                      </a:r>
                      <a:r>
                        <a:rPr lang="en-US" sz="1400" baseline="0" noProof="0" dirty="0">
                          <a:solidFill>
                            <a:schemeClr val="tx1"/>
                          </a:solidFill>
                          <a:latin typeface="+mn-lt"/>
                        </a:rPr>
                        <a:t> </a:t>
                      </a:r>
                      <a:endParaRPr lang="en-US" sz="1400" noProof="0" dirty="0">
                        <a:solidFill>
                          <a:schemeClr val="tx1"/>
                        </a:solidFill>
                        <a:latin typeface="+mn-lt"/>
                      </a:endParaRPr>
                    </a:p>
                  </a:txBody>
                  <a:tcPr marL="91429" marR="91429"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CC00"/>
                    </a:solidFill>
                  </a:tcPr>
                </a:tc>
                <a:extLst>
                  <a:ext uri="{0D108BD9-81ED-4DB2-BD59-A6C34878D82A}">
                    <a16:rowId xmlns:a16="http://schemas.microsoft.com/office/drawing/2014/main" val="10000"/>
                  </a:ext>
                </a:extLst>
              </a:tr>
              <a:tr h="1554024">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noProof="0" dirty="0">
                          <a:solidFill>
                            <a:schemeClr val="tx1"/>
                          </a:solidFill>
                        </a:rPr>
                        <a:t>percentage of rerouting or cancellation: 100% rerouting due to total line closure</a:t>
                      </a:r>
                    </a:p>
                    <a:p>
                      <a:pPr marL="285750" indent="-285750" algn="l">
                        <a:buFont typeface="Arial" panose="020B0604020202020204" pitchFamily="34" charset="0"/>
                        <a:buChar char="•"/>
                      </a:pPr>
                      <a:r>
                        <a:rPr lang="en-US" sz="1200" i="0" noProof="0" dirty="0">
                          <a:solidFill>
                            <a:schemeClr val="tx1"/>
                          </a:solidFill>
                        </a:rPr>
                        <a:t>extra running time for freight trains: </a:t>
                      </a:r>
                      <a:r>
                        <a:rPr lang="pl-PL" sz="1200" i="0" noProof="0" dirty="0" err="1">
                          <a:solidFill>
                            <a:schemeClr val="tx1"/>
                          </a:solidFill>
                        </a:rPr>
                        <a:t>yes</a:t>
                      </a:r>
                      <a:endParaRPr lang="en-US" sz="1200" i="0" noProof="0" dirty="0">
                        <a:solidFill>
                          <a:schemeClr val="tx1"/>
                        </a:solidFill>
                      </a:endParaRPr>
                    </a:p>
                    <a:p>
                      <a:pPr marL="285750" indent="-285750" algn="l">
                        <a:buFont typeface="Arial" panose="020B0604020202020204" pitchFamily="34" charset="0"/>
                        <a:buChar char="•"/>
                      </a:pPr>
                      <a:r>
                        <a:rPr lang="en-US" sz="1200" i="0" noProof="0" dirty="0">
                          <a:solidFill>
                            <a:schemeClr val="tx1"/>
                          </a:solidFill>
                        </a:rPr>
                        <a:t>deviation: via </a:t>
                      </a:r>
                      <a:r>
                        <a:rPr lang="pl-PL" sz="1200" i="0" noProof="0" dirty="0">
                          <a:solidFill>
                            <a:schemeClr val="tx1"/>
                          </a:solidFill>
                        </a:rPr>
                        <a:t>Olsztyn</a:t>
                      </a:r>
                      <a:r>
                        <a:rPr lang="pl-PL" sz="1200" i="0" baseline="0" noProof="0" dirty="0">
                          <a:solidFill>
                            <a:schemeClr val="tx1"/>
                          </a:solidFill>
                        </a:rPr>
                        <a:t> – Szczytno - Ełk</a:t>
                      </a:r>
                      <a:r>
                        <a:rPr lang="en-US" sz="1200" i="0" noProof="0" dirty="0">
                          <a:solidFill>
                            <a:schemeClr val="tx1"/>
                          </a:solidFill>
                        </a:rPr>
                        <a:t> </a:t>
                      </a:r>
                    </a:p>
                    <a:p>
                      <a:pPr marL="285750" indent="-285750" algn="l">
                        <a:buFont typeface="Arial" panose="020B0604020202020204" pitchFamily="34" charset="0"/>
                        <a:buChar char="•"/>
                      </a:pPr>
                      <a:r>
                        <a:rPr lang="en-US" sz="1200" i="0" noProof="0" dirty="0">
                          <a:solidFill>
                            <a:schemeClr val="tx1"/>
                          </a:solidFill>
                        </a:rPr>
                        <a:t>timetable: </a:t>
                      </a:r>
                      <a:r>
                        <a:rPr lang="en-US" sz="1200" i="0" baseline="0" noProof="0" dirty="0">
                          <a:solidFill>
                            <a:schemeClr val="tx1"/>
                          </a:solidFill>
                        </a:rPr>
                        <a:t>TT</a:t>
                      </a:r>
                      <a:r>
                        <a:rPr lang="pl-PL" sz="1200" i="0" baseline="0" noProof="0" dirty="0">
                          <a:solidFill>
                            <a:schemeClr val="tx1"/>
                          </a:solidFill>
                        </a:rPr>
                        <a:t> 2023 - 2026</a:t>
                      </a:r>
                      <a:endParaRPr lang="en-US" sz="1200" i="0" baseline="0" noProof="0" dirty="0">
                        <a:solidFill>
                          <a:schemeClr val="tx1"/>
                        </a:solidFill>
                      </a:endParaRPr>
                    </a:p>
                    <a:p>
                      <a:pPr marL="285750" indent="-285750" algn="l">
                        <a:buFont typeface="Arial" panose="020B0604020202020204" pitchFamily="34" charset="0"/>
                        <a:buChar char="•"/>
                      </a:pPr>
                      <a:r>
                        <a:rPr lang="pl-PL" sz="1200" i="0" noProof="0" dirty="0">
                          <a:solidFill>
                            <a:schemeClr val="tx1"/>
                          </a:solidFill>
                        </a:rPr>
                        <a:t>no r</a:t>
                      </a:r>
                      <a:r>
                        <a:rPr lang="en-US" sz="1200" i="0" noProof="0" dirty="0" err="1">
                          <a:solidFill>
                            <a:schemeClr val="tx1"/>
                          </a:solidFill>
                        </a:rPr>
                        <a:t>estrictions</a:t>
                      </a:r>
                      <a:r>
                        <a:rPr lang="en-US" sz="1200" i="0" noProof="0" dirty="0">
                          <a:solidFill>
                            <a:schemeClr val="tx1"/>
                          </a:solidFill>
                        </a:rPr>
                        <a:t> in train parameters</a:t>
                      </a:r>
                      <a:endParaRPr lang="en-US" sz="1200" i="0" baseline="0" noProof="0" dirty="0">
                        <a:latin typeface="+mn-lt"/>
                      </a:endParaRPr>
                    </a:p>
                  </a:txBody>
                  <a:tcPr marL="91429" marR="91429"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3082" name="Textfeld 18"/>
          <p:cNvSpPr txBox="1">
            <a:spLocks noChangeArrowheads="1"/>
          </p:cNvSpPr>
          <p:nvPr/>
        </p:nvSpPr>
        <p:spPr bwMode="auto">
          <a:xfrm>
            <a:off x="702469" y="1739901"/>
            <a:ext cx="4325938" cy="307975"/>
          </a:xfrm>
          <a:prstGeom prst="rect">
            <a:avLst/>
          </a:prstGeom>
          <a:solidFill>
            <a:srgbClr val="FFCC00"/>
          </a:solidFill>
          <a:ln w="9525">
            <a:solidFill>
              <a:srgbClr val="0066FF"/>
            </a:solidFill>
            <a:miter lim="800000"/>
            <a:headEnd/>
            <a:tailEnd/>
          </a:ln>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de-DE" altLang="fr-FR" sz="1400" b="1">
                <a:solidFill>
                  <a:prstClr val="black"/>
                </a:solidFill>
                <a:cs typeface="Arial" pitchFamily="34" charset="0"/>
              </a:rPr>
              <a:t>Map view</a:t>
            </a:r>
          </a:p>
        </p:txBody>
      </p:sp>
      <p:sp>
        <p:nvSpPr>
          <p:cNvPr id="3084" name="Rechteck 20"/>
          <p:cNvSpPr>
            <a:spLocks noChangeArrowheads="1"/>
          </p:cNvSpPr>
          <p:nvPr/>
        </p:nvSpPr>
        <p:spPr bwMode="auto">
          <a:xfrm>
            <a:off x="702469" y="2030414"/>
            <a:ext cx="4325938" cy="2681287"/>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fontAlgn="base">
              <a:spcBef>
                <a:spcPct val="50000"/>
              </a:spcBef>
              <a:spcAft>
                <a:spcPct val="0"/>
              </a:spcAft>
              <a:buFontTx/>
              <a:buNone/>
            </a:pPr>
            <a:endParaRPr lang="de-DE" altLang="fr-FR" sz="1200" b="1">
              <a:solidFill>
                <a:prstClr val="black"/>
              </a:solidFill>
              <a:latin typeface="DB Office" pitchFamily="34" charset="0"/>
              <a:cs typeface="Arial" pitchFamily="34" charset="0"/>
            </a:endParaRPr>
          </a:p>
        </p:txBody>
      </p:sp>
      <p:graphicFrame>
        <p:nvGraphicFramePr>
          <p:cNvPr id="7" name="Object 6">
            <a:extLst>
              <a:ext uri="{FF2B5EF4-FFF2-40B4-BE49-F238E27FC236}">
                <a16:creationId xmlns:a16="http://schemas.microsoft.com/office/drawing/2014/main" id="{9E027BA5-6737-4756-B53D-3DA21BC58BE9}"/>
              </a:ext>
            </a:extLst>
          </p:cNvPr>
          <p:cNvGraphicFramePr>
            <a:graphicFrameLocks noChangeAspect="1"/>
          </p:cNvGraphicFramePr>
          <p:nvPr/>
        </p:nvGraphicFramePr>
        <p:xfrm>
          <a:off x="5611020" y="3616325"/>
          <a:ext cx="3559175" cy="2800350"/>
        </p:xfrm>
        <a:graphic>
          <a:graphicData uri="http://schemas.openxmlformats.org/presentationml/2006/ole">
            <mc:AlternateContent xmlns:mc="http://schemas.openxmlformats.org/markup-compatibility/2006">
              <mc:Choice xmlns:v="urn:schemas-microsoft-com:vml" Requires="v">
                <p:oleObj name="Worksheet" r:id="rId3" imgW="11677732" imgH="9105793" progId="Excel.Sheet.12">
                  <p:embed/>
                </p:oleObj>
              </mc:Choice>
              <mc:Fallback>
                <p:oleObj name="Worksheet" r:id="rId3" imgW="11677732" imgH="9105793" progId="Excel.Sheet.12">
                  <p:embed/>
                  <p:pic>
                    <p:nvPicPr>
                      <p:cNvPr id="7" name="Object 6">
                        <a:extLst>
                          <a:ext uri="{FF2B5EF4-FFF2-40B4-BE49-F238E27FC236}">
                            <a16:creationId xmlns:a16="http://schemas.microsoft.com/office/drawing/2014/main" id="{9E027BA5-6737-4756-B53D-3DA21BC58BE9}"/>
                          </a:ext>
                        </a:extLst>
                      </p:cNvPr>
                      <p:cNvPicPr/>
                      <p:nvPr/>
                    </p:nvPicPr>
                    <p:blipFill>
                      <a:blip r:embed="rId4"/>
                      <a:stretch>
                        <a:fillRect/>
                      </a:stretch>
                    </p:blipFill>
                    <p:spPr>
                      <a:xfrm>
                        <a:off x="5611020" y="3616325"/>
                        <a:ext cx="3559175" cy="2800350"/>
                      </a:xfrm>
                      <a:prstGeom prst="rect">
                        <a:avLst/>
                      </a:prstGeom>
                      <a:ln>
                        <a:solidFill>
                          <a:schemeClr val="accent1"/>
                        </a:solidFill>
                      </a:ln>
                    </p:spPr>
                  </p:pic>
                </p:oleObj>
              </mc:Fallback>
            </mc:AlternateContent>
          </a:graphicData>
        </a:graphic>
      </p:graphicFrame>
      <p:grpSp>
        <p:nvGrpSpPr>
          <p:cNvPr id="2" name="Group 14"/>
          <p:cNvGrpSpPr>
            <a:grpSpLocks noChangeAspect="1"/>
          </p:cNvGrpSpPr>
          <p:nvPr/>
        </p:nvGrpSpPr>
        <p:grpSpPr bwMode="auto">
          <a:xfrm>
            <a:off x="756444" y="2235201"/>
            <a:ext cx="4268788" cy="2201863"/>
            <a:chOff x="238" y="1408"/>
            <a:chExt cx="2689" cy="1387"/>
          </a:xfrm>
        </p:grpSpPr>
        <p:sp>
          <p:nvSpPr>
            <p:cNvPr id="3" name="AutoShape 13"/>
            <p:cNvSpPr>
              <a:spLocks noChangeAspect="1" noChangeArrowheads="1" noTextEdit="1"/>
            </p:cNvSpPr>
            <p:nvPr/>
          </p:nvSpPr>
          <p:spPr bwMode="auto">
            <a:xfrm>
              <a:off x="238" y="1408"/>
              <a:ext cx="2689" cy="1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4" name="Rectangle 15"/>
            <p:cNvSpPr>
              <a:spLocks noChangeArrowheads="1"/>
            </p:cNvSpPr>
            <p:nvPr/>
          </p:nvSpPr>
          <p:spPr bwMode="auto">
            <a:xfrm>
              <a:off x="465" y="2326"/>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5" name="Freeform 16"/>
            <p:cNvSpPr>
              <a:spLocks/>
            </p:cNvSpPr>
            <p:nvPr/>
          </p:nvSpPr>
          <p:spPr bwMode="auto">
            <a:xfrm>
              <a:off x="257" y="2142"/>
              <a:ext cx="218" cy="209"/>
            </a:xfrm>
            <a:custGeom>
              <a:avLst/>
              <a:gdLst>
                <a:gd name="T0" fmla="*/ 20 w 218"/>
                <a:gd name="T1" fmla="*/ 0 h 209"/>
                <a:gd name="T2" fmla="*/ 0 w 218"/>
                <a:gd name="T3" fmla="*/ 21 h 209"/>
                <a:gd name="T4" fmla="*/ 198 w 218"/>
                <a:gd name="T5" fmla="*/ 209 h 209"/>
                <a:gd name="T6" fmla="*/ 218 w 218"/>
                <a:gd name="T7" fmla="*/ 188 h 209"/>
                <a:gd name="T8" fmla="*/ 20 w 218"/>
                <a:gd name="T9" fmla="*/ 0 h 209"/>
              </a:gdLst>
              <a:ahLst/>
              <a:cxnLst>
                <a:cxn ang="0">
                  <a:pos x="T0" y="T1"/>
                </a:cxn>
                <a:cxn ang="0">
                  <a:pos x="T2" y="T3"/>
                </a:cxn>
                <a:cxn ang="0">
                  <a:pos x="T4" y="T5"/>
                </a:cxn>
                <a:cxn ang="0">
                  <a:pos x="T6" y="T7"/>
                </a:cxn>
                <a:cxn ang="0">
                  <a:pos x="T8" y="T9"/>
                </a:cxn>
              </a:cxnLst>
              <a:rect l="0" t="0" r="r" b="b"/>
              <a:pathLst>
                <a:path w="218" h="209">
                  <a:moveTo>
                    <a:pt x="20" y="0"/>
                  </a:moveTo>
                  <a:lnTo>
                    <a:pt x="0" y="21"/>
                  </a:lnTo>
                  <a:lnTo>
                    <a:pt x="198" y="209"/>
                  </a:lnTo>
                  <a:lnTo>
                    <a:pt x="218" y="188"/>
                  </a:lnTo>
                  <a:lnTo>
                    <a:pt x="20"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6" name="Rectangle 17"/>
            <p:cNvSpPr>
              <a:spLocks noChangeArrowheads="1"/>
            </p:cNvSpPr>
            <p:nvPr/>
          </p:nvSpPr>
          <p:spPr bwMode="auto">
            <a:xfrm>
              <a:off x="253" y="2529"/>
              <a:ext cx="29" cy="18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8" name="Rectangle 18"/>
            <p:cNvSpPr>
              <a:spLocks noChangeArrowheads="1"/>
            </p:cNvSpPr>
            <p:nvPr/>
          </p:nvSpPr>
          <p:spPr bwMode="auto">
            <a:xfrm>
              <a:off x="253" y="2341"/>
              <a:ext cx="29" cy="18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2" name="Rectangle 19"/>
            <p:cNvSpPr>
              <a:spLocks noChangeArrowheads="1"/>
            </p:cNvSpPr>
            <p:nvPr/>
          </p:nvSpPr>
          <p:spPr bwMode="auto">
            <a:xfrm>
              <a:off x="267" y="1951"/>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3" name="Rectangle 20"/>
            <p:cNvSpPr>
              <a:spLocks noChangeArrowheads="1"/>
            </p:cNvSpPr>
            <p:nvPr/>
          </p:nvSpPr>
          <p:spPr bwMode="auto">
            <a:xfrm>
              <a:off x="455" y="1951"/>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4" name="Rectangle 21"/>
            <p:cNvSpPr>
              <a:spLocks noChangeArrowheads="1"/>
            </p:cNvSpPr>
            <p:nvPr/>
          </p:nvSpPr>
          <p:spPr bwMode="auto">
            <a:xfrm>
              <a:off x="643" y="1951"/>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5" name="Rectangle 22"/>
            <p:cNvSpPr>
              <a:spLocks noChangeArrowheads="1"/>
            </p:cNvSpPr>
            <p:nvPr/>
          </p:nvSpPr>
          <p:spPr bwMode="auto">
            <a:xfrm>
              <a:off x="831" y="1951"/>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6" name="Rectangle 23"/>
            <p:cNvSpPr>
              <a:spLocks noChangeArrowheads="1"/>
            </p:cNvSpPr>
            <p:nvPr/>
          </p:nvSpPr>
          <p:spPr bwMode="auto">
            <a:xfrm>
              <a:off x="253" y="1966"/>
              <a:ext cx="29" cy="186"/>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7" name="Rectangle 24"/>
            <p:cNvSpPr>
              <a:spLocks noChangeArrowheads="1"/>
            </p:cNvSpPr>
            <p:nvPr/>
          </p:nvSpPr>
          <p:spPr bwMode="auto">
            <a:xfrm>
              <a:off x="253" y="2152"/>
              <a:ext cx="29" cy="18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8" name="Rectangle 25"/>
            <p:cNvSpPr>
              <a:spLocks noChangeArrowheads="1"/>
            </p:cNvSpPr>
            <p:nvPr/>
          </p:nvSpPr>
          <p:spPr bwMode="auto">
            <a:xfrm>
              <a:off x="1583" y="2326"/>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19" name="Rectangle 26"/>
            <p:cNvSpPr>
              <a:spLocks noChangeArrowheads="1"/>
            </p:cNvSpPr>
            <p:nvPr/>
          </p:nvSpPr>
          <p:spPr bwMode="auto">
            <a:xfrm>
              <a:off x="1395" y="2326"/>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0" name="Rectangle 27"/>
            <p:cNvSpPr>
              <a:spLocks noChangeArrowheads="1"/>
            </p:cNvSpPr>
            <p:nvPr/>
          </p:nvSpPr>
          <p:spPr bwMode="auto">
            <a:xfrm>
              <a:off x="1207" y="2326"/>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1" name="Rectangle 28"/>
            <p:cNvSpPr>
              <a:spLocks noChangeArrowheads="1"/>
            </p:cNvSpPr>
            <p:nvPr/>
          </p:nvSpPr>
          <p:spPr bwMode="auto">
            <a:xfrm>
              <a:off x="1019" y="2326"/>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2" name="Rectangle 29"/>
            <p:cNvSpPr>
              <a:spLocks noChangeArrowheads="1"/>
            </p:cNvSpPr>
            <p:nvPr/>
          </p:nvSpPr>
          <p:spPr bwMode="auto">
            <a:xfrm>
              <a:off x="831" y="2326"/>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3" name="Rectangle 30"/>
            <p:cNvSpPr>
              <a:spLocks noChangeArrowheads="1"/>
            </p:cNvSpPr>
            <p:nvPr/>
          </p:nvSpPr>
          <p:spPr bwMode="auto">
            <a:xfrm>
              <a:off x="643" y="2326"/>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4" name="Rectangle 31"/>
            <p:cNvSpPr>
              <a:spLocks noChangeArrowheads="1"/>
            </p:cNvSpPr>
            <p:nvPr/>
          </p:nvSpPr>
          <p:spPr bwMode="auto">
            <a:xfrm>
              <a:off x="1583" y="1762"/>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5" name="Freeform 32"/>
            <p:cNvSpPr>
              <a:spLocks/>
            </p:cNvSpPr>
            <p:nvPr/>
          </p:nvSpPr>
          <p:spPr bwMode="auto">
            <a:xfrm>
              <a:off x="1197" y="1955"/>
              <a:ext cx="208" cy="208"/>
            </a:xfrm>
            <a:custGeom>
              <a:avLst/>
              <a:gdLst>
                <a:gd name="T0" fmla="*/ 20 w 208"/>
                <a:gd name="T1" fmla="*/ 0 h 208"/>
                <a:gd name="T2" fmla="*/ 0 w 208"/>
                <a:gd name="T3" fmla="*/ 21 h 208"/>
                <a:gd name="T4" fmla="*/ 188 w 208"/>
                <a:gd name="T5" fmla="*/ 208 h 208"/>
                <a:gd name="T6" fmla="*/ 208 w 208"/>
                <a:gd name="T7" fmla="*/ 187 h 208"/>
                <a:gd name="T8" fmla="*/ 20 w 208"/>
                <a:gd name="T9" fmla="*/ 0 h 208"/>
              </a:gdLst>
              <a:ahLst/>
              <a:cxnLst>
                <a:cxn ang="0">
                  <a:pos x="T0" y="T1"/>
                </a:cxn>
                <a:cxn ang="0">
                  <a:pos x="T2" y="T3"/>
                </a:cxn>
                <a:cxn ang="0">
                  <a:pos x="T4" y="T5"/>
                </a:cxn>
                <a:cxn ang="0">
                  <a:pos x="T6" y="T7"/>
                </a:cxn>
                <a:cxn ang="0">
                  <a:pos x="T8" y="T9"/>
                </a:cxn>
              </a:cxnLst>
              <a:rect l="0" t="0" r="r" b="b"/>
              <a:pathLst>
                <a:path w="208" h="208">
                  <a:moveTo>
                    <a:pt x="20" y="0"/>
                  </a:moveTo>
                  <a:lnTo>
                    <a:pt x="0" y="21"/>
                  </a:lnTo>
                  <a:lnTo>
                    <a:pt x="188" y="208"/>
                  </a:lnTo>
                  <a:lnTo>
                    <a:pt x="208" y="187"/>
                  </a:lnTo>
                  <a:lnTo>
                    <a:pt x="20"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6" name="Freeform 33"/>
            <p:cNvSpPr>
              <a:spLocks/>
            </p:cNvSpPr>
            <p:nvPr/>
          </p:nvSpPr>
          <p:spPr bwMode="auto">
            <a:xfrm>
              <a:off x="1385" y="1766"/>
              <a:ext cx="208" cy="210"/>
            </a:xfrm>
            <a:custGeom>
              <a:avLst/>
              <a:gdLst>
                <a:gd name="T0" fmla="*/ 0 w 208"/>
                <a:gd name="T1" fmla="*/ 189 h 210"/>
                <a:gd name="T2" fmla="*/ 20 w 208"/>
                <a:gd name="T3" fmla="*/ 210 h 210"/>
                <a:gd name="T4" fmla="*/ 208 w 208"/>
                <a:gd name="T5" fmla="*/ 20 h 210"/>
                <a:gd name="T6" fmla="*/ 188 w 208"/>
                <a:gd name="T7" fmla="*/ 0 h 210"/>
                <a:gd name="T8" fmla="*/ 0 w 208"/>
                <a:gd name="T9" fmla="*/ 189 h 210"/>
              </a:gdLst>
              <a:ahLst/>
              <a:cxnLst>
                <a:cxn ang="0">
                  <a:pos x="T0" y="T1"/>
                </a:cxn>
                <a:cxn ang="0">
                  <a:pos x="T2" y="T3"/>
                </a:cxn>
                <a:cxn ang="0">
                  <a:pos x="T4" y="T5"/>
                </a:cxn>
                <a:cxn ang="0">
                  <a:pos x="T6" y="T7"/>
                </a:cxn>
                <a:cxn ang="0">
                  <a:pos x="T8" y="T9"/>
                </a:cxn>
              </a:cxnLst>
              <a:rect l="0" t="0" r="r" b="b"/>
              <a:pathLst>
                <a:path w="208" h="210">
                  <a:moveTo>
                    <a:pt x="0" y="189"/>
                  </a:moveTo>
                  <a:lnTo>
                    <a:pt x="20" y="210"/>
                  </a:lnTo>
                  <a:lnTo>
                    <a:pt x="208" y="20"/>
                  </a:lnTo>
                  <a:lnTo>
                    <a:pt x="188" y="0"/>
                  </a:lnTo>
                  <a:lnTo>
                    <a:pt x="0" y="189"/>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7" name="Rectangle 34"/>
            <p:cNvSpPr>
              <a:spLocks noChangeArrowheads="1"/>
            </p:cNvSpPr>
            <p:nvPr/>
          </p:nvSpPr>
          <p:spPr bwMode="auto">
            <a:xfrm>
              <a:off x="1019" y="1951"/>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8" name="Rectangle 35"/>
            <p:cNvSpPr>
              <a:spLocks noChangeArrowheads="1"/>
            </p:cNvSpPr>
            <p:nvPr/>
          </p:nvSpPr>
          <p:spPr bwMode="auto">
            <a:xfrm>
              <a:off x="1207" y="1951"/>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29" name="Rectangle 36"/>
            <p:cNvSpPr>
              <a:spLocks noChangeArrowheads="1"/>
            </p:cNvSpPr>
            <p:nvPr/>
          </p:nvSpPr>
          <p:spPr bwMode="auto">
            <a:xfrm>
              <a:off x="1395" y="1951"/>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0" name="Rectangle 37"/>
            <p:cNvSpPr>
              <a:spLocks noChangeArrowheads="1"/>
            </p:cNvSpPr>
            <p:nvPr/>
          </p:nvSpPr>
          <p:spPr bwMode="auto">
            <a:xfrm>
              <a:off x="1583" y="1951"/>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1" name="Rectangle 38"/>
            <p:cNvSpPr>
              <a:spLocks noChangeArrowheads="1"/>
            </p:cNvSpPr>
            <p:nvPr/>
          </p:nvSpPr>
          <p:spPr bwMode="auto">
            <a:xfrm>
              <a:off x="1771" y="1951"/>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072" name="Rectangle 39"/>
            <p:cNvSpPr>
              <a:spLocks noChangeArrowheads="1"/>
            </p:cNvSpPr>
            <p:nvPr/>
          </p:nvSpPr>
          <p:spPr bwMode="auto">
            <a:xfrm>
              <a:off x="1771" y="1762"/>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073" name="Rectangle 40"/>
            <p:cNvSpPr>
              <a:spLocks noChangeArrowheads="1"/>
            </p:cNvSpPr>
            <p:nvPr/>
          </p:nvSpPr>
          <p:spPr bwMode="auto">
            <a:xfrm>
              <a:off x="1959" y="1951"/>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075" name="Rectangle 41"/>
            <p:cNvSpPr>
              <a:spLocks noChangeArrowheads="1"/>
            </p:cNvSpPr>
            <p:nvPr/>
          </p:nvSpPr>
          <p:spPr bwMode="auto">
            <a:xfrm>
              <a:off x="2147" y="1951"/>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076" name="Rectangle 42"/>
            <p:cNvSpPr>
              <a:spLocks noChangeArrowheads="1"/>
            </p:cNvSpPr>
            <p:nvPr/>
          </p:nvSpPr>
          <p:spPr bwMode="auto">
            <a:xfrm>
              <a:off x="2335" y="1951"/>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077" name="Rectangle 43"/>
            <p:cNvSpPr>
              <a:spLocks noChangeArrowheads="1"/>
            </p:cNvSpPr>
            <p:nvPr/>
          </p:nvSpPr>
          <p:spPr bwMode="auto">
            <a:xfrm>
              <a:off x="1959" y="1762"/>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078" name="Rectangle 44"/>
            <p:cNvSpPr>
              <a:spLocks noChangeArrowheads="1"/>
            </p:cNvSpPr>
            <p:nvPr/>
          </p:nvSpPr>
          <p:spPr bwMode="auto">
            <a:xfrm>
              <a:off x="2147" y="1762"/>
              <a:ext cx="188" cy="29"/>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079" name="Rectangle 45"/>
            <p:cNvSpPr>
              <a:spLocks noChangeArrowheads="1"/>
            </p:cNvSpPr>
            <p:nvPr/>
          </p:nvSpPr>
          <p:spPr bwMode="auto">
            <a:xfrm>
              <a:off x="2147" y="1762"/>
              <a:ext cx="188" cy="29"/>
            </a:xfrm>
            <a:prstGeom prst="rect">
              <a:avLst/>
            </a:prstGeom>
            <a:noFill/>
            <a:ln w="3175" cap="rnd">
              <a:no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sp>
          <p:nvSpPr>
            <p:cNvPr id="3080" name="Rectangle 46"/>
            <p:cNvSpPr>
              <a:spLocks noChangeArrowheads="1"/>
            </p:cNvSpPr>
            <p:nvPr/>
          </p:nvSpPr>
          <p:spPr bwMode="auto">
            <a:xfrm>
              <a:off x="2335" y="1762"/>
              <a:ext cx="188" cy="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083" name="Rectangle 47"/>
            <p:cNvSpPr>
              <a:spLocks noChangeArrowheads="1"/>
            </p:cNvSpPr>
            <p:nvPr/>
          </p:nvSpPr>
          <p:spPr bwMode="auto">
            <a:xfrm>
              <a:off x="2523" y="1762"/>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085" name="Rectangle 48"/>
            <p:cNvSpPr>
              <a:spLocks noChangeArrowheads="1"/>
            </p:cNvSpPr>
            <p:nvPr/>
          </p:nvSpPr>
          <p:spPr bwMode="auto">
            <a:xfrm>
              <a:off x="2711" y="1762"/>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pic>
          <p:nvPicPr>
            <p:cNvPr id="12337" name="Picture 4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0" y="1942"/>
              <a:ext cx="57" cy="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38" name="Picture 50"/>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0" y="1942"/>
              <a:ext cx="57" cy="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6" name="Oval 51"/>
            <p:cNvSpPr>
              <a:spLocks noChangeArrowheads="1"/>
            </p:cNvSpPr>
            <p:nvPr/>
          </p:nvSpPr>
          <p:spPr bwMode="auto">
            <a:xfrm>
              <a:off x="248" y="1947"/>
              <a:ext cx="38" cy="37"/>
            </a:xfrm>
            <a:prstGeom prst="ellipse">
              <a:avLst/>
            </a:prstGeom>
            <a:solidFill>
              <a:srgbClr val="5B9BD5"/>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3087" name="Oval 52"/>
            <p:cNvSpPr>
              <a:spLocks noChangeArrowheads="1"/>
            </p:cNvSpPr>
            <p:nvPr/>
          </p:nvSpPr>
          <p:spPr bwMode="auto">
            <a:xfrm>
              <a:off x="254" y="1952"/>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3088" name="Oval 53"/>
            <p:cNvSpPr>
              <a:spLocks noChangeArrowheads="1"/>
            </p:cNvSpPr>
            <p:nvPr/>
          </p:nvSpPr>
          <p:spPr bwMode="auto">
            <a:xfrm>
              <a:off x="248" y="2322"/>
              <a:ext cx="38" cy="37"/>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3089" name="Oval 54"/>
            <p:cNvSpPr>
              <a:spLocks noChangeArrowheads="1"/>
            </p:cNvSpPr>
            <p:nvPr/>
          </p:nvSpPr>
          <p:spPr bwMode="auto">
            <a:xfrm>
              <a:off x="254" y="2327"/>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3090" name="Oval 55"/>
            <p:cNvSpPr>
              <a:spLocks noChangeArrowheads="1"/>
            </p:cNvSpPr>
            <p:nvPr/>
          </p:nvSpPr>
          <p:spPr bwMode="auto">
            <a:xfrm>
              <a:off x="248" y="2510"/>
              <a:ext cx="38" cy="37"/>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3091" name="Oval 56"/>
            <p:cNvSpPr>
              <a:spLocks noChangeArrowheads="1"/>
            </p:cNvSpPr>
            <p:nvPr/>
          </p:nvSpPr>
          <p:spPr bwMode="auto">
            <a:xfrm>
              <a:off x="254" y="2515"/>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3092" name="Oval 57"/>
            <p:cNvSpPr>
              <a:spLocks noChangeArrowheads="1"/>
            </p:cNvSpPr>
            <p:nvPr/>
          </p:nvSpPr>
          <p:spPr bwMode="auto">
            <a:xfrm>
              <a:off x="248" y="2698"/>
              <a:ext cx="38" cy="38"/>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3093" name="Oval 58"/>
            <p:cNvSpPr>
              <a:spLocks noChangeArrowheads="1"/>
            </p:cNvSpPr>
            <p:nvPr/>
          </p:nvSpPr>
          <p:spPr bwMode="auto">
            <a:xfrm>
              <a:off x="254" y="2704"/>
              <a:ext cx="26" cy="26"/>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3094" name="Rectangle 59"/>
            <p:cNvSpPr>
              <a:spLocks noChangeArrowheads="1"/>
            </p:cNvSpPr>
            <p:nvPr/>
          </p:nvSpPr>
          <p:spPr bwMode="auto">
            <a:xfrm>
              <a:off x="1771" y="2326"/>
              <a:ext cx="188" cy="29"/>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l-PL"/>
            </a:p>
          </p:txBody>
        </p:sp>
        <p:sp>
          <p:nvSpPr>
            <p:cNvPr id="3095" name="Oval 60"/>
            <p:cNvSpPr>
              <a:spLocks noChangeArrowheads="1"/>
            </p:cNvSpPr>
            <p:nvPr/>
          </p:nvSpPr>
          <p:spPr bwMode="auto">
            <a:xfrm>
              <a:off x="624" y="2322"/>
              <a:ext cx="38" cy="37"/>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3096" name="Oval 61"/>
            <p:cNvSpPr>
              <a:spLocks noChangeArrowheads="1"/>
            </p:cNvSpPr>
            <p:nvPr/>
          </p:nvSpPr>
          <p:spPr bwMode="auto">
            <a:xfrm>
              <a:off x="630" y="2327"/>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3097" name="Oval 62"/>
            <p:cNvSpPr>
              <a:spLocks noChangeArrowheads="1"/>
            </p:cNvSpPr>
            <p:nvPr/>
          </p:nvSpPr>
          <p:spPr bwMode="auto">
            <a:xfrm>
              <a:off x="812" y="2322"/>
              <a:ext cx="38" cy="37"/>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3098" name="Oval 63"/>
            <p:cNvSpPr>
              <a:spLocks noChangeArrowheads="1"/>
            </p:cNvSpPr>
            <p:nvPr/>
          </p:nvSpPr>
          <p:spPr bwMode="auto">
            <a:xfrm>
              <a:off x="818" y="2327"/>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3099" name="Oval 64"/>
            <p:cNvSpPr>
              <a:spLocks noChangeArrowheads="1"/>
            </p:cNvSpPr>
            <p:nvPr/>
          </p:nvSpPr>
          <p:spPr bwMode="auto">
            <a:xfrm>
              <a:off x="1000" y="2322"/>
              <a:ext cx="38" cy="37"/>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3100" name="Oval 65"/>
            <p:cNvSpPr>
              <a:spLocks noChangeArrowheads="1"/>
            </p:cNvSpPr>
            <p:nvPr/>
          </p:nvSpPr>
          <p:spPr bwMode="auto">
            <a:xfrm>
              <a:off x="1006" y="2327"/>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3101" name="Oval 66"/>
            <p:cNvSpPr>
              <a:spLocks noChangeArrowheads="1"/>
            </p:cNvSpPr>
            <p:nvPr/>
          </p:nvSpPr>
          <p:spPr bwMode="auto">
            <a:xfrm>
              <a:off x="1188" y="2322"/>
              <a:ext cx="38" cy="37"/>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3102" name="Oval 67"/>
            <p:cNvSpPr>
              <a:spLocks noChangeArrowheads="1"/>
            </p:cNvSpPr>
            <p:nvPr/>
          </p:nvSpPr>
          <p:spPr bwMode="auto">
            <a:xfrm>
              <a:off x="1194" y="2327"/>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3103" name="Oval 68"/>
            <p:cNvSpPr>
              <a:spLocks noChangeArrowheads="1"/>
            </p:cNvSpPr>
            <p:nvPr/>
          </p:nvSpPr>
          <p:spPr bwMode="auto">
            <a:xfrm>
              <a:off x="1982" y="2533"/>
              <a:ext cx="1" cy="1"/>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20" name="Oval 69"/>
            <p:cNvSpPr>
              <a:spLocks noChangeArrowheads="1"/>
            </p:cNvSpPr>
            <p:nvPr/>
          </p:nvSpPr>
          <p:spPr bwMode="auto">
            <a:xfrm>
              <a:off x="1982" y="2533"/>
              <a:ext cx="1" cy="1"/>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21" name="Oval 70"/>
            <p:cNvSpPr>
              <a:spLocks noChangeArrowheads="1"/>
            </p:cNvSpPr>
            <p:nvPr/>
          </p:nvSpPr>
          <p:spPr bwMode="auto">
            <a:xfrm>
              <a:off x="1376" y="2322"/>
              <a:ext cx="38" cy="37"/>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22" name="Oval 71"/>
            <p:cNvSpPr>
              <a:spLocks noChangeArrowheads="1"/>
            </p:cNvSpPr>
            <p:nvPr/>
          </p:nvSpPr>
          <p:spPr bwMode="auto">
            <a:xfrm>
              <a:off x="1382" y="2327"/>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23" name="Oval 72"/>
            <p:cNvSpPr>
              <a:spLocks noChangeArrowheads="1"/>
            </p:cNvSpPr>
            <p:nvPr/>
          </p:nvSpPr>
          <p:spPr bwMode="auto">
            <a:xfrm>
              <a:off x="1564" y="2322"/>
              <a:ext cx="38" cy="37"/>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24" name="Oval 73"/>
            <p:cNvSpPr>
              <a:spLocks noChangeArrowheads="1"/>
            </p:cNvSpPr>
            <p:nvPr/>
          </p:nvSpPr>
          <p:spPr bwMode="auto">
            <a:xfrm>
              <a:off x="1570" y="2327"/>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25" name="Oval 74"/>
            <p:cNvSpPr>
              <a:spLocks noChangeArrowheads="1"/>
            </p:cNvSpPr>
            <p:nvPr/>
          </p:nvSpPr>
          <p:spPr bwMode="auto">
            <a:xfrm>
              <a:off x="1752" y="2322"/>
              <a:ext cx="38" cy="37"/>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26" name="Oval 75"/>
            <p:cNvSpPr>
              <a:spLocks noChangeArrowheads="1"/>
            </p:cNvSpPr>
            <p:nvPr/>
          </p:nvSpPr>
          <p:spPr bwMode="auto">
            <a:xfrm>
              <a:off x="1758" y="2327"/>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27" name="Oval 76"/>
            <p:cNvSpPr>
              <a:spLocks noChangeArrowheads="1"/>
            </p:cNvSpPr>
            <p:nvPr/>
          </p:nvSpPr>
          <p:spPr bwMode="auto">
            <a:xfrm>
              <a:off x="1940" y="2322"/>
              <a:ext cx="38" cy="37"/>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28" name="Oval 77"/>
            <p:cNvSpPr>
              <a:spLocks noChangeArrowheads="1"/>
            </p:cNvSpPr>
            <p:nvPr/>
          </p:nvSpPr>
          <p:spPr bwMode="auto">
            <a:xfrm>
              <a:off x="1946" y="2327"/>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29" name="Oval 78"/>
            <p:cNvSpPr>
              <a:spLocks noChangeArrowheads="1"/>
            </p:cNvSpPr>
            <p:nvPr/>
          </p:nvSpPr>
          <p:spPr bwMode="auto">
            <a:xfrm>
              <a:off x="436" y="1947"/>
              <a:ext cx="38" cy="37"/>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30" name="Oval 79"/>
            <p:cNvSpPr>
              <a:spLocks noChangeArrowheads="1"/>
            </p:cNvSpPr>
            <p:nvPr/>
          </p:nvSpPr>
          <p:spPr bwMode="auto">
            <a:xfrm>
              <a:off x="442" y="1952"/>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31" name="Oval 80"/>
            <p:cNvSpPr>
              <a:spLocks noChangeArrowheads="1"/>
            </p:cNvSpPr>
            <p:nvPr/>
          </p:nvSpPr>
          <p:spPr bwMode="auto">
            <a:xfrm>
              <a:off x="624" y="1947"/>
              <a:ext cx="38" cy="37"/>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32" name="Oval 81"/>
            <p:cNvSpPr>
              <a:spLocks noChangeArrowheads="1"/>
            </p:cNvSpPr>
            <p:nvPr/>
          </p:nvSpPr>
          <p:spPr bwMode="auto">
            <a:xfrm>
              <a:off x="630" y="1952"/>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33" name="Oval 82"/>
            <p:cNvSpPr>
              <a:spLocks noChangeArrowheads="1"/>
            </p:cNvSpPr>
            <p:nvPr/>
          </p:nvSpPr>
          <p:spPr bwMode="auto">
            <a:xfrm>
              <a:off x="2504" y="1947"/>
              <a:ext cx="38" cy="37"/>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34" name="Oval 83"/>
            <p:cNvSpPr>
              <a:spLocks noChangeArrowheads="1"/>
            </p:cNvSpPr>
            <p:nvPr/>
          </p:nvSpPr>
          <p:spPr bwMode="auto">
            <a:xfrm>
              <a:off x="2510" y="1952"/>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35" name="Oval 84"/>
            <p:cNvSpPr>
              <a:spLocks noChangeArrowheads="1"/>
            </p:cNvSpPr>
            <p:nvPr/>
          </p:nvSpPr>
          <p:spPr bwMode="auto">
            <a:xfrm>
              <a:off x="812" y="1947"/>
              <a:ext cx="38" cy="37"/>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36" name="Oval 85"/>
            <p:cNvSpPr>
              <a:spLocks noChangeArrowheads="1"/>
            </p:cNvSpPr>
            <p:nvPr/>
          </p:nvSpPr>
          <p:spPr bwMode="auto">
            <a:xfrm>
              <a:off x="818" y="1952"/>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39" name="Oval 86"/>
            <p:cNvSpPr>
              <a:spLocks noChangeArrowheads="1"/>
            </p:cNvSpPr>
            <p:nvPr/>
          </p:nvSpPr>
          <p:spPr bwMode="auto">
            <a:xfrm>
              <a:off x="1000" y="1947"/>
              <a:ext cx="38" cy="37"/>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40" name="Oval 87"/>
            <p:cNvSpPr>
              <a:spLocks noChangeArrowheads="1"/>
            </p:cNvSpPr>
            <p:nvPr/>
          </p:nvSpPr>
          <p:spPr bwMode="auto">
            <a:xfrm>
              <a:off x="1006" y="1952"/>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41" name="Freeform 88"/>
            <p:cNvSpPr>
              <a:spLocks/>
            </p:cNvSpPr>
            <p:nvPr/>
          </p:nvSpPr>
          <p:spPr bwMode="auto">
            <a:xfrm>
              <a:off x="2316" y="1947"/>
              <a:ext cx="38" cy="37"/>
            </a:xfrm>
            <a:custGeom>
              <a:avLst/>
              <a:gdLst>
                <a:gd name="T0" fmla="*/ 1 w 357"/>
                <a:gd name="T1" fmla="*/ 178 h 356"/>
                <a:gd name="T2" fmla="*/ 179 w 357"/>
                <a:gd name="T3" fmla="*/ 0 h 356"/>
                <a:gd name="T4" fmla="*/ 357 w 357"/>
                <a:gd name="T5" fmla="*/ 178 h 356"/>
                <a:gd name="T6" fmla="*/ 179 w 357"/>
                <a:gd name="T7" fmla="*/ 356 h 356"/>
                <a:gd name="T8" fmla="*/ 1 w 357"/>
                <a:gd name="T9" fmla="*/ 178 h 356"/>
              </a:gdLst>
              <a:ahLst/>
              <a:cxnLst>
                <a:cxn ang="0">
                  <a:pos x="T0" y="T1"/>
                </a:cxn>
                <a:cxn ang="0">
                  <a:pos x="T2" y="T3"/>
                </a:cxn>
                <a:cxn ang="0">
                  <a:pos x="T4" y="T5"/>
                </a:cxn>
                <a:cxn ang="0">
                  <a:pos x="T6" y="T7"/>
                </a:cxn>
                <a:cxn ang="0">
                  <a:pos x="T8" y="T9"/>
                </a:cxn>
              </a:cxnLst>
              <a:rect l="0" t="0" r="r" b="b"/>
              <a:pathLst>
                <a:path w="357" h="356">
                  <a:moveTo>
                    <a:pt x="1" y="178"/>
                  </a:moveTo>
                  <a:cubicBezTo>
                    <a:pt x="0" y="80"/>
                    <a:pt x="80" y="0"/>
                    <a:pt x="179" y="0"/>
                  </a:cubicBezTo>
                  <a:cubicBezTo>
                    <a:pt x="277" y="0"/>
                    <a:pt x="357" y="80"/>
                    <a:pt x="357" y="178"/>
                  </a:cubicBezTo>
                  <a:cubicBezTo>
                    <a:pt x="357" y="277"/>
                    <a:pt x="277" y="356"/>
                    <a:pt x="179" y="356"/>
                  </a:cubicBezTo>
                  <a:cubicBezTo>
                    <a:pt x="80" y="356"/>
                    <a:pt x="1" y="277"/>
                    <a:pt x="1" y="178"/>
                  </a:cubicBezTo>
                </a:path>
              </a:pathLst>
            </a:cu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42" name="Oval 89"/>
            <p:cNvSpPr>
              <a:spLocks noChangeArrowheads="1"/>
            </p:cNvSpPr>
            <p:nvPr/>
          </p:nvSpPr>
          <p:spPr bwMode="auto">
            <a:xfrm>
              <a:off x="2322" y="1952"/>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43" name="Oval 90"/>
            <p:cNvSpPr>
              <a:spLocks noChangeArrowheads="1"/>
            </p:cNvSpPr>
            <p:nvPr/>
          </p:nvSpPr>
          <p:spPr bwMode="auto">
            <a:xfrm>
              <a:off x="1188" y="1947"/>
              <a:ext cx="38" cy="37"/>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44" name="Oval 91"/>
            <p:cNvSpPr>
              <a:spLocks noChangeArrowheads="1"/>
            </p:cNvSpPr>
            <p:nvPr/>
          </p:nvSpPr>
          <p:spPr bwMode="auto">
            <a:xfrm>
              <a:off x="1194" y="1952"/>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45" name="Oval 92"/>
            <p:cNvSpPr>
              <a:spLocks noChangeArrowheads="1"/>
            </p:cNvSpPr>
            <p:nvPr/>
          </p:nvSpPr>
          <p:spPr bwMode="auto">
            <a:xfrm>
              <a:off x="1376" y="1947"/>
              <a:ext cx="38" cy="37"/>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46" name="Oval 93"/>
            <p:cNvSpPr>
              <a:spLocks noChangeArrowheads="1"/>
            </p:cNvSpPr>
            <p:nvPr/>
          </p:nvSpPr>
          <p:spPr bwMode="auto">
            <a:xfrm>
              <a:off x="1382" y="1952"/>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47" name="Oval 94"/>
            <p:cNvSpPr>
              <a:spLocks noChangeArrowheads="1"/>
            </p:cNvSpPr>
            <p:nvPr/>
          </p:nvSpPr>
          <p:spPr bwMode="auto">
            <a:xfrm>
              <a:off x="2128" y="1947"/>
              <a:ext cx="38" cy="37"/>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48" name="Oval 95"/>
            <p:cNvSpPr>
              <a:spLocks noChangeArrowheads="1"/>
            </p:cNvSpPr>
            <p:nvPr/>
          </p:nvSpPr>
          <p:spPr bwMode="auto">
            <a:xfrm>
              <a:off x="2134" y="1952"/>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49" name="Oval 96"/>
            <p:cNvSpPr>
              <a:spLocks noChangeArrowheads="1"/>
            </p:cNvSpPr>
            <p:nvPr/>
          </p:nvSpPr>
          <p:spPr bwMode="auto">
            <a:xfrm>
              <a:off x="1564" y="1947"/>
              <a:ext cx="38" cy="37"/>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50" name="Oval 97"/>
            <p:cNvSpPr>
              <a:spLocks noChangeArrowheads="1"/>
            </p:cNvSpPr>
            <p:nvPr/>
          </p:nvSpPr>
          <p:spPr bwMode="auto">
            <a:xfrm>
              <a:off x="1570" y="1952"/>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51" name="Oval 98"/>
            <p:cNvSpPr>
              <a:spLocks noChangeArrowheads="1"/>
            </p:cNvSpPr>
            <p:nvPr/>
          </p:nvSpPr>
          <p:spPr bwMode="auto">
            <a:xfrm>
              <a:off x="1752" y="1947"/>
              <a:ext cx="38" cy="37"/>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52" name="Oval 99"/>
            <p:cNvSpPr>
              <a:spLocks noChangeArrowheads="1"/>
            </p:cNvSpPr>
            <p:nvPr/>
          </p:nvSpPr>
          <p:spPr bwMode="auto">
            <a:xfrm>
              <a:off x="1758" y="1952"/>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53" name="Oval 100"/>
            <p:cNvSpPr>
              <a:spLocks noChangeArrowheads="1"/>
            </p:cNvSpPr>
            <p:nvPr/>
          </p:nvSpPr>
          <p:spPr bwMode="auto">
            <a:xfrm>
              <a:off x="1940" y="1947"/>
              <a:ext cx="38" cy="37"/>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54" name="Oval 101"/>
            <p:cNvSpPr>
              <a:spLocks noChangeArrowheads="1"/>
            </p:cNvSpPr>
            <p:nvPr/>
          </p:nvSpPr>
          <p:spPr bwMode="auto">
            <a:xfrm>
              <a:off x="1946" y="1952"/>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55" name="Oval 102"/>
            <p:cNvSpPr>
              <a:spLocks noChangeArrowheads="1"/>
            </p:cNvSpPr>
            <p:nvPr/>
          </p:nvSpPr>
          <p:spPr bwMode="auto">
            <a:xfrm>
              <a:off x="1564" y="1757"/>
              <a:ext cx="38" cy="38"/>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56" name="Oval 103"/>
            <p:cNvSpPr>
              <a:spLocks noChangeArrowheads="1"/>
            </p:cNvSpPr>
            <p:nvPr/>
          </p:nvSpPr>
          <p:spPr bwMode="auto">
            <a:xfrm>
              <a:off x="1570" y="1763"/>
              <a:ext cx="26" cy="26"/>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57" name="Oval 104"/>
            <p:cNvSpPr>
              <a:spLocks noChangeArrowheads="1"/>
            </p:cNvSpPr>
            <p:nvPr/>
          </p:nvSpPr>
          <p:spPr bwMode="auto">
            <a:xfrm>
              <a:off x="1940" y="1757"/>
              <a:ext cx="38" cy="38"/>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58" name="Oval 105"/>
            <p:cNvSpPr>
              <a:spLocks noChangeArrowheads="1"/>
            </p:cNvSpPr>
            <p:nvPr/>
          </p:nvSpPr>
          <p:spPr bwMode="auto">
            <a:xfrm>
              <a:off x="1946" y="1763"/>
              <a:ext cx="26" cy="26"/>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59" name="Oval 106"/>
            <p:cNvSpPr>
              <a:spLocks noChangeArrowheads="1"/>
            </p:cNvSpPr>
            <p:nvPr/>
          </p:nvSpPr>
          <p:spPr bwMode="auto">
            <a:xfrm>
              <a:off x="2128" y="1757"/>
              <a:ext cx="38" cy="38"/>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60" name="Oval 107"/>
            <p:cNvSpPr>
              <a:spLocks noChangeArrowheads="1"/>
            </p:cNvSpPr>
            <p:nvPr/>
          </p:nvSpPr>
          <p:spPr bwMode="auto">
            <a:xfrm>
              <a:off x="2134" y="1763"/>
              <a:ext cx="26" cy="26"/>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61" name="Oval 108"/>
            <p:cNvSpPr>
              <a:spLocks noChangeArrowheads="1"/>
            </p:cNvSpPr>
            <p:nvPr/>
          </p:nvSpPr>
          <p:spPr bwMode="auto">
            <a:xfrm>
              <a:off x="1752" y="1757"/>
              <a:ext cx="38" cy="38"/>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62" name="Oval 109"/>
            <p:cNvSpPr>
              <a:spLocks noChangeArrowheads="1"/>
            </p:cNvSpPr>
            <p:nvPr/>
          </p:nvSpPr>
          <p:spPr bwMode="auto">
            <a:xfrm>
              <a:off x="1758" y="1763"/>
              <a:ext cx="26" cy="26"/>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63" name="Freeform 110"/>
            <p:cNvSpPr>
              <a:spLocks/>
            </p:cNvSpPr>
            <p:nvPr/>
          </p:nvSpPr>
          <p:spPr bwMode="auto">
            <a:xfrm>
              <a:off x="2316" y="1757"/>
              <a:ext cx="38" cy="38"/>
            </a:xfrm>
            <a:custGeom>
              <a:avLst/>
              <a:gdLst>
                <a:gd name="T0" fmla="*/ 1 w 357"/>
                <a:gd name="T1" fmla="*/ 178 h 356"/>
                <a:gd name="T2" fmla="*/ 179 w 357"/>
                <a:gd name="T3" fmla="*/ 0 h 356"/>
                <a:gd name="T4" fmla="*/ 357 w 357"/>
                <a:gd name="T5" fmla="*/ 178 h 356"/>
                <a:gd name="T6" fmla="*/ 179 w 357"/>
                <a:gd name="T7" fmla="*/ 356 h 356"/>
                <a:gd name="T8" fmla="*/ 1 w 357"/>
                <a:gd name="T9" fmla="*/ 178 h 356"/>
              </a:gdLst>
              <a:ahLst/>
              <a:cxnLst>
                <a:cxn ang="0">
                  <a:pos x="T0" y="T1"/>
                </a:cxn>
                <a:cxn ang="0">
                  <a:pos x="T2" y="T3"/>
                </a:cxn>
                <a:cxn ang="0">
                  <a:pos x="T4" y="T5"/>
                </a:cxn>
                <a:cxn ang="0">
                  <a:pos x="T6" y="T7"/>
                </a:cxn>
                <a:cxn ang="0">
                  <a:pos x="T8" y="T9"/>
                </a:cxn>
              </a:cxnLst>
              <a:rect l="0" t="0" r="r" b="b"/>
              <a:pathLst>
                <a:path w="357" h="356">
                  <a:moveTo>
                    <a:pt x="1" y="178"/>
                  </a:moveTo>
                  <a:cubicBezTo>
                    <a:pt x="0" y="80"/>
                    <a:pt x="80" y="0"/>
                    <a:pt x="179" y="0"/>
                  </a:cubicBezTo>
                  <a:cubicBezTo>
                    <a:pt x="277" y="0"/>
                    <a:pt x="357" y="80"/>
                    <a:pt x="357" y="178"/>
                  </a:cubicBezTo>
                  <a:cubicBezTo>
                    <a:pt x="357" y="277"/>
                    <a:pt x="277" y="356"/>
                    <a:pt x="179" y="356"/>
                  </a:cubicBezTo>
                  <a:cubicBezTo>
                    <a:pt x="80" y="356"/>
                    <a:pt x="1" y="277"/>
                    <a:pt x="1" y="178"/>
                  </a:cubicBezTo>
                </a:path>
              </a:pathLst>
            </a:cu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64" name="Oval 111"/>
            <p:cNvSpPr>
              <a:spLocks noChangeArrowheads="1"/>
            </p:cNvSpPr>
            <p:nvPr/>
          </p:nvSpPr>
          <p:spPr bwMode="auto">
            <a:xfrm>
              <a:off x="2322" y="1763"/>
              <a:ext cx="26" cy="26"/>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65" name="Oval 112"/>
            <p:cNvSpPr>
              <a:spLocks noChangeArrowheads="1"/>
            </p:cNvSpPr>
            <p:nvPr/>
          </p:nvSpPr>
          <p:spPr bwMode="auto">
            <a:xfrm>
              <a:off x="2504" y="1757"/>
              <a:ext cx="38" cy="38"/>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66" name="Oval 113"/>
            <p:cNvSpPr>
              <a:spLocks noChangeArrowheads="1"/>
            </p:cNvSpPr>
            <p:nvPr/>
          </p:nvSpPr>
          <p:spPr bwMode="auto">
            <a:xfrm>
              <a:off x="2510" y="1763"/>
              <a:ext cx="26" cy="26"/>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67" name="Oval 114"/>
            <p:cNvSpPr>
              <a:spLocks noChangeArrowheads="1"/>
            </p:cNvSpPr>
            <p:nvPr/>
          </p:nvSpPr>
          <p:spPr bwMode="auto">
            <a:xfrm>
              <a:off x="2692" y="1757"/>
              <a:ext cx="38" cy="38"/>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68" name="Oval 115"/>
            <p:cNvSpPr>
              <a:spLocks noChangeArrowheads="1"/>
            </p:cNvSpPr>
            <p:nvPr/>
          </p:nvSpPr>
          <p:spPr bwMode="auto">
            <a:xfrm>
              <a:off x="2698" y="1763"/>
              <a:ext cx="26" cy="26"/>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69" name="Oval 116"/>
            <p:cNvSpPr>
              <a:spLocks noChangeArrowheads="1"/>
            </p:cNvSpPr>
            <p:nvPr/>
          </p:nvSpPr>
          <p:spPr bwMode="auto">
            <a:xfrm>
              <a:off x="2880" y="1757"/>
              <a:ext cx="38" cy="38"/>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70" name="Oval 117"/>
            <p:cNvSpPr>
              <a:spLocks noChangeArrowheads="1"/>
            </p:cNvSpPr>
            <p:nvPr/>
          </p:nvSpPr>
          <p:spPr bwMode="auto">
            <a:xfrm>
              <a:off x="2886" y="1763"/>
              <a:ext cx="26" cy="26"/>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71" name="Oval 118"/>
            <p:cNvSpPr>
              <a:spLocks noChangeArrowheads="1"/>
            </p:cNvSpPr>
            <p:nvPr/>
          </p:nvSpPr>
          <p:spPr bwMode="auto">
            <a:xfrm>
              <a:off x="1376" y="2134"/>
              <a:ext cx="38" cy="37"/>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72" name="Oval 119"/>
            <p:cNvSpPr>
              <a:spLocks noChangeArrowheads="1"/>
            </p:cNvSpPr>
            <p:nvPr/>
          </p:nvSpPr>
          <p:spPr bwMode="auto">
            <a:xfrm>
              <a:off x="1382" y="2139"/>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73" name="Freeform 120"/>
            <p:cNvSpPr>
              <a:spLocks noEditPoints="1"/>
            </p:cNvSpPr>
            <p:nvPr/>
          </p:nvSpPr>
          <p:spPr bwMode="auto">
            <a:xfrm>
              <a:off x="308" y="1989"/>
              <a:ext cx="149" cy="156"/>
            </a:xfrm>
            <a:custGeom>
              <a:avLst/>
              <a:gdLst>
                <a:gd name="T0" fmla="*/ 90 w 1416"/>
                <a:gd name="T1" fmla="*/ 315 h 1483"/>
                <a:gd name="T2" fmla="*/ 223 w 1416"/>
                <a:gd name="T3" fmla="*/ 1 h 1483"/>
                <a:gd name="T4" fmla="*/ 301 w 1416"/>
                <a:gd name="T5" fmla="*/ 189 h 1483"/>
                <a:gd name="T6" fmla="*/ 235 w 1416"/>
                <a:gd name="T7" fmla="*/ 257 h 1483"/>
                <a:gd name="T8" fmla="*/ 278 w 1416"/>
                <a:gd name="T9" fmla="*/ 104 h 1483"/>
                <a:gd name="T10" fmla="*/ 231 w 1416"/>
                <a:gd name="T11" fmla="*/ 178 h 1483"/>
                <a:gd name="T12" fmla="*/ 187 w 1416"/>
                <a:gd name="T13" fmla="*/ 211 h 1483"/>
                <a:gd name="T14" fmla="*/ 135 w 1416"/>
                <a:gd name="T15" fmla="*/ 295 h 1483"/>
                <a:gd name="T16" fmla="*/ 204 w 1416"/>
                <a:gd name="T17" fmla="*/ 435 h 1483"/>
                <a:gd name="T18" fmla="*/ 346 w 1416"/>
                <a:gd name="T19" fmla="*/ 249 h 1483"/>
                <a:gd name="T20" fmla="*/ 376 w 1416"/>
                <a:gd name="T21" fmla="*/ 271 h 1483"/>
                <a:gd name="T22" fmla="*/ 397 w 1416"/>
                <a:gd name="T23" fmla="*/ 227 h 1483"/>
                <a:gd name="T24" fmla="*/ 433 w 1416"/>
                <a:gd name="T25" fmla="*/ 228 h 1483"/>
                <a:gd name="T26" fmla="*/ 340 w 1416"/>
                <a:gd name="T27" fmla="*/ 498 h 1483"/>
                <a:gd name="T28" fmla="*/ 430 w 1416"/>
                <a:gd name="T29" fmla="*/ 595 h 1483"/>
                <a:gd name="T30" fmla="*/ 416 w 1416"/>
                <a:gd name="T31" fmla="*/ 617 h 1483"/>
                <a:gd name="T32" fmla="*/ 339 w 1416"/>
                <a:gd name="T33" fmla="*/ 575 h 1483"/>
                <a:gd name="T34" fmla="*/ 431 w 1416"/>
                <a:gd name="T35" fmla="*/ 365 h 1483"/>
                <a:gd name="T36" fmla="*/ 505 w 1416"/>
                <a:gd name="T37" fmla="*/ 542 h 1483"/>
                <a:gd name="T38" fmla="*/ 439 w 1416"/>
                <a:gd name="T39" fmla="*/ 401 h 1483"/>
                <a:gd name="T40" fmla="*/ 588 w 1416"/>
                <a:gd name="T41" fmla="*/ 817 h 1483"/>
                <a:gd name="T42" fmla="*/ 569 w 1416"/>
                <a:gd name="T43" fmla="*/ 790 h 1483"/>
                <a:gd name="T44" fmla="*/ 497 w 1416"/>
                <a:gd name="T45" fmla="*/ 628 h 1483"/>
                <a:gd name="T46" fmla="*/ 704 w 1416"/>
                <a:gd name="T47" fmla="*/ 603 h 1483"/>
                <a:gd name="T48" fmla="*/ 821 w 1416"/>
                <a:gd name="T49" fmla="*/ 560 h 1483"/>
                <a:gd name="T50" fmla="*/ 678 w 1416"/>
                <a:gd name="T51" fmla="*/ 674 h 1483"/>
                <a:gd name="T52" fmla="*/ 560 w 1416"/>
                <a:gd name="T53" fmla="*/ 619 h 1483"/>
                <a:gd name="T54" fmla="*/ 565 w 1416"/>
                <a:gd name="T55" fmla="*/ 737 h 1483"/>
                <a:gd name="T56" fmla="*/ 838 w 1416"/>
                <a:gd name="T57" fmla="*/ 911 h 1483"/>
                <a:gd name="T58" fmla="*/ 749 w 1416"/>
                <a:gd name="T59" fmla="*/ 935 h 1483"/>
                <a:gd name="T60" fmla="*/ 791 w 1416"/>
                <a:gd name="T61" fmla="*/ 967 h 1483"/>
                <a:gd name="T62" fmla="*/ 762 w 1416"/>
                <a:gd name="T63" fmla="*/ 979 h 1483"/>
                <a:gd name="T64" fmla="*/ 675 w 1416"/>
                <a:gd name="T65" fmla="*/ 814 h 1483"/>
                <a:gd name="T66" fmla="*/ 898 w 1416"/>
                <a:gd name="T67" fmla="*/ 797 h 1483"/>
                <a:gd name="T68" fmla="*/ 867 w 1416"/>
                <a:gd name="T69" fmla="*/ 825 h 1483"/>
                <a:gd name="T70" fmla="*/ 841 w 1416"/>
                <a:gd name="T71" fmla="*/ 872 h 1483"/>
                <a:gd name="T72" fmla="*/ 1042 w 1416"/>
                <a:gd name="T73" fmla="*/ 991 h 1483"/>
                <a:gd name="T74" fmla="*/ 982 w 1416"/>
                <a:gd name="T75" fmla="*/ 961 h 1483"/>
                <a:gd name="T76" fmla="*/ 830 w 1416"/>
                <a:gd name="T77" fmla="*/ 1061 h 1483"/>
                <a:gd name="T78" fmla="*/ 983 w 1416"/>
                <a:gd name="T79" fmla="*/ 881 h 1483"/>
                <a:gd name="T80" fmla="*/ 1008 w 1416"/>
                <a:gd name="T81" fmla="*/ 906 h 1483"/>
                <a:gd name="T82" fmla="*/ 1058 w 1416"/>
                <a:gd name="T83" fmla="*/ 944 h 1483"/>
                <a:gd name="T84" fmla="*/ 1072 w 1416"/>
                <a:gd name="T85" fmla="*/ 975 h 1483"/>
                <a:gd name="T86" fmla="*/ 973 w 1416"/>
                <a:gd name="T87" fmla="*/ 1204 h 1483"/>
                <a:gd name="T88" fmla="*/ 1116 w 1416"/>
                <a:gd name="T89" fmla="*/ 1018 h 1483"/>
                <a:gd name="T90" fmla="*/ 1146 w 1416"/>
                <a:gd name="T91" fmla="*/ 1040 h 1483"/>
                <a:gd name="T92" fmla="*/ 1166 w 1416"/>
                <a:gd name="T93" fmla="*/ 996 h 1483"/>
                <a:gd name="T94" fmla="*/ 1202 w 1416"/>
                <a:gd name="T95" fmla="*/ 997 h 1483"/>
                <a:gd name="T96" fmla="*/ 1090 w 1416"/>
                <a:gd name="T97" fmla="*/ 1325 h 1483"/>
                <a:gd name="T98" fmla="*/ 1182 w 1416"/>
                <a:gd name="T99" fmla="*/ 1124 h 1483"/>
                <a:gd name="T100" fmla="*/ 1181 w 1416"/>
                <a:gd name="T101" fmla="*/ 1076 h 1483"/>
                <a:gd name="T102" fmla="*/ 1257 w 1416"/>
                <a:gd name="T103" fmla="*/ 1064 h 1483"/>
                <a:gd name="T104" fmla="*/ 1235 w 1416"/>
                <a:gd name="T105" fmla="*/ 1129 h 1483"/>
                <a:gd name="T106" fmla="*/ 1259 w 1416"/>
                <a:gd name="T107" fmla="*/ 1195 h 1483"/>
                <a:gd name="T108" fmla="*/ 1120 w 1416"/>
                <a:gd name="T109" fmla="*/ 1304 h 1483"/>
                <a:gd name="T110" fmla="*/ 1135 w 1416"/>
                <a:gd name="T111" fmla="*/ 1322 h 1483"/>
                <a:gd name="T112" fmla="*/ 1251 w 1416"/>
                <a:gd name="T113" fmla="*/ 1480 h 1483"/>
                <a:gd name="T114" fmla="*/ 1171 w 1416"/>
                <a:gd name="T115" fmla="*/ 1350 h 1483"/>
                <a:gd name="T116" fmla="*/ 1303 w 1416"/>
                <a:gd name="T117" fmla="*/ 1220 h 1483"/>
                <a:gd name="T118" fmla="*/ 1415 w 1416"/>
                <a:gd name="T119" fmla="*/ 1310 h 1483"/>
                <a:gd name="T120" fmla="*/ 1394 w 1416"/>
                <a:gd name="T121" fmla="*/ 1337 h 1483"/>
                <a:gd name="T122" fmla="*/ 1277 w 1416"/>
                <a:gd name="T123" fmla="*/ 1463 h 1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16" h="1483">
                  <a:moveTo>
                    <a:pt x="210" y="309"/>
                  </a:moveTo>
                  <a:cubicBezTo>
                    <a:pt x="203" y="316"/>
                    <a:pt x="195" y="321"/>
                    <a:pt x="188" y="326"/>
                  </a:cubicBezTo>
                  <a:cubicBezTo>
                    <a:pt x="180" y="330"/>
                    <a:pt x="172" y="333"/>
                    <a:pt x="163" y="334"/>
                  </a:cubicBezTo>
                  <a:cubicBezTo>
                    <a:pt x="155" y="336"/>
                    <a:pt x="147" y="336"/>
                    <a:pt x="139" y="335"/>
                  </a:cubicBezTo>
                  <a:cubicBezTo>
                    <a:pt x="131" y="334"/>
                    <a:pt x="122" y="332"/>
                    <a:pt x="114" y="329"/>
                  </a:cubicBezTo>
                  <a:cubicBezTo>
                    <a:pt x="106" y="325"/>
                    <a:pt x="97" y="321"/>
                    <a:pt x="90" y="315"/>
                  </a:cubicBezTo>
                  <a:cubicBezTo>
                    <a:pt x="82" y="310"/>
                    <a:pt x="73" y="303"/>
                    <a:pt x="65" y="294"/>
                  </a:cubicBezTo>
                  <a:lnTo>
                    <a:pt x="5" y="235"/>
                  </a:lnTo>
                  <a:cubicBezTo>
                    <a:pt x="2" y="232"/>
                    <a:pt x="1" y="228"/>
                    <a:pt x="0" y="224"/>
                  </a:cubicBezTo>
                  <a:cubicBezTo>
                    <a:pt x="0" y="220"/>
                    <a:pt x="2" y="216"/>
                    <a:pt x="6" y="211"/>
                  </a:cubicBezTo>
                  <a:lnTo>
                    <a:pt x="210" y="7"/>
                  </a:lnTo>
                  <a:cubicBezTo>
                    <a:pt x="215" y="2"/>
                    <a:pt x="219" y="0"/>
                    <a:pt x="223" y="1"/>
                  </a:cubicBezTo>
                  <a:cubicBezTo>
                    <a:pt x="228" y="2"/>
                    <a:pt x="231" y="3"/>
                    <a:pt x="234" y="6"/>
                  </a:cubicBezTo>
                  <a:lnTo>
                    <a:pt x="286" y="58"/>
                  </a:lnTo>
                  <a:cubicBezTo>
                    <a:pt x="299" y="72"/>
                    <a:pt x="309" y="84"/>
                    <a:pt x="316" y="95"/>
                  </a:cubicBezTo>
                  <a:cubicBezTo>
                    <a:pt x="322" y="107"/>
                    <a:pt x="325" y="118"/>
                    <a:pt x="326" y="129"/>
                  </a:cubicBezTo>
                  <a:cubicBezTo>
                    <a:pt x="327" y="139"/>
                    <a:pt x="325" y="150"/>
                    <a:pt x="321" y="160"/>
                  </a:cubicBezTo>
                  <a:cubicBezTo>
                    <a:pt x="317" y="170"/>
                    <a:pt x="310" y="180"/>
                    <a:pt x="301" y="189"/>
                  </a:cubicBezTo>
                  <a:cubicBezTo>
                    <a:pt x="296" y="194"/>
                    <a:pt x="290" y="199"/>
                    <a:pt x="284" y="202"/>
                  </a:cubicBezTo>
                  <a:cubicBezTo>
                    <a:pt x="277" y="206"/>
                    <a:pt x="271" y="209"/>
                    <a:pt x="264" y="210"/>
                  </a:cubicBezTo>
                  <a:cubicBezTo>
                    <a:pt x="257" y="212"/>
                    <a:pt x="250" y="212"/>
                    <a:pt x="243" y="212"/>
                  </a:cubicBezTo>
                  <a:cubicBezTo>
                    <a:pt x="236" y="211"/>
                    <a:pt x="229" y="210"/>
                    <a:pt x="222" y="207"/>
                  </a:cubicBezTo>
                  <a:cubicBezTo>
                    <a:pt x="227" y="214"/>
                    <a:pt x="231" y="222"/>
                    <a:pt x="233" y="231"/>
                  </a:cubicBezTo>
                  <a:cubicBezTo>
                    <a:pt x="235" y="239"/>
                    <a:pt x="236" y="248"/>
                    <a:pt x="235" y="257"/>
                  </a:cubicBezTo>
                  <a:cubicBezTo>
                    <a:pt x="235" y="266"/>
                    <a:pt x="232" y="275"/>
                    <a:pt x="228" y="284"/>
                  </a:cubicBezTo>
                  <a:cubicBezTo>
                    <a:pt x="224" y="292"/>
                    <a:pt x="218" y="301"/>
                    <a:pt x="210" y="309"/>
                  </a:cubicBezTo>
                  <a:close/>
                  <a:moveTo>
                    <a:pt x="267" y="160"/>
                  </a:moveTo>
                  <a:cubicBezTo>
                    <a:pt x="272" y="155"/>
                    <a:pt x="277" y="149"/>
                    <a:pt x="279" y="143"/>
                  </a:cubicBezTo>
                  <a:cubicBezTo>
                    <a:pt x="282" y="137"/>
                    <a:pt x="284" y="131"/>
                    <a:pt x="284" y="124"/>
                  </a:cubicBezTo>
                  <a:cubicBezTo>
                    <a:pt x="283" y="118"/>
                    <a:pt x="282" y="111"/>
                    <a:pt x="278" y="104"/>
                  </a:cubicBezTo>
                  <a:cubicBezTo>
                    <a:pt x="274" y="97"/>
                    <a:pt x="268" y="90"/>
                    <a:pt x="259" y="81"/>
                  </a:cubicBezTo>
                  <a:lnTo>
                    <a:pt x="228" y="50"/>
                  </a:lnTo>
                  <a:lnTo>
                    <a:pt x="154" y="124"/>
                  </a:lnTo>
                  <a:lnTo>
                    <a:pt x="189" y="158"/>
                  </a:lnTo>
                  <a:cubicBezTo>
                    <a:pt x="196" y="166"/>
                    <a:pt x="204" y="171"/>
                    <a:pt x="211" y="174"/>
                  </a:cubicBezTo>
                  <a:cubicBezTo>
                    <a:pt x="218" y="177"/>
                    <a:pt x="224" y="178"/>
                    <a:pt x="231" y="178"/>
                  </a:cubicBezTo>
                  <a:cubicBezTo>
                    <a:pt x="238" y="178"/>
                    <a:pt x="244" y="176"/>
                    <a:pt x="250" y="173"/>
                  </a:cubicBezTo>
                  <a:cubicBezTo>
                    <a:pt x="256" y="169"/>
                    <a:pt x="262" y="165"/>
                    <a:pt x="267" y="160"/>
                  </a:cubicBezTo>
                  <a:close/>
                  <a:moveTo>
                    <a:pt x="176" y="278"/>
                  </a:moveTo>
                  <a:cubicBezTo>
                    <a:pt x="183" y="271"/>
                    <a:pt x="188" y="264"/>
                    <a:pt x="191" y="257"/>
                  </a:cubicBezTo>
                  <a:cubicBezTo>
                    <a:pt x="194" y="250"/>
                    <a:pt x="195" y="242"/>
                    <a:pt x="195" y="234"/>
                  </a:cubicBezTo>
                  <a:cubicBezTo>
                    <a:pt x="194" y="227"/>
                    <a:pt x="192" y="219"/>
                    <a:pt x="187" y="211"/>
                  </a:cubicBezTo>
                  <a:cubicBezTo>
                    <a:pt x="183" y="203"/>
                    <a:pt x="176" y="194"/>
                    <a:pt x="166" y="184"/>
                  </a:cubicBezTo>
                  <a:lnTo>
                    <a:pt x="130" y="148"/>
                  </a:lnTo>
                  <a:lnTo>
                    <a:pt x="49" y="228"/>
                  </a:lnTo>
                  <a:lnTo>
                    <a:pt x="93" y="273"/>
                  </a:lnTo>
                  <a:cubicBezTo>
                    <a:pt x="100" y="280"/>
                    <a:pt x="107" y="285"/>
                    <a:pt x="114" y="288"/>
                  </a:cubicBezTo>
                  <a:cubicBezTo>
                    <a:pt x="121" y="292"/>
                    <a:pt x="128" y="294"/>
                    <a:pt x="135" y="295"/>
                  </a:cubicBezTo>
                  <a:cubicBezTo>
                    <a:pt x="142" y="295"/>
                    <a:pt x="149" y="294"/>
                    <a:pt x="156" y="292"/>
                  </a:cubicBezTo>
                  <a:cubicBezTo>
                    <a:pt x="163" y="289"/>
                    <a:pt x="170" y="285"/>
                    <a:pt x="176" y="278"/>
                  </a:cubicBezTo>
                  <a:close/>
                  <a:moveTo>
                    <a:pt x="216" y="437"/>
                  </a:moveTo>
                  <a:cubicBezTo>
                    <a:pt x="215" y="438"/>
                    <a:pt x="214" y="439"/>
                    <a:pt x="213" y="439"/>
                  </a:cubicBezTo>
                  <a:cubicBezTo>
                    <a:pt x="212" y="439"/>
                    <a:pt x="211" y="439"/>
                    <a:pt x="209" y="438"/>
                  </a:cubicBezTo>
                  <a:cubicBezTo>
                    <a:pt x="208" y="438"/>
                    <a:pt x="206" y="436"/>
                    <a:pt x="204" y="435"/>
                  </a:cubicBezTo>
                  <a:cubicBezTo>
                    <a:pt x="202" y="433"/>
                    <a:pt x="199" y="431"/>
                    <a:pt x="196" y="428"/>
                  </a:cubicBezTo>
                  <a:cubicBezTo>
                    <a:pt x="193" y="425"/>
                    <a:pt x="191" y="423"/>
                    <a:pt x="189" y="420"/>
                  </a:cubicBezTo>
                  <a:cubicBezTo>
                    <a:pt x="188" y="418"/>
                    <a:pt x="187" y="416"/>
                    <a:pt x="186" y="415"/>
                  </a:cubicBezTo>
                  <a:cubicBezTo>
                    <a:pt x="185" y="413"/>
                    <a:pt x="185" y="412"/>
                    <a:pt x="185" y="411"/>
                  </a:cubicBezTo>
                  <a:cubicBezTo>
                    <a:pt x="186" y="410"/>
                    <a:pt x="186" y="409"/>
                    <a:pt x="187" y="408"/>
                  </a:cubicBezTo>
                  <a:lnTo>
                    <a:pt x="346" y="249"/>
                  </a:lnTo>
                  <a:cubicBezTo>
                    <a:pt x="347" y="248"/>
                    <a:pt x="348" y="247"/>
                    <a:pt x="349" y="247"/>
                  </a:cubicBezTo>
                  <a:cubicBezTo>
                    <a:pt x="350" y="247"/>
                    <a:pt x="352" y="247"/>
                    <a:pt x="353" y="248"/>
                  </a:cubicBezTo>
                  <a:cubicBezTo>
                    <a:pt x="355" y="248"/>
                    <a:pt x="357" y="249"/>
                    <a:pt x="359" y="251"/>
                  </a:cubicBezTo>
                  <a:cubicBezTo>
                    <a:pt x="361" y="253"/>
                    <a:pt x="363" y="255"/>
                    <a:pt x="366" y="258"/>
                  </a:cubicBezTo>
                  <a:cubicBezTo>
                    <a:pt x="369" y="261"/>
                    <a:pt x="371" y="263"/>
                    <a:pt x="373" y="265"/>
                  </a:cubicBezTo>
                  <a:cubicBezTo>
                    <a:pt x="375" y="268"/>
                    <a:pt x="376" y="269"/>
                    <a:pt x="376" y="271"/>
                  </a:cubicBezTo>
                  <a:cubicBezTo>
                    <a:pt x="377" y="272"/>
                    <a:pt x="377" y="274"/>
                    <a:pt x="377" y="275"/>
                  </a:cubicBezTo>
                  <a:cubicBezTo>
                    <a:pt x="377" y="276"/>
                    <a:pt x="376" y="277"/>
                    <a:pt x="375" y="278"/>
                  </a:cubicBezTo>
                  <a:lnTo>
                    <a:pt x="216" y="437"/>
                  </a:lnTo>
                  <a:close/>
                  <a:moveTo>
                    <a:pt x="433" y="228"/>
                  </a:moveTo>
                  <a:cubicBezTo>
                    <a:pt x="426" y="234"/>
                    <a:pt x="420" y="238"/>
                    <a:pt x="415" y="238"/>
                  </a:cubicBezTo>
                  <a:cubicBezTo>
                    <a:pt x="410" y="238"/>
                    <a:pt x="404" y="234"/>
                    <a:pt x="397" y="227"/>
                  </a:cubicBezTo>
                  <a:cubicBezTo>
                    <a:pt x="390" y="220"/>
                    <a:pt x="386" y="214"/>
                    <a:pt x="386" y="209"/>
                  </a:cubicBezTo>
                  <a:cubicBezTo>
                    <a:pt x="386" y="204"/>
                    <a:pt x="389" y="199"/>
                    <a:pt x="396" y="192"/>
                  </a:cubicBezTo>
                  <a:cubicBezTo>
                    <a:pt x="403" y="185"/>
                    <a:pt x="409" y="182"/>
                    <a:pt x="414" y="182"/>
                  </a:cubicBezTo>
                  <a:cubicBezTo>
                    <a:pt x="419" y="182"/>
                    <a:pt x="425" y="185"/>
                    <a:pt x="432" y="192"/>
                  </a:cubicBezTo>
                  <a:cubicBezTo>
                    <a:pt x="439" y="199"/>
                    <a:pt x="442" y="205"/>
                    <a:pt x="442" y="210"/>
                  </a:cubicBezTo>
                  <a:cubicBezTo>
                    <a:pt x="443" y="215"/>
                    <a:pt x="439" y="221"/>
                    <a:pt x="433" y="228"/>
                  </a:cubicBezTo>
                  <a:close/>
                  <a:moveTo>
                    <a:pt x="500" y="548"/>
                  </a:moveTo>
                  <a:cubicBezTo>
                    <a:pt x="495" y="552"/>
                    <a:pt x="491" y="554"/>
                    <a:pt x="487" y="554"/>
                  </a:cubicBezTo>
                  <a:cubicBezTo>
                    <a:pt x="482" y="554"/>
                    <a:pt x="479" y="552"/>
                    <a:pt x="476" y="549"/>
                  </a:cubicBezTo>
                  <a:lnTo>
                    <a:pt x="371" y="444"/>
                  </a:lnTo>
                  <a:cubicBezTo>
                    <a:pt x="362" y="453"/>
                    <a:pt x="355" y="462"/>
                    <a:pt x="350" y="471"/>
                  </a:cubicBezTo>
                  <a:cubicBezTo>
                    <a:pt x="345" y="480"/>
                    <a:pt x="341" y="489"/>
                    <a:pt x="340" y="498"/>
                  </a:cubicBezTo>
                  <a:cubicBezTo>
                    <a:pt x="340" y="507"/>
                    <a:pt x="341" y="516"/>
                    <a:pt x="345" y="526"/>
                  </a:cubicBezTo>
                  <a:cubicBezTo>
                    <a:pt x="349" y="535"/>
                    <a:pt x="356" y="545"/>
                    <a:pt x="365" y="554"/>
                  </a:cubicBezTo>
                  <a:cubicBezTo>
                    <a:pt x="373" y="562"/>
                    <a:pt x="380" y="568"/>
                    <a:pt x="387" y="573"/>
                  </a:cubicBezTo>
                  <a:cubicBezTo>
                    <a:pt x="395" y="577"/>
                    <a:pt x="401" y="581"/>
                    <a:pt x="407" y="584"/>
                  </a:cubicBezTo>
                  <a:cubicBezTo>
                    <a:pt x="413" y="587"/>
                    <a:pt x="418" y="589"/>
                    <a:pt x="422" y="590"/>
                  </a:cubicBezTo>
                  <a:cubicBezTo>
                    <a:pt x="426" y="592"/>
                    <a:pt x="428" y="593"/>
                    <a:pt x="430" y="595"/>
                  </a:cubicBezTo>
                  <a:cubicBezTo>
                    <a:pt x="431" y="596"/>
                    <a:pt x="431" y="597"/>
                    <a:pt x="431" y="598"/>
                  </a:cubicBezTo>
                  <a:cubicBezTo>
                    <a:pt x="432" y="599"/>
                    <a:pt x="432" y="600"/>
                    <a:pt x="431" y="601"/>
                  </a:cubicBezTo>
                  <a:cubicBezTo>
                    <a:pt x="431" y="602"/>
                    <a:pt x="430" y="604"/>
                    <a:pt x="428" y="605"/>
                  </a:cubicBezTo>
                  <a:cubicBezTo>
                    <a:pt x="427" y="607"/>
                    <a:pt x="425" y="609"/>
                    <a:pt x="423" y="611"/>
                  </a:cubicBezTo>
                  <a:cubicBezTo>
                    <a:pt x="422" y="612"/>
                    <a:pt x="420" y="614"/>
                    <a:pt x="419" y="615"/>
                  </a:cubicBezTo>
                  <a:cubicBezTo>
                    <a:pt x="418" y="616"/>
                    <a:pt x="417" y="617"/>
                    <a:pt x="416" y="617"/>
                  </a:cubicBezTo>
                  <a:cubicBezTo>
                    <a:pt x="415" y="618"/>
                    <a:pt x="414" y="618"/>
                    <a:pt x="412" y="619"/>
                  </a:cubicBezTo>
                  <a:cubicBezTo>
                    <a:pt x="411" y="619"/>
                    <a:pt x="410" y="619"/>
                    <a:pt x="409" y="619"/>
                  </a:cubicBezTo>
                  <a:cubicBezTo>
                    <a:pt x="408" y="619"/>
                    <a:pt x="405" y="618"/>
                    <a:pt x="400" y="617"/>
                  </a:cubicBezTo>
                  <a:cubicBezTo>
                    <a:pt x="395" y="615"/>
                    <a:pt x="390" y="612"/>
                    <a:pt x="383" y="609"/>
                  </a:cubicBezTo>
                  <a:cubicBezTo>
                    <a:pt x="377" y="605"/>
                    <a:pt x="370" y="600"/>
                    <a:pt x="362" y="595"/>
                  </a:cubicBezTo>
                  <a:cubicBezTo>
                    <a:pt x="354" y="589"/>
                    <a:pt x="346" y="583"/>
                    <a:pt x="339" y="575"/>
                  </a:cubicBezTo>
                  <a:cubicBezTo>
                    <a:pt x="326" y="562"/>
                    <a:pt x="316" y="549"/>
                    <a:pt x="310" y="535"/>
                  </a:cubicBezTo>
                  <a:cubicBezTo>
                    <a:pt x="304" y="522"/>
                    <a:pt x="301" y="508"/>
                    <a:pt x="301" y="494"/>
                  </a:cubicBezTo>
                  <a:cubicBezTo>
                    <a:pt x="302" y="480"/>
                    <a:pt x="306" y="466"/>
                    <a:pt x="313" y="452"/>
                  </a:cubicBezTo>
                  <a:cubicBezTo>
                    <a:pt x="321" y="438"/>
                    <a:pt x="332" y="423"/>
                    <a:pt x="346" y="409"/>
                  </a:cubicBezTo>
                  <a:cubicBezTo>
                    <a:pt x="360" y="395"/>
                    <a:pt x="374" y="385"/>
                    <a:pt x="388" y="377"/>
                  </a:cubicBezTo>
                  <a:cubicBezTo>
                    <a:pt x="403" y="370"/>
                    <a:pt x="417" y="366"/>
                    <a:pt x="431" y="365"/>
                  </a:cubicBezTo>
                  <a:cubicBezTo>
                    <a:pt x="445" y="364"/>
                    <a:pt x="459" y="366"/>
                    <a:pt x="473" y="372"/>
                  </a:cubicBezTo>
                  <a:cubicBezTo>
                    <a:pt x="486" y="377"/>
                    <a:pt x="499" y="385"/>
                    <a:pt x="510" y="397"/>
                  </a:cubicBezTo>
                  <a:cubicBezTo>
                    <a:pt x="523" y="410"/>
                    <a:pt x="532" y="422"/>
                    <a:pt x="536" y="435"/>
                  </a:cubicBezTo>
                  <a:cubicBezTo>
                    <a:pt x="541" y="448"/>
                    <a:pt x="543" y="460"/>
                    <a:pt x="542" y="473"/>
                  </a:cubicBezTo>
                  <a:cubicBezTo>
                    <a:pt x="541" y="485"/>
                    <a:pt x="537" y="497"/>
                    <a:pt x="530" y="509"/>
                  </a:cubicBezTo>
                  <a:cubicBezTo>
                    <a:pt x="524" y="521"/>
                    <a:pt x="516" y="532"/>
                    <a:pt x="505" y="542"/>
                  </a:cubicBezTo>
                  <a:lnTo>
                    <a:pt x="500" y="548"/>
                  </a:lnTo>
                  <a:close/>
                  <a:moveTo>
                    <a:pt x="479" y="510"/>
                  </a:moveTo>
                  <a:cubicBezTo>
                    <a:pt x="495" y="495"/>
                    <a:pt x="503" y="479"/>
                    <a:pt x="505" y="463"/>
                  </a:cubicBezTo>
                  <a:cubicBezTo>
                    <a:pt x="507" y="448"/>
                    <a:pt x="500" y="433"/>
                    <a:pt x="486" y="418"/>
                  </a:cubicBezTo>
                  <a:cubicBezTo>
                    <a:pt x="479" y="411"/>
                    <a:pt x="471" y="406"/>
                    <a:pt x="463" y="403"/>
                  </a:cubicBezTo>
                  <a:cubicBezTo>
                    <a:pt x="455" y="401"/>
                    <a:pt x="447" y="400"/>
                    <a:pt x="439" y="401"/>
                  </a:cubicBezTo>
                  <a:cubicBezTo>
                    <a:pt x="430" y="401"/>
                    <a:pt x="422" y="404"/>
                    <a:pt x="414" y="408"/>
                  </a:cubicBezTo>
                  <a:cubicBezTo>
                    <a:pt x="406" y="412"/>
                    <a:pt x="399" y="417"/>
                    <a:pt x="392" y="423"/>
                  </a:cubicBezTo>
                  <a:lnTo>
                    <a:pt x="479" y="510"/>
                  </a:lnTo>
                  <a:close/>
                  <a:moveTo>
                    <a:pt x="595" y="816"/>
                  </a:moveTo>
                  <a:cubicBezTo>
                    <a:pt x="594" y="817"/>
                    <a:pt x="593" y="817"/>
                    <a:pt x="592" y="818"/>
                  </a:cubicBezTo>
                  <a:cubicBezTo>
                    <a:pt x="591" y="818"/>
                    <a:pt x="590" y="818"/>
                    <a:pt x="588" y="817"/>
                  </a:cubicBezTo>
                  <a:cubicBezTo>
                    <a:pt x="587" y="817"/>
                    <a:pt x="585" y="816"/>
                    <a:pt x="583" y="814"/>
                  </a:cubicBezTo>
                  <a:cubicBezTo>
                    <a:pt x="581" y="813"/>
                    <a:pt x="579" y="811"/>
                    <a:pt x="577" y="808"/>
                  </a:cubicBezTo>
                  <a:cubicBezTo>
                    <a:pt x="574" y="806"/>
                    <a:pt x="572" y="804"/>
                    <a:pt x="571" y="802"/>
                  </a:cubicBezTo>
                  <a:cubicBezTo>
                    <a:pt x="570" y="800"/>
                    <a:pt x="569" y="798"/>
                    <a:pt x="568" y="797"/>
                  </a:cubicBezTo>
                  <a:cubicBezTo>
                    <a:pt x="567" y="795"/>
                    <a:pt x="567" y="794"/>
                    <a:pt x="567" y="793"/>
                  </a:cubicBezTo>
                  <a:cubicBezTo>
                    <a:pt x="567" y="792"/>
                    <a:pt x="568" y="791"/>
                    <a:pt x="569" y="790"/>
                  </a:cubicBezTo>
                  <a:lnTo>
                    <a:pt x="590" y="769"/>
                  </a:lnTo>
                  <a:cubicBezTo>
                    <a:pt x="573" y="769"/>
                    <a:pt x="557" y="768"/>
                    <a:pt x="543" y="764"/>
                  </a:cubicBezTo>
                  <a:cubicBezTo>
                    <a:pt x="529" y="760"/>
                    <a:pt x="516" y="753"/>
                    <a:pt x="506" y="742"/>
                  </a:cubicBezTo>
                  <a:cubicBezTo>
                    <a:pt x="494" y="730"/>
                    <a:pt x="486" y="718"/>
                    <a:pt x="482" y="705"/>
                  </a:cubicBezTo>
                  <a:cubicBezTo>
                    <a:pt x="479" y="692"/>
                    <a:pt x="478" y="680"/>
                    <a:pt x="481" y="667"/>
                  </a:cubicBezTo>
                  <a:cubicBezTo>
                    <a:pt x="483" y="654"/>
                    <a:pt x="489" y="641"/>
                    <a:pt x="497" y="628"/>
                  </a:cubicBezTo>
                  <a:cubicBezTo>
                    <a:pt x="505" y="615"/>
                    <a:pt x="515" y="603"/>
                    <a:pt x="526" y="592"/>
                  </a:cubicBezTo>
                  <a:cubicBezTo>
                    <a:pt x="540" y="578"/>
                    <a:pt x="554" y="567"/>
                    <a:pt x="568" y="559"/>
                  </a:cubicBezTo>
                  <a:cubicBezTo>
                    <a:pt x="582" y="551"/>
                    <a:pt x="595" y="546"/>
                    <a:pt x="609" y="544"/>
                  </a:cubicBezTo>
                  <a:cubicBezTo>
                    <a:pt x="623" y="542"/>
                    <a:pt x="636" y="543"/>
                    <a:pt x="648" y="548"/>
                  </a:cubicBezTo>
                  <a:cubicBezTo>
                    <a:pt x="661" y="552"/>
                    <a:pt x="673" y="560"/>
                    <a:pt x="684" y="571"/>
                  </a:cubicBezTo>
                  <a:cubicBezTo>
                    <a:pt x="694" y="580"/>
                    <a:pt x="700" y="591"/>
                    <a:pt x="704" y="603"/>
                  </a:cubicBezTo>
                  <a:cubicBezTo>
                    <a:pt x="707" y="614"/>
                    <a:pt x="709" y="628"/>
                    <a:pt x="709" y="643"/>
                  </a:cubicBezTo>
                  <a:lnTo>
                    <a:pt x="801" y="551"/>
                  </a:lnTo>
                  <a:cubicBezTo>
                    <a:pt x="802" y="550"/>
                    <a:pt x="803" y="550"/>
                    <a:pt x="804" y="549"/>
                  </a:cubicBezTo>
                  <a:cubicBezTo>
                    <a:pt x="805" y="549"/>
                    <a:pt x="807" y="549"/>
                    <a:pt x="808" y="550"/>
                  </a:cubicBezTo>
                  <a:cubicBezTo>
                    <a:pt x="810" y="551"/>
                    <a:pt x="812" y="552"/>
                    <a:pt x="814" y="553"/>
                  </a:cubicBezTo>
                  <a:cubicBezTo>
                    <a:pt x="816" y="555"/>
                    <a:pt x="818" y="557"/>
                    <a:pt x="821" y="560"/>
                  </a:cubicBezTo>
                  <a:cubicBezTo>
                    <a:pt x="824" y="563"/>
                    <a:pt x="826" y="565"/>
                    <a:pt x="828" y="567"/>
                  </a:cubicBezTo>
                  <a:cubicBezTo>
                    <a:pt x="830" y="570"/>
                    <a:pt x="831" y="571"/>
                    <a:pt x="831" y="573"/>
                  </a:cubicBezTo>
                  <a:cubicBezTo>
                    <a:pt x="832" y="574"/>
                    <a:pt x="832" y="576"/>
                    <a:pt x="832" y="577"/>
                  </a:cubicBezTo>
                  <a:cubicBezTo>
                    <a:pt x="832" y="578"/>
                    <a:pt x="831" y="579"/>
                    <a:pt x="830" y="580"/>
                  </a:cubicBezTo>
                  <a:lnTo>
                    <a:pt x="595" y="816"/>
                  </a:lnTo>
                  <a:close/>
                  <a:moveTo>
                    <a:pt x="678" y="674"/>
                  </a:moveTo>
                  <a:cubicBezTo>
                    <a:pt x="679" y="657"/>
                    <a:pt x="679" y="642"/>
                    <a:pt x="677" y="629"/>
                  </a:cubicBezTo>
                  <a:cubicBezTo>
                    <a:pt x="675" y="617"/>
                    <a:pt x="670" y="606"/>
                    <a:pt x="662" y="598"/>
                  </a:cubicBezTo>
                  <a:cubicBezTo>
                    <a:pt x="654" y="591"/>
                    <a:pt x="646" y="587"/>
                    <a:pt x="637" y="585"/>
                  </a:cubicBezTo>
                  <a:cubicBezTo>
                    <a:pt x="629" y="583"/>
                    <a:pt x="620" y="584"/>
                    <a:pt x="611" y="586"/>
                  </a:cubicBezTo>
                  <a:cubicBezTo>
                    <a:pt x="602" y="589"/>
                    <a:pt x="593" y="593"/>
                    <a:pt x="584" y="599"/>
                  </a:cubicBezTo>
                  <a:cubicBezTo>
                    <a:pt x="575" y="605"/>
                    <a:pt x="567" y="611"/>
                    <a:pt x="560" y="619"/>
                  </a:cubicBezTo>
                  <a:cubicBezTo>
                    <a:pt x="552" y="627"/>
                    <a:pt x="544" y="635"/>
                    <a:pt x="538" y="644"/>
                  </a:cubicBezTo>
                  <a:cubicBezTo>
                    <a:pt x="532" y="653"/>
                    <a:pt x="527" y="662"/>
                    <a:pt x="524" y="671"/>
                  </a:cubicBezTo>
                  <a:cubicBezTo>
                    <a:pt x="521" y="680"/>
                    <a:pt x="520" y="689"/>
                    <a:pt x="522" y="698"/>
                  </a:cubicBezTo>
                  <a:cubicBezTo>
                    <a:pt x="523" y="706"/>
                    <a:pt x="528" y="714"/>
                    <a:pt x="536" y="722"/>
                  </a:cubicBezTo>
                  <a:cubicBezTo>
                    <a:pt x="539" y="726"/>
                    <a:pt x="544" y="729"/>
                    <a:pt x="548" y="732"/>
                  </a:cubicBezTo>
                  <a:cubicBezTo>
                    <a:pt x="553" y="734"/>
                    <a:pt x="559" y="736"/>
                    <a:pt x="565" y="737"/>
                  </a:cubicBezTo>
                  <a:cubicBezTo>
                    <a:pt x="571" y="739"/>
                    <a:pt x="578" y="739"/>
                    <a:pt x="586" y="740"/>
                  </a:cubicBezTo>
                  <a:cubicBezTo>
                    <a:pt x="594" y="740"/>
                    <a:pt x="604" y="739"/>
                    <a:pt x="614" y="738"/>
                  </a:cubicBezTo>
                  <a:lnTo>
                    <a:pt x="678" y="674"/>
                  </a:lnTo>
                  <a:close/>
                  <a:moveTo>
                    <a:pt x="862" y="910"/>
                  </a:moveTo>
                  <a:cubicBezTo>
                    <a:pt x="857" y="914"/>
                    <a:pt x="853" y="916"/>
                    <a:pt x="849" y="916"/>
                  </a:cubicBezTo>
                  <a:cubicBezTo>
                    <a:pt x="844" y="916"/>
                    <a:pt x="841" y="914"/>
                    <a:pt x="838" y="911"/>
                  </a:cubicBezTo>
                  <a:lnTo>
                    <a:pt x="733" y="806"/>
                  </a:lnTo>
                  <a:cubicBezTo>
                    <a:pt x="724" y="815"/>
                    <a:pt x="717" y="824"/>
                    <a:pt x="712" y="833"/>
                  </a:cubicBezTo>
                  <a:cubicBezTo>
                    <a:pt x="707" y="842"/>
                    <a:pt x="703" y="851"/>
                    <a:pt x="703" y="860"/>
                  </a:cubicBezTo>
                  <a:cubicBezTo>
                    <a:pt x="702" y="869"/>
                    <a:pt x="703" y="878"/>
                    <a:pt x="707" y="888"/>
                  </a:cubicBezTo>
                  <a:cubicBezTo>
                    <a:pt x="711" y="897"/>
                    <a:pt x="718" y="907"/>
                    <a:pt x="727" y="916"/>
                  </a:cubicBezTo>
                  <a:cubicBezTo>
                    <a:pt x="735" y="924"/>
                    <a:pt x="742" y="930"/>
                    <a:pt x="749" y="935"/>
                  </a:cubicBezTo>
                  <a:cubicBezTo>
                    <a:pt x="757" y="939"/>
                    <a:pt x="763" y="943"/>
                    <a:pt x="769" y="946"/>
                  </a:cubicBezTo>
                  <a:cubicBezTo>
                    <a:pt x="775" y="949"/>
                    <a:pt x="780" y="951"/>
                    <a:pt x="784" y="952"/>
                  </a:cubicBezTo>
                  <a:cubicBezTo>
                    <a:pt x="788" y="954"/>
                    <a:pt x="790" y="955"/>
                    <a:pt x="792" y="957"/>
                  </a:cubicBezTo>
                  <a:cubicBezTo>
                    <a:pt x="793" y="958"/>
                    <a:pt x="793" y="959"/>
                    <a:pt x="794" y="960"/>
                  </a:cubicBezTo>
                  <a:cubicBezTo>
                    <a:pt x="794" y="961"/>
                    <a:pt x="794" y="962"/>
                    <a:pt x="793" y="963"/>
                  </a:cubicBezTo>
                  <a:cubicBezTo>
                    <a:pt x="793" y="964"/>
                    <a:pt x="792" y="966"/>
                    <a:pt x="791" y="967"/>
                  </a:cubicBezTo>
                  <a:cubicBezTo>
                    <a:pt x="789" y="969"/>
                    <a:pt x="788" y="971"/>
                    <a:pt x="785" y="973"/>
                  </a:cubicBezTo>
                  <a:cubicBezTo>
                    <a:pt x="784" y="974"/>
                    <a:pt x="782" y="976"/>
                    <a:pt x="781" y="977"/>
                  </a:cubicBezTo>
                  <a:cubicBezTo>
                    <a:pt x="780" y="978"/>
                    <a:pt x="779" y="979"/>
                    <a:pt x="778" y="979"/>
                  </a:cubicBezTo>
                  <a:cubicBezTo>
                    <a:pt x="777" y="980"/>
                    <a:pt x="776" y="980"/>
                    <a:pt x="775" y="981"/>
                  </a:cubicBezTo>
                  <a:cubicBezTo>
                    <a:pt x="773" y="981"/>
                    <a:pt x="772" y="981"/>
                    <a:pt x="771" y="981"/>
                  </a:cubicBezTo>
                  <a:cubicBezTo>
                    <a:pt x="770" y="981"/>
                    <a:pt x="767" y="980"/>
                    <a:pt x="762" y="979"/>
                  </a:cubicBezTo>
                  <a:cubicBezTo>
                    <a:pt x="757" y="977"/>
                    <a:pt x="752" y="974"/>
                    <a:pt x="745" y="971"/>
                  </a:cubicBezTo>
                  <a:cubicBezTo>
                    <a:pt x="739" y="967"/>
                    <a:pt x="732" y="962"/>
                    <a:pt x="724" y="957"/>
                  </a:cubicBezTo>
                  <a:cubicBezTo>
                    <a:pt x="716" y="951"/>
                    <a:pt x="708" y="945"/>
                    <a:pt x="701" y="937"/>
                  </a:cubicBezTo>
                  <a:cubicBezTo>
                    <a:pt x="688" y="924"/>
                    <a:pt x="678" y="911"/>
                    <a:pt x="672" y="897"/>
                  </a:cubicBezTo>
                  <a:cubicBezTo>
                    <a:pt x="666" y="884"/>
                    <a:pt x="663" y="870"/>
                    <a:pt x="663" y="856"/>
                  </a:cubicBezTo>
                  <a:cubicBezTo>
                    <a:pt x="664" y="842"/>
                    <a:pt x="668" y="828"/>
                    <a:pt x="675" y="814"/>
                  </a:cubicBezTo>
                  <a:cubicBezTo>
                    <a:pt x="683" y="800"/>
                    <a:pt x="694" y="785"/>
                    <a:pt x="708" y="771"/>
                  </a:cubicBezTo>
                  <a:cubicBezTo>
                    <a:pt x="722" y="757"/>
                    <a:pt x="736" y="747"/>
                    <a:pt x="750" y="739"/>
                  </a:cubicBezTo>
                  <a:cubicBezTo>
                    <a:pt x="765" y="732"/>
                    <a:pt x="779" y="728"/>
                    <a:pt x="793" y="727"/>
                  </a:cubicBezTo>
                  <a:cubicBezTo>
                    <a:pt x="807" y="726"/>
                    <a:pt x="821" y="728"/>
                    <a:pt x="835" y="734"/>
                  </a:cubicBezTo>
                  <a:cubicBezTo>
                    <a:pt x="848" y="739"/>
                    <a:pt x="861" y="747"/>
                    <a:pt x="873" y="759"/>
                  </a:cubicBezTo>
                  <a:cubicBezTo>
                    <a:pt x="885" y="772"/>
                    <a:pt x="894" y="784"/>
                    <a:pt x="898" y="797"/>
                  </a:cubicBezTo>
                  <a:cubicBezTo>
                    <a:pt x="903" y="810"/>
                    <a:pt x="905" y="822"/>
                    <a:pt x="904" y="835"/>
                  </a:cubicBezTo>
                  <a:cubicBezTo>
                    <a:pt x="903" y="847"/>
                    <a:pt x="899" y="859"/>
                    <a:pt x="893" y="871"/>
                  </a:cubicBezTo>
                  <a:cubicBezTo>
                    <a:pt x="886" y="883"/>
                    <a:pt x="878" y="894"/>
                    <a:pt x="867" y="904"/>
                  </a:cubicBezTo>
                  <a:lnTo>
                    <a:pt x="862" y="910"/>
                  </a:lnTo>
                  <a:close/>
                  <a:moveTo>
                    <a:pt x="841" y="872"/>
                  </a:moveTo>
                  <a:cubicBezTo>
                    <a:pt x="857" y="857"/>
                    <a:pt x="866" y="841"/>
                    <a:pt x="867" y="825"/>
                  </a:cubicBezTo>
                  <a:cubicBezTo>
                    <a:pt x="869" y="810"/>
                    <a:pt x="862" y="795"/>
                    <a:pt x="848" y="780"/>
                  </a:cubicBezTo>
                  <a:cubicBezTo>
                    <a:pt x="841" y="773"/>
                    <a:pt x="833" y="768"/>
                    <a:pt x="825" y="766"/>
                  </a:cubicBezTo>
                  <a:cubicBezTo>
                    <a:pt x="817" y="763"/>
                    <a:pt x="809" y="762"/>
                    <a:pt x="801" y="763"/>
                  </a:cubicBezTo>
                  <a:cubicBezTo>
                    <a:pt x="793" y="763"/>
                    <a:pt x="784" y="766"/>
                    <a:pt x="776" y="770"/>
                  </a:cubicBezTo>
                  <a:cubicBezTo>
                    <a:pt x="769" y="774"/>
                    <a:pt x="761" y="779"/>
                    <a:pt x="754" y="785"/>
                  </a:cubicBezTo>
                  <a:lnTo>
                    <a:pt x="841" y="872"/>
                  </a:lnTo>
                  <a:close/>
                  <a:moveTo>
                    <a:pt x="1062" y="986"/>
                  </a:moveTo>
                  <a:cubicBezTo>
                    <a:pt x="1060" y="988"/>
                    <a:pt x="1058" y="991"/>
                    <a:pt x="1056" y="992"/>
                  </a:cubicBezTo>
                  <a:cubicBezTo>
                    <a:pt x="1054" y="994"/>
                    <a:pt x="1052" y="995"/>
                    <a:pt x="1051" y="996"/>
                  </a:cubicBezTo>
                  <a:cubicBezTo>
                    <a:pt x="1049" y="996"/>
                    <a:pt x="1048" y="997"/>
                    <a:pt x="1047" y="997"/>
                  </a:cubicBezTo>
                  <a:cubicBezTo>
                    <a:pt x="1046" y="997"/>
                    <a:pt x="1045" y="996"/>
                    <a:pt x="1044" y="995"/>
                  </a:cubicBezTo>
                  <a:cubicBezTo>
                    <a:pt x="1043" y="994"/>
                    <a:pt x="1042" y="993"/>
                    <a:pt x="1042" y="991"/>
                  </a:cubicBezTo>
                  <a:cubicBezTo>
                    <a:pt x="1041" y="989"/>
                    <a:pt x="1040" y="987"/>
                    <a:pt x="1039" y="985"/>
                  </a:cubicBezTo>
                  <a:cubicBezTo>
                    <a:pt x="1037" y="982"/>
                    <a:pt x="1036" y="980"/>
                    <a:pt x="1034" y="977"/>
                  </a:cubicBezTo>
                  <a:cubicBezTo>
                    <a:pt x="1033" y="975"/>
                    <a:pt x="1031" y="972"/>
                    <a:pt x="1028" y="970"/>
                  </a:cubicBezTo>
                  <a:cubicBezTo>
                    <a:pt x="1025" y="967"/>
                    <a:pt x="1022" y="965"/>
                    <a:pt x="1018" y="963"/>
                  </a:cubicBezTo>
                  <a:cubicBezTo>
                    <a:pt x="1014" y="961"/>
                    <a:pt x="1009" y="960"/>
                    <a:pt x="1003" y="960"/>
                  </a:cubicBezTo>
                  <a:cubicBezTo>
                    <a:pt x="997" y="959"/>
                    <a:pt x="990" y="960"/>
                    <a:pt x="982" y="961"/>
                  </a:cubicBezTo>
                  <a:cubicBezTo>
                    <a:pt x="974" y="962"/>
                    <a:pt x="965" y="964"/>
                    <a:pt x="955" y="966"/>
                  </a:cubicBezTo>
                  <a:lnTo>
                    <a:pt x="850" y="1071"/>
                  </a:lnTo>
                  <a:cubicBezTo>
                    <a:pt x="849" y="1072"/>
                    <a:pt x="848" y="1072"/>
                    <a:pt x="847" y="1072"/>
                  </a:cubicBezTo>
                  <a:cubicBezTo>
                    <a:pt x="846" y="1073"/>
                    <a:pt x="844" y="1072"/>
                    <a:pt x="843" y="1072"/>
                  </a:cubicBezTo>
                  <a:cubicBezTo>
                    <a:pt x="841" y="1071"/>
                    <a:pt x="839" y="1070"/>
                    <a:pt x="837" y="1068"/>
                  </a:cubicBezTo>
                  <a:cubicBezTo>
                    <a:pt x="835" y="1067"/>
                    <a:pt x="833" y="1064"/>
                    <a:pt x="830" y="1061"/>
                  </a:cubicBezTo>
                  <a:cubicBezTo>
                    <a:pt x="827" y="1059"/>
                    <a:pt x="825" y="1056"/>
                    <a:pt x="823" y="1054"/>
                  </a:cubicBezTo>
                  <a:cubicBezTo>
                    <a:pt x="821" y="1052"/>
                    <a:pt x="820" y="1050"/>
                    <a:pt x="820" y="1048"/>
                  </a:cubicBezTo>
                  <a:cubicBezTo>
                    <a:pt x="819" y="1047"/>
                    <a:pt x="819" y="1046"/>
                    <a:pt x="819" y="1044"/>
                  </a:cubicBezTo>
                  <a:cubicBezTo>
                    <a:pt x="819" y="1043"/>
                    <a:pt x="820" y="1042"/>
                    <a:pt x="821" y="1041"/>
                  </a:cubicBezTo>
                  <a:lnTo>
                    <a:pt x="980" y="882"/>
                  </a:lnTo>
                  <a:cubicBezTo>
                    <a:pt x="981" y="881"/>
                    <a:pt x="982" y="881"/>
                    <a:pt x="983" y="881"/>
                  </a:cubicBezTo>
                  <a:cubicBezTo>
                    <a:pt x="984" y="880"/>
                    <a:pt x="985" y="880"/>
                    <a:pt x="987" y="881"/>
                  </a:cubicBezTo>
                  <a:cubicBezTo>
                    <a:pt x="988" y="881"/>
                    <a:pt x="990" y="882"/>
                    <a:pt x="992" y="884"/>
                  </a:cubicBezTo>
                  <a:cubicBezTo>
                    <a:pt x="994" y="885"/>
                    <a:pt x="996" y="887"/>
                    <a:pt x="999" y="890"/>
                  </a:cubicBezTo>
                  <a:cubicBezTo>
                    <a:pt x="1001" y="893"/>
                    <a:pt x="1003" y="895"/>
                    <a:pt x="1005" y="897"/>
                  </a:cubicBezTo>
                  <a:cubicBezTo>
                    <a:pt x="1006" y="899"/>
                    <a:pt x="1007" y="900"/>
                    <a:pt x="1008" y="902"/>
                  </a:cubicBezTo>
                  <a:cubicBezTo>
                    <a:pt x="1008" y="903"/>
                    <a:pt x="1008" y="905"/>
                    <a:pt x="1008" y="906"/>
                  </a:cubicBezTo>
                  <a:cubicBezTo>
                    <a:pt x="1008" y="907"/>
                    <a:pt x="1007" y="908"/>
                    <a:pt x="1006" y="909"/>
                  </a:cubicBezTo>
                  <a:lnTo>
                    <a:pt x="983" y="932"/>
                  </a:lnTo>
                  <a:cubicBezTo>
                    <a:pt x="994" y="930"/>
                    <a:pt x="1003" y="929"/>
                    <a:pt x="1011" y="929"/>
                  </a:cubicBezTo>
                  <a:cubicBezTo>
                    <a:pt x="1019" y="928"/>
                    <a:pt x="1025" y="929"/>
                    <a:pt x="1031" y="930"/>
                  </a:cubicBezTo>
                  <a:cubicBezTo>
                    <a:pt x="1037" y="931"/>
                    <a:pt x="1042" y="933"/>
                    <a:pt x="1046" y="935"/>
                  </a:cubicBezTo>
                  <a:cubicBezTo>
                    <a:pt x="1050" y="938"/>
                    <a:pt x="1054" y="941"/>
                    <a:pt x="1058" y="944"/>
                  </a:cubicBezTo>
                  <a:cubicBezTo>
                    <a:pt x="1059" y="946"/>
                    <a:pt x="1061" y="948"/>
                    <a:pt x="1063" y="950"/>
                  </a:cubicBezTo>
                  <a:cubicBezTo>
                    <a:pt x="1064" y="952"/>
                    <a:pt x="1066" y="954"/>
                    <a:pt x="1068" y="957"/>
                  </a:cubicBezTo>
                  <a:cubicBezTo>
                    <a:pt x="1069" y="959"/>
                    <a:pt x="1071" y="962"/>
                    <a:pt x="1072" y="964"/>
                  </a:cubicBezTo>
                  <a:cubicBezTo>
                    <a:pt x="1073" y="966"/>
                    <a:pt x="1074" y="968"/>
                    <a:pt x="1074" y="970"/>
                  </a:cubicBezTo>
                  <a:cubicBezTo>
                    <a:pt x="1074" y="971"/>
                    <a:pt x="1074" y="972"/>
                    <a:pt x="1073" y="973"/>
                  </a:cubicBezTo>
                  <a:cubicBezTo>
                    <a:pt x="1073" y="973"/>
                    <a:pt x="1073" y="974"/>
                    <a:pt x="1072" y="975"/>
                  </a:cubicBezTo>
                  <a:cubicBezTo>
                    <a:pt x="1071" y="976"/>
                    <a:pt x="1070" y="978"/>
                    <a:pt x="1069" y="979"/>
                  </a:cubicBezTo>
                  <a:cubicBezTo>
                    <a:pt x="1067" y="981"/>
                    <a:pt x="1065" y="983"/>
                    <a:pt x="1062" y="986"/>
                  </a:cubicBezTo>
                  <a:close/>
                  <a:moveTo>
                    <a:pt x="986" y="1206"/>
                  </a:moveTo>
                  <a:cubicBezTo>
                    <a:pt x="985" y="1207"/>
                    <a:pt x="984" y="1208"/>
                    <a:pt x="983" y="1208"/>
                  </a:cubicBezTo>
                  <a:cubicBezTo>
                    <a:pt x="981" y="1208"/>
                    <a:pt x="980" y="1208"/>
                    <a:pt x="979" y="1207"/>
                  </a:cubicBezTo>
                  <a:cubicBezTo>
                    <a:pt x="977" y="1207"/>
                    <a:pt x="975" y="1206"/>
                    <a:pt x="973" y="1204"/>
                  </a:cubicBezTo>
                  <a:cubicBezTo>
                    <a:pt x="971" y="1202"/>
                    <a:pt x="968" y="1200"/>
                    <a:pt x="966" y="1197"/>
                  </a:cubicBezTo>
                  <a:cubicBezTo>
                    <a:pt x="963" y="1194"/>
                    <a:pt x="960" y="1192"/>
                    <a:pt x="959" y="1190"/>
                  </a:cubicBezTo>
                  <a:cubicBezTo>
                    <a:pt x="957" y="1188"/>
                    <a:pt x="956" y="1186"/>
                    <a:pt x="955" y="1184"/>
                  </a:cubicBezTo>
                  <a:cubicBezTo>
                    <a:pt x="955" y="1183"/>
                    <a:pt x="954" y="1181"/>
                    <a:pt x="955" y="1180"/>
                  </a:cubicBezTo>
                  <a:cubicBezTo>
                    <a:pt x="955" y="1179"/>
                    <a:pt x="956" y="1178"/>
                    <a:pt x="957" y="1177"/>
                  </a:cubicBezTo>
                  <a:lnTo>
                    <a:pt x="1116" y="1018"/>
                  </a:lnTo>
                  <a:cubicBezTo>
                    <a:pt x="1116" y="1017"/>
                    <a:pt x="1117" y="1017"/>
                    <a:pt x="1119" y="1016"/>
                  </a:cubicBezTo>
                  <a:cubicBezTo>
                    <a:pt x="1120" y="1016"/>
                    <a:pt x="1121" y="1016"/>
                    <a:pt x="1123" y="1017"/>
                  </a:cubicBezTo>
                  <a:cubicBezTo>
                    <a:pt x="1124" y="1018"/>
                    <a:pt x="1126" y="1019"/>
                    <a:pt x="1128" y="1020"/>
                  </a:cubicBezTo>
                  <a:cubicBezTo>
                    <a:pt x="1130" y="1022"/>
                    <a:pt x="1133" y="1024"/>
                    <a:pt x="1136" y="1027"/>
                  </a:cubicBezTo>
                  <a:cubicBezTo>
                    <a:pt x="1139" y="1030"/>
                    <a:pt x="1141" y="1033"/>
                    <a:pt x="1142" y="1035"/>
                  </a:cubicBezTo>
                  <a:cubicBezTo>
                    <a:pt x="1144" y="1037"/>
                    <a:pt x="1145" y="1039"/>
                    <a:pt x="1146" y="1040"/>
                  </a:cubicBezTo>
                  <a:cubicBezTo>
                    <a:pt x="1146" y="1042"/>
                    <a:pt x="1147" y="1043"/>
                    <a:pt x="1146" y="1044"/>
                  </a:cubicBezTo>
                  <a:cubicBezTo>
                    <a:pt x="1146" y="1045"/>
                    <a:pt x="1146" y="1046"/>
                    <a:pt x="1145" y="1047"/>
                  </a:cubicBezTo>
                  <a:lnTo>
                    <a:pt x="986" y="1206"/>
                  </a:lnTo>
                  <a:close/>
                  <a:moveTo>
                    <a:pt x="1202" y="997"/>
                  </a:moveTo>
                  <a:cubicBezTo>
                    <a:pt x="1195" y="1004"/>
                    <a:pt x="1189" y="1007"/>
                    <a:pt x="1184" y="1007"/>
                  </a:cubicBezTo>
                  <a:cubicBezTo>
                    <a:pt x="1179" y="1007"/>
                    <a:pt x="1173" y="1003"/>
                    <a:pt x="1166" y="996"/>
                  </a:cubicBezTo>
                  <a:cubicBezTo>
                    <a:pt x="1159" y="990"/>
                    <a:pt x="1156" y="984"/>
                    <a:pt x="1156" y="979"/>
                  </a:cubicBezTo>
                  <a:cubicBezTo>
                    <a:pt x="1155" y="974"/>
                    <a:pt x="1159" y="968"/>
                    <a:pt x="1165" y="961"/>
                  </a:cubicBezTo>
                  <a:cubicBezTo>
                    <a:pt x="1172" y="954"/>
                    <a:pt x="1178" y="951"/>
                    <a:pt x="1183" y="951"/>
                  </a:cubicBezTo>
                  <a:cubicBezTo>
                    <a:pt x="1188" y="951"/>
                    <a:pt x="1194" y="955"/>
                    <a:pt x="1201" y="962"/>
                  </a:cubicBezTo>
                  <a:cubicBezTo>
                    <a:pt x="1208" y="969"/>
                    <a:pt x="1212" y="974"/>
                    <a:pt x="1212" y="979"/>
                  </a:cubicBezTo>
                  <a:cubicBezTo>
                    <a:pt x="1212" y="984"/>
                    <a:pt x="1209" y="990"/>
                    <a:pt x="1202" y="997"/>
                  </a:cubicBezTo>
                  <a:close/>
                  <a:moveTo>
                    <a:pt x="1130" y="1328"/>
                  </a:moveTo>
                  <a:cubicBezTo>
                    <a:pt x="1127" y="1331"/>
                    <a:pt x="1124" y="1333"/>
                    <a:pt x="1121" y="1335"/>
                  </a:cubicBezTo>
                  <a:cubicBezTo>
                    <a:pt x="1119" y="1336"/>
                    <a:pt x="1117" y="1337"/>
                    <a:pt x="1115" y="1337"/>
                  </a:cubicBezTo>
                  <a:cubicBezTo>
                    <a:pt x="1113" y="1337"/>
                    <a:pt x="1111" y="1337"/>
                    <a:pt x="1108" y="1336"/>
                  </a:cubicBezTo>
                  <a:cubicBezTo>
                    <a:pt x="1105" y="1335"/>
                    <a:pt x="1102" y="1333"/>
                    <a:pt x="1099" y="1331"/>
                  </a:cubicBezTo>
                  <a:cubicBezTo>
                    <a:pt x="1096" y="1329"/>
                    <a:pt x="1093" y="1327"/>
                    <a:pt x="1090" y="1325"/>
                  </a:cubicBezTo>
                  <a:cubicBezTo>
                    <a:pt x="1087" y="1322"/>
                    <a:pt x="1084" y="1320"/>
                    <a:pt x="1082" y="1317"/>
                  </a:cubicBezTo>
                  <a:cubicBezTo>
                    <a:pt x="1073" y="1309"/>
                    <a:pt x="1067" y="1301"/>
                    <a:pt x="1064" y="1293"/>
                  </a:cubicBezTo>
                  <a:cubicBezTo>
                    <a:pt x="1060" y="1285"/>
                    <a:pt x="1058" y="1277"/>
                    <a:pt x="1059" y="1268"/>
                  </a:cubicBezTo>
                  <a:cubicBezTo>
                    <a:pt x="1060" y="1260"/>
                    <a:pt x="1063" y="1252"/>
                    <a:pt x="1068" y="1243"/>
                  </a:cubicBezTo>
                  <a:cubicBezTo>
                    <a:pt x="1073" y="1235"/>
                    <a:pt x="1080" y="1226"/>
                    <a:pt x="1089" y="1217"/>
                  </a:cubicBezTo>
                  <a:lnTo>
                    <a:pt x="1182" y="1124"/>
                  </a:lnTo>
                  <a:lnTo>
                    <a:pt x="1160" y="1102"/>
                  </a:lnTo>
                  <a:cubicBezTo>
                    <a:pt x="1158" y="1100"/>
                    <a:pt x="1158" y="1097"/>
                    <a:pt x="1158" y="1095"/>
                  </a:cubicBezTo>
                  <a:cubicBezTo>
                    <a:pt x="1159" y="1092"/>
                    <a:pt x="1162" y="1088"/>
                    <a:pt x="1166" y="1084"/>
                  </a:cubicBezTo>
                  <a:cubicBezTo>
                    <a:pt x="1168" y="1081"/>
                    <a:pt x="1170" y="1080"/>
                    <a:pt x="1172" y="1079"/>
                  </a:cubicBezTo>
                  <a:cubicBezTo>
                    <a:pt x="1174" y="1077"/>
                    <a:pt x="1176" y="1076"/>
                    <a:pt x="1177" y="1076"/>
                  </a:cubicBezTo>
                  <a:cubicBezTo>
                    <a:pt x="1179" y="1075"/>
                    <a:pt x="1180" y="1075"/>
                    <a:pt x="1181" y="1076"/>
                  </a:cubicBezTo>
                  <a:cubicBezTo>
                    <a:pt x="1182" y="1076"/>
                    <a:pt x="1183" y="1077"/>
                    <a:pt x="1184" y="1078"/>
                  </a:cubicBezTo>
                  <a:lnTo>
                    <a:pt x="1206" y="1100"/>
                  </a:lnTo>
                  <a:lnTo>
                    <a:pt x="1244" y="1062"/>
                  </a:lnTo>
                  <a:cubicBezTo>
                    <a:pt x="1245" y="1061"/>
                    <a:pt x="1246" y="1060"/>
                    <a:pt x="1247" y="1060"/>
                  </a:cubicBezTo>
                  <a:cubicBezTo>
                    <a:pt x="1248" y="1060"/>
                    <a:pt x="1250" y="1060"/>
                    <a:pt x="1251" y="1061"/>
                  </a:cubicBezTo>
                  <a:cubicBezTo>
                    <a:pt x="1253" y="1061"/>
                    <a:pt x="1255" y="1062"/>
                    <a:pt x="1257" y="1064"/>
                  </a:cubicBezTo>
                  <a:cubicBezTo>
                    <a:pt x="1259" y="1066"/>
                    <a:pt x="1261" y="1068"/>
                    <a:pt x="1264" y="1071"/>
                  </a:cubicBezTo>
                  <a:cubicBezTo>
                    <a:pt x="1267" y="1074"/>
                    <a:pt x="1270" y="1076"/>
                    <a:pt x="1271" y="1078"/>
                  </a:cubicBezTo>
                  <a:cubicBezTo>
                    <a:pt x="1273" y="1080"/>
                    <a:pt x="1274" y="1082"/>
                    <a:pt x="1274" y="1084"/>
                  </a:cubicBezTo>
                  <a:cubicBezTo>
                    <a:pt x="1275" y="1085"/>
                    <a:pt x="1275" y="1087"/>
                    <a:pt x="1275" y="1088"/>
                  </a:cubicBezTo>
                  <a:cubicBezTo>
                    <a:pt x="1275" y="1089"/>
                    <a:pt x="1274" y="1090"/>
                    <a:pt x="1273" y="1091"/>
                  </a:cubicBezTo>
                  <a:lnTo>
                    <a:pt x="1235" y="1129"/>
                  </a:lnTo>
                  <a:lnTo>
                    <a:pt x="1276" y="1170"/>
                  </a:lnTo>
                  <a:cubicBezTo>
                    <a:pt x="1277" y="1171"/>
                    <a:pt x="1278" y="1172"/>
                    <a:pt x="1278" y="1173"/>
                  </a:cubicBezTo>
                  <a:cubicBezTo>
                    <a:pt x="1278" y="1174"/>
                    <a:pt x="1278" y="1175"/>
                    <a:pt x="1278" y="1177"/>
                  </a:cubicBezTo>
                  <a:cubicBezTo>
                    <a:pt x="1277" y="1178"/>
                    <a:pt x="1277" y="1180"/>
                    <a:pt x="1275" y="1182"/>
                  </a:cubicBezTo>
                  <a:cubicBezTo>
                    <a:pt x="1274" y="1183"/>
                    <a:pt x="1272" y="1185"/>
                    <a:pt x="1270" y="1188"/>
                  </a:cubicBezTo>
                  <a:cubicBezTo>
                    <a:pt x="1266" y="1192"/>
                    <a:pt x="1262" y="1194"/>
                    <a:pt x="1259" y="1195"/>
                  </a:cubicBezTo>
                  <a:cubicBezTo>
                    <a:pt x="1256" y="1196"/>
                    <a:pt x="1254" y="1196"/>
                    <a:pt x="1252" y="1194"/>
                  </a:cubicBezTo>
                  <a:lnTo>
                    <a:pt x="1211" y="1153"/>
                  </a:lnTo>
                  <a:lnTo>
                    <a:pt x="1122" y="1242"/>
                  </a:lnTo>
                  <a:cubicBezTo>
                    <a:pt x="1112" y="1253"/>
                    <a:pt x="1105" y="1263"/>
                    <a:pt x="1103" y="1271"/>
                  </a:cubicBezTo>
                  <a:cubicBezTo>
                    <a:pt x="1100" y="1280"/>
                    <a:pt x="1103" y="1289"/>
                    <a:pt x="1112" y="1297"/>
                  </a:cubicBezTo>
                  <a:cubicBezTo>
                    <a:pt x="1114" y="1300"/>
                    <a:pt x="1117" y="1302"/>
                    <a:pt x="1120" y="1304"/>
                  </a:cubicBezTo>
                  <a:cubicBezTo>
                    <a:pt x="1122" y="1305"/>
                    <a:pt x="1125" y="1307"/>
                    <a:pt x="1127" y="1308"/>
                  </a:cubicBezTo>
                  <a:cubicBezTo>
                    <a:pt x="1129" y="1309"/>
                    <a:pt x="1131" y="1310"/>
                    <a:pt x="1133" y="1310"/>
                  </a:cubicBezTo>
                  <a:cubicBezTo>
                    <a:pt x="1135" y="1311"/>
                    <a:pt x="1136" y="1312"/>
                    <a:pt x="1137" y="1313"/>
                  </a:cubicBezTo>
                  <a:cubicBezTo>
                    <a:pt x="1137" y="1313"/>
                    <a:pt x="1138" y="1314"/>
                    <a:pt x="1138" y="1315"/>
                  </a:cubicBezTo>
                  <a:cubicBezTo>
                    <a:pt x="1138" y="1316"/>
                    <a:pt x="1138" y="1317"/>
                    <a:pt x="1138" y="1318"/>
                  </a:cubicBezTo>
                  <a:cubicBezTo>
                    <a:pt x="1137" y="1319"/>
                    <a:pt x="1136" y="1320"/>
                    <a:pt x="1135" y="1322"/>
                  </a:cubicBezTo>
                  <a:cubicBezTo>
                    <a:pt x="1134" y="1323"/>
                    <a:pt x="1132" y="1325"/>
                    <a:pt x="1130" y="1328"/>
                  </a:cubicBezTo>
                  <a:close/>
                  <a:moveTo>
                    <a:pt x="1270" y="1474"/>
                  </a:moveTo>
                  <a:cubicBezTo>
                    <a:pt x="1267" y="1477"/>
                    <a:pt x="1265" y="1478"/>
                    <a:pt x="1263" y="1480"/>
                  </a:cubicBezTo>
                  <a:cubicBezTo>
                    <a:pt x="1261" y="1481"/>
                    <a:pt x="1260" y="1482"/>
                    <a:pt x="1258" y="1482"/>
                  </a:cubicBezTo>
                  <a:cubicBezTo>
                    <a:pt x="1257" y="1483"/>
                    <a:pt x="1255" y="1483"/>
                    <a:pt x="1254" y="1482"/>
                  </a:cubicBezTo>
                  <a:cubicBezTo>
                    <a:pt x="1253" y="1482"/>
                    <a:pt x="1252" y="1481"/>
                    <a:pt x="1251" y="1480"/>
                  </a:cubicBezTo>
                  <a:lnTo>
                    <a:pt x="1153" y="1382"/>
                  </a:lnTo>
                  <a:cubicBezTo>
                    <a:pt x="1150" y="1380"/>
                    <a:pt x="1149" y="1377"/>
                    <a:pt x="1149" y="1374"/>
                  </a:cubicBezTo>
                  <a:cubicBezTo>
                    <a:pt x="1149" y="1371"/>
                    <a:pt x="1151" y="1367"/>
                    <a:pt x="1155" y="1363"/>
                  </a:cubicBezTo>
                  <a:lnTo>
                    <a:pt x="1161" y="1357"/>
                  </a:lnTo>
                  <a:cubicBezTo>
                    <a:pt x="1163" y="1356"/>
                    <a:pt x="1164" y="1354"/>
                    <a:pt x="1166" y="1353"/>
                  </a:cubicBezTo>
                  <a:cubicBezTo>
                    <a:pt x="1168" y="1352"/>
                    <a:pt x="1169" y="1351"/>
                    <a:pt x="1171" y="1350"/>
                  </a:cubicBezTo>
                  <a:cubicBezTo>
                    <a:pt x="1173" y="1349"/>
                    <a:pt x="1175" y="1349"/>
                    <a:pt x="1177" y="1348"/>
                  </a:cubicBezTo>
                  <a:cubicBezTo>
                    <a:pt x="1179" y="1347"/>
                    <a:pt x="1182" y="1347"/>
                    <a:pt x="1185" y="1346"/>
                  </a:cubicBezTo>
                  <a:lnTo>
                    <a:pt x="1365" y="1307"/>
                  </a:lnTo>
                  <a:lnTo>
                    <a:pt x="1296" y="1239"/>
                  </a:lnTo>
                  <a:cubicBezTo>
                    <a:pt x="1295" y="1237"/>
                    <a:pt x="1294" y="1235"/>
                    <a:pt x="1295" y="1232"/>
                  </a:cubicBezTo>
                  <a:cubicBezTo>
                    <a:pt x="1296" y="1228"/>
                    <a:pt x="1298" y="1225"/>
                    <a:pt x="1303" y="1220"/>
                  </a:cubicBezTo>
                  <a:cubicBezTo>
                    <a:pt x="1305" y="1218"/>
                    <a:pt x="1307" y="1217"/>
                    <a:pt x="1309" y="1215"/>
                  </a:cubicBezTo>
                  <a:cubicBezTo>
                    <a:pt x="1310" y="1214"/>
                    <a:pt x="1312" y="1213"/>
                    <a:pt x="1314" y="1212"/>
                  </a:cubicBezTo>
                  <a:cubicBezTo>
                    <a:pt x="1315" y="1212"/>
                    <a:pt x="1316" y="1212"/>
                    <a:pt x="1318" y="1212"/>
                  </a:cubicBezTo>
                  <a:cubicBezTo>
                    <a:pt x="1319" y="1213"/>
                    <a:pt x="1320" y="1213"/>
                    <a:pt x="1321" y="1214"/>
                  </a:cubicBezTo>
                  <a:lnTo>
                    <a:pt x="1412" y="1306"/>
                  </a:lnTo>
                  <a:cubicBezTo>
                    <a:pt x="1414" y="1307"/>
                    <a:pt x="1414" y="1308"/>
                    <a:pt x="1415" y="1310"/>
                  </a:cubicBezTo>
                  <a:cubicBezTo>
                    <a:pt x="1416" y="1311"/>
                    <a:pt x="1416" y="1312"/>
                    <a:pt x="1416" y="1314"/>
                  </a:cubicBezTo>
                  <a:cubicBezTo>
                    <a:pt x="1416" y="1315"/>
                    <a:pt x="1415" y="1317"/>
                    <a:pt x="1414" y="1319"/>
                  </a:cubicBezTo>
                  <a:cubicBezTo>
                    <a:pt x="1414" y="1320"/>
                    <a:pt x="1412" y="1322"/>
                    <a:pt x="1410" y="1324"/>
                  </a:cubicBezTo>
                  <a:lnTo>
                    <a:pt x="1404" y="1330"/>
                  </a:lnTo>
                  <a:cubicBezTo>
                    <a:pt x="1403" y="1332"/>
                    <a:pt x="1401" y="1333"/>
                    <a:pt x="1400" y="1334"/>
                  </a:cubicBezTo>
                  <a:cubicBezTo>
                    <a:pt x="1398" y="1335"/>
                    <a:pt x="1396" y="1336"/>
                    <a:pt x="1394" y="1337"/>
                  </a:cubicBezTo>
                  <a:cubicBezTo>
                    <a:pt x="1392" y="1338"/>
                    <a:pt x="1390" y="1339"/>
                    <a:pt x="1388" y="1340"/>
                  </a:cubicBezTo>
                  <a:cubicBezTo>
                    <a:pt x="1386" y="1340"/>
                    <a:pt x="1383" y="1341"/>
                    <a:pt x="1380" y="1342"/>
                  </a:cubicBezTo>
                  <a:lnTo>
                    <a:pt x="1201" y="1381"/>
                  </a:lnTo>
                  <a:lnTo>
                    <a:pt x="1275" y="1456"/>
                  </a:lnTo>
                  <a:cubicBezTo>
                    <a:pt x="1276" y="1457"/>
                    <a:pt x="1277" y="1458"/>
                    <a:pt x="1277" y="1459"/>
                  </a:cubicBezTo>
                  <a:cubicBezTo>
                    <a:pt x="1278" y="1460"/>
                    <a:pt x="1278" y="1462"/>
                    <a:pt x="1277" y="1463"/>
                  </a:cubicBezTo>
                  <a:cubicBezTo>
                    <a:pt x="1277" y="1464"/>
                    <a:pt x="1276" y="1466"/>
                    <a:pt x="1275" y="1468"/>
                  </a:cubicBezTo>
                  <a:cubicBezTo>
                    <a:pt x="1274" y="1470"/>
                    <a:pt x="1272" y="1472"/>
                    <a:pt x="1270" y="1474"/>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74" name="Freeform 121"/>
            <p:cNvSpPr>
              <a:spLocks noEditPoints="1"/>
            </p:cNvSpPr>
            <p:nvPr/>
          </p:nvSpPr>
          <p:spPr bwMode="auto">
            <a:xfrm>
              <a:off x="407" y="1518"/>
              <a:ext cx="403" cy="410"/>
            </a:xfrm>
            <a:custGeom>
              <a:avLst/>
              <a:gdLst>
                <a:gd name="T0" fmla="*/ 210 w 3816"/>
                <a:gd name="T1" fmla="*/ 234 h 3888"/>
                <a:gd name="T2" fmla="*/ 340 w 3816"/>
                <a:gd name="T3" fmla="*/ 108 h 3888"/>
                <a:gd name="T4" fmla="*/ 350 w 3816"/>
                <a:gd name="T5" fmla="*/ 303 h 3888"/>
                <a:gd name="T6" fmla="*/ 339 w 3816"/>
                <a:gd name="T7" fmla="*/ 227 h 3888"/>
                <a:gd name="T8" fmla="*/ 421 w 3816"/>
                <a:gd name="T9" fmla="*/ 316 h 3888"/>
                <a:gd name="T10" fmla="*/ 302 w 3816"/>
                <a:gd name="T11" fmla="*/ 509 h 3888"/>
                <a:gd name="T12" fmla="*/ 431 w 3816"/>
                <a:gd name="T13" fmla="*/ 389 h 3888"/>
                <a:gd name="T14" fmla="*/ 520 w 3816"/>
                <a:gd name="T15" fmla="*/ 522 h 3888"/>
                <a:gd name="T16" fmla="*/ 592 w 3816"/>
                <a:gd name="T17" fmla="*/ 817 h 3888"/>
                <a:gd name="T18" fmla="*/ 488 w 3816"/>
                <a:gd name="T19" fmla="*/ 710 h 3888"/>
                <a:gd name="T20" fmla="*/ 650 w 3816"/>
                <a:gd name="T21" fmla="*/ 543 h 3888"/>
                <a:gd name="T22" fmla="*/ 757 w 3816"/>
                <a:gd name="T23" fmla="*/ 984 h 3888"/>
                <a:gd name="T24" fmla="*/ 894 w 3816"/>
                <a:gd name="T25" fmla="*/ 633 h 3888"/>
                <a:gd name="T26" fmla="*/ 939 w 3816"/>
                <a:gd name="T27" fmla="*/ 829 h 3888"/>
                <a:gd name="T28" fmla="*/ 1116 w 3816"/>
                <a:gd name="T29" fmla="*/ 900 h 3888"/>
                <a:gd name="T30" fmla="*/ 1001 w 3816"/>
                <a:gd name="T31" fmla="*/ 938 h 3888"/>
                <a:gd name="T32" fmla="*/ 966 w 3816"/>
                <a:gd name="T33" fmla="*/ 861 h 3888"/>
                <a:gd name="T34" fmla="*/ 1063 w 3816"/>
                <a:gd name="T35" fmla="*/ 1279 h 3888"/>
                <a:gd name="T36" fmla="*/ 988 w 3816"/>
                <a:gd name="T37" fmla="*/ 1079 h 3888"/>
                <a:gd name="T38" fmla="*/ 1035 w 3816"/>
                <a:gd name="T39" fmla="*/ 1202 h 3888"/>
                <a:gd name="T40" fmla="*/ 1345 w 3816"/>
                <a:gd name="T41" fmla="*/ 1290 h 3888"/>
                <a:gd name="T42" fmla="*/ 1121 w 3816"/>
                <a:gd name="T43" fmla="*/ 1348 h 3888"/>
                <a:gd name="T44" fmla="*/ 1329 w 3816"/>
                <a:gd name="T45" fmla="*/ 1224 h 3888"/>
                <a:gd name="T46" fmla="*/ 1307 w 3816"/>
                <a:gd name="T47" fmla="*/ 1534 h 3888"/>
                <a:gd name="T48" fmla="*/ 1414 w 3816"/>
                <a:gd name="T49" fmla="*/ 1303 h 3888"/>
                <a:gd name="T50" fmla="*/ 1477 w 3816"/>
                <a:gd name="T51" fmla="*/ 1391 h 3888"/>
                <a:gd name="T52" fmla="*/ 1746 w 3816"/>
                <a:gd name="T53" fmla="*/ 1485 h 3888"/>
                <a:gd name="T54" fmla="*/ 1497 w 3816"/>
                <a:gd name="T55" fmla="*/ 1611 h 3888"/>
                <a:gd name="T56" fmla="*/ 1811 w 3816"/>
                <a:gd name="T57" fmla="*/ 1902 h 3888"/>
                <a:gd name="T58" fmla="*/ 1867 w 3816"/>
                <a:gd name="T59" fmla="*/ 1859 h 3888"/>
                <a:gd name="T60" fmla="*/ 1753 w 3816"/>
                <a:gd name="T61" fmla="*/ 1878 h 3888"/>
                <a:gd name="T62" fmla="*/ 1735 w 3816"/>
                <a:gd name="T63" fmla="*/ 2067 h 3888"/>
                <a:gd name="T64" fmla="*/ 2297 w 3816"/>
                <a:gd name="T65" fmla="*/ 2289 h 3888"/>
                <a:gd name="T66" fmla="*/ 2340 w 3816"/>
                <a:gd name="T67" fmla="*/ 2233 h 3888"/>
                <a:gd name="T68" fmla="*/ 2141 w 3816"/>
                <a:gd name="T69" fmla="*/ 2306 h 3888"/>
                <a:gd name="T70" fmla="*/ 2274 w 3816"/>
                <a:gd name="T71" fmla="*/ 2506 h 3888"/>
                <a:gd name="T72" fmla="*/ 2590 w 3816"/>
                <a:gd name="T73" fmla="*/ 2324 h 3888"/>
                <a:gd name="T74" fmla="*/ 2290 w 3816"/>
                <a:gd name="T75" fmla="*/ 2462 h 3888"/>
                <a:gd name="T76" fmla="*/ 2529 w 3816"/>
                <a:gd name="T77" fmla="*/ 2710 h 3888"/>
                <a:gd name="T78" fmla="*/ 2481 w 3816"/>
                <a:gd name="T79" fmla="*/ 2713 h 3888"/>
                <a:gd name="T80" fmla="*/ 2647 w 3816"/>
                <a:gd name="T81" fmla="*/ 2601 h 3888"/>
                <a:gd name="T82" fmla="*/ 2808 w 3816"/>
                <a:gd name="T83" fmla="*/ 2746 h 3888"/>
                <a:gd name="T84" fmla="*/ 2763 w 3816"/>
                <a:gd name="T85" fmla="*/ 2656 h 3888"/>
                <a:gd name="T86" fmla="*/ 2852 w 3816"/>
                <a:gd name="T87" fmla="*/ 2740 h 3888"/>
                <a:gd name="T88" fmla="*/ 2751 w 3816"/>
                <a:gd name="T89" fmla="*/ 2968 h 3888"/>
                <a:gd name="T90" fmla="*/ 2992 w 3816"/>
                <a:gd name="T91" fmla="*/ 2727 h 3888"/>
                <a:gd name="T92" fmla="*/ 2957 w 3816"/>
                <a:gd name="T93" fmla="*/ 2901 h 3888"/>
                <a:gd name="T94" fmla="*/ 3148 w 3816"/>
                <a:gd name="T95" fmla="*/ 3088 h 3888"/>
                <a:gd name="T96" fmla="*/ 2926 w 3816"/>
                <a:gd name="T97" fmla="*/ 3154 h 3888"/>
                <a:gd name="T98" fmla="*/ 3108 w 3816"/>
                <a:gd name="T99" fmla="*/ 3021 h 3888"/>
                <a:gd name="T100" fmla="*/ 3166 w 3816"/>
                <a:gd name="T101" fmla="*/ 3393 h 3888"/>
                <a:gd name="T102" fmla="*/ 3207 w 3816"/>
                <a:gd name="T103" fmla="*/ 3097 h 3888"/>
                <a:gd name="T104" fmla="*/ 3311 w 3816"/>
                <a:gd name="T105" fmla="*/ 3205 h 3888"/>
                <a:gd name="T106" fmla="*/ 3306 w 3816"/>
                <a:gd name="T107" fmla="*/ 3068 h 3888"/>
                <a:gd name="T108" fmla="*/ 3359 w 3816"/>
                <a:gd name="T109" fmla="*/ 3551 h 3888"/>
                <a:gd name="T110" fmla="*/ 3487 w 3816"/>
                <a:gd name="T111" fmla="*/ 3380 h 3888"/>
                <a:gd name="T112" fmla="*/ 3309 w 3816"/>
                <a:gd name="T113" fmla="*/ 3421 h 3888"/>
                <a:gd name="T114" fmla="*/ 3499 w 3816"/>
                <a:gd name="T115" fmla="*/ 3726 h 3888"/>
                <a:gd name="T116" fmla="*/ 3381 w 3816"/>
                <a:gd name="T117" fmla="*/ 3598 h 3888"/>
                <a:gd name="T118" fmla="*/ 3654 w 3816"/>
                <a:gd name="T119" fmla="*/ 3542 h 3888"/>
                <a:gd name="T120" fmla="*/ 3623 w 3816"/>
                <a:gd name="T121" fmla="*/ 3740 h 3888"/>
                <a:gd name="T122" fmla="*/ 3682 w 3816"/>
                <a:gd name="T123" fmla="*/ 3888 h 3888"/>
                <a:gd name="T124" fmla="*/ 3804 w 3816"/>
                <a:gd name="T125" fmla="*/ 3778 h 3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16" h="3888">
                  <a:moveTo>
                    <a:pt x="333" y="127"/>
                  </a:moveTo>
                  <a:cubicBezTo>
                    <a:pt x="331" y="130"/>
                    <a:pt x="329" y="131"/>
                    <a:pt x="327" y="133"/>
                  </a:cubicBezTo>
                  <a:cubicBezTo>
                    <a:pt x="325" y="134"/>
                    <a:pt x="323" y="135"/>
                    <a:pt x="322" y="136"/>
                  </a:cubicBezTo>
                  <a:cubicBezTo>
                    <a:pt x="320" y="136"/>
                    <a:pt x="319" y="136"/>
                    <a:pt x="318" y="136"/>
                  </a:cubicBezTo>
                  <a:cubicBezTo>
                    <a:pt x="316" y="136"/>
                    <a:pt x="315" y="135"/>
                    <a:pt x="315" y="134"/>
                  </a:cubicBezTo>
                  <a:lnTo>
                    <a:pt x="231" y="50"/>
                  </a:lnTo>
                  <a:lnTo>
                    <a:pt x="153" y="128"/>
                  </a:lnTo>
                  <a:lnTo>
                    <a:pt x="232" y="207"/>
                  </a:lnTo>
                  <a:cubicBezTo>
                    <a:pt x="233" y="208"/>
                    <a:pt x="234" y="209"/>
                    <a:pt x="234" y="210"/>
                  </a:cubicBezTo>
                  <a:cubicBezTo>
                    <a:pt x="234" y="212"/>
                    <a:pt x="234" y="213"/>
                    <a:pt x="234" y="214"/>
                  </a:cubicBezTo>
                  <a:cubicBezTo>
                    <a:pt x="234" y="216"/>
                    <a:pt x="233" y="218"/>
                    <a:pt x="231" y="219"/>
                  </a:cubicBezTo>
                  <a:cubicBezTo>
                    <a:pt x="230" y="221"/>
                    <a:pt x="228" y="223"/>
                    <a:pt x="226" y="226"/>
                  </a:cubicBezTo>
                  <a:cubicBezTo>
                    <a:pt x="223" y="228"/>
                    <a:pt x="221" y="230"/>
                    <a:pt x="220" y="231"/>
                  </a:cubicBezTo>
                  <a:cubicBezTo>
                    <a:pt x="218" y="233"/>
                    <a:pt x="216" y="234"/>
                    <a:pt x="214" y="234"/>
                  </a:cubicBezTo>
                  <a:cubicBezTo>
                    <a:pt x="213" y="234"/>
                    <a:pt x="211" y="234"/>
                    <a:pt x="210" y="234"/>
                  </a:cubicBezTo>
                  <a:cubicBezTo>
                    <a:pt x="209" y="234"/>
                    <a:pt x="208" y="233"/>
                    <a:pt x="207" y="233"/>
                  </a:cubicBezTo>
                  <a:lnTo>
                    <a:pt x="128" y="153"/>
                  </a:lnTo>
                  <a:lnTo>
                    <a:pt x="32" y="249"/>
                  </a:lnTo>
                  <a:cubicBezTo>
                    <a:pt x="32" y="250"/>
                    <a:pt x="31" y="250"/>
                    <a:pt x="29" y="250"/>
                  </a:cubicBezTo>
                  <a:cubicBezTo>
                    <a:pt x="28" y="251"/>
                    <a:pt x="27" y="250"/>
                    <a:pt x="25" y="250"/>
                  </a:cubicBezTo>
                  <a:cubicBezTo>
                    <a:pt x="24" y="249"/>
                    <a:pt x="22" y="248"/>
                    <a:pt x="19" y="246"/>
                  </a:cubicBezTo>
                  <a:cubicBezTo>
                    <a:pt x="17" y="245"/>
                    <a:pt x="15" y="242"/>
                    <a:pt x="12" y="239"/>
                  </a:cubicBezTo>
                  <a:cubicBezTo>
                    <a:pt x="9" y="236"/>
                    <a:pt x="6" y="234"/>
                    <a:pt x="5" y="231"/>
                  </a:cubicBezTo>
                  <a:cubicBezTo>
                    <a:pt x="3" y="229"/>
                    <a:pt x="2" y="227"/>
                    <a:pt x="1" y="226"/>
                  </a:cubicBezTo>
                  <a:cubicBezTo>
                    <a:pt x="0" y="224"/>
                    <a:pt x="0" y="223"/>
                    <a:pt x="0" y="221"/>
                  </a:cubicBezTo>
                  <a:cubicBezTo>
                    <a:pt x="1" y="220"/>
                    <a:pt x="1" y="219"/>
                    <a:pt x="2" y="218"/>
                  </a:cubicBezTo>
                  <a:lnTo>
                    <a:pt x="214" y="7"/>
                  </a:lnTo>
                  <a:cubicBezTo>
                    <a:pt x="218" y="2"/>
                    <a:pt x="223" y="0"/>
                    <a:pt x="227" y="0"/>
                  </a:cubicBezTo>
                  <a:cubicBezTo>
                    <a:pt x="231" y="1"/>
                    <a:pt x="235" y="3"/>
                    <a:pt x="237" y="5"/>
                  </a:cubicBezTo>
                  <a:lnTo>
                    <a:pt x="340" y="108"/>
                  </a:lnTo>
                  <a:cubicBezTo>
                    <a:pt x="341" y="109"/>
                    <a:pt x="342" y="110"/>
                    <a:pt x="342" y="111"/>
                  </a:cubicBezTo>
                  <a:cubicBezTo>
                    <a:pt x="342" y="113"/>
                    <a:pt x="342" y="114"/>
                    <a:pt x="342" y="116"/>
                  </a:cubicBezTo>
                  <a:cubicBezTo>
                    <a:pt x="341" y="117"/>
                    <a:pt x="340" y="119"/>
                    <a:pt x="339" y="121"/>
                  </a:cubicBezTo>
                  <a:cubicBezTo>
                    <a:pt x="337" y="123"/>
                    <a:pt x="336" y="125"/>
                    <a:pt x="333" y="127"/>
                  </a:cubicBezTo>
                  <a:close/>
                  <a:moveTo>
                    <a:pt x="410" y="329"/>
                  </a:moveTo>
                  <a:cubicBezTo>
                    <a:pt x="407" y="332"/>
                    <a:pt x="405" y="334"/>
                    <a:pt x="403" y="335"/>
                  </a:cubicBezTo>
                  <a:cubicBezTo>
                    <a:pt x="401" y="337"/>
                    <a:pt x="400" y="338"/>
                    <a:pt x="398" y="339"/>
                  </a:cubicBezTo>
                  <a:cubicBezTo>
                    <a:pt x="397" y="340"/>
                    <a:pt x="396" y="340"/>
                    <a:pt x="395" y="340"/>
                  </a:cubicBezTo>
                  <a:cubicBezTo>
                    <a:pt x="394" y="340"/>
                    <a:pt x="393" y="339"/>
                    <a:pt x="392" y="338"/>
                  </a:cubicBezTo>
                  <a:cubicBezTo>
                    <a:pt x="391" y="338"/>
                    <a:pt x="390" y="336"/>
                    <a:pt x="389" y="334"/>
                  </a:cubicBezTo>
                  <a:cubicBezTo>
                    <a:pt x="388" y="332"/>
                    <a:pt x="387" y="330"/>
                    <a:pt x="386" y="328"/>
                  </a:cubicBezTo>
                  <a:cubicBezTo>
                    <a:pt x="385" y="326"/>
                    <a:pt x="383" y="323"/>
                    <a:pt x="382" y="321"/>
                  </a:cubicBezTo>
                  <a:cubicBezTo>
                    <a:pt x="380" y="318"/>
                    <a:pt x="378" y="316"/>
                    <a:pt x="376" y="313"/>
                  </a:cubicBezTo>
                  <a:cubicBezTo>
                    <a:pt x="373" y="310"/>
                    <a:pt x="369" y="308"/>
                    <a:pt x="365" y="306"/>
                  </a:cubicBezTo>
                  <a:cubicBezTo>
                    <a:pt x="361" y="305"/>
                    <a:pt x="356" y="304"/>
                    <a:pt x="350" y="303"/>
                  </a:cubicBezTo>
                  <a:cubicBezTo>
                    <a:pt x="345" y="303"/>
                    <a:pt x="338" y="303"/>
                    <a:pt x="330" y="304"/>
                  </a:cubicBezTo>
                  <a:cubicBezTo>
                    <a:pt x="322" y="305"/>
                    <a:pt x="313" y="307"/>
                    <a:pt x="302" y="309"/>
                  </a:cubicBezTo>
                  <a:lnTo>
                    <a:pt x="197" y="414"/>
                  </a:lnTo>
                  <a:cubicBezTo>
                    <a:pt x="196" y="415"/>
                    <a:pt x="195" y="415"/>
                    <a:pt x="194" y="416"/>
                  </a:cubicBezTo>
                  <a:cubicBezTo>
                    <a:pt x="193" y="416"/>
                    <a:pt x="192" y="416"/>
                    <a:pt x="190" y="415"/>
                  </a:cubicBezTo>
                  <a:cubicBezTo>
                    <a:pt x="189" y="414"/>
                    <a:pt x="187" y="413"/>
                    <a:pt x="185" y="412"/>
                  </a:cubicBezTo>
                  <a:cubicBezTo>
                    <a:pt x="183" y="410"/>
                    <a:pt x="180" y="408"/>
                    <a:pt x="177" y="405"/>
                  </a:cubicBezTo>
                  <a:cubicBezTo>
                    <a:pt x="174" y="402"/>
                    <a:pt x="172" y="399"/>
                    <a:pt x="170" y="397"/>
                  </a:cubicBezTo>
                  <a:cubicBezTo>
                    <a:pt x="169" y="395"/>
                    <a:pt x="168" y="393"/>
                    <a:pt x="167" y="392"/>
                  </a:cubicBezTo>
                  <a:cubicBezTo>
                    <a:pt x="166" y="390"/>
                    <a:pt x="166" y="389"/>
                    <a:pt x="166" y="388"/>
                  </a:cubicBezTo>
                  <a:cubicBezTo>
                    <a:pt x="167" y="387"/>
                    <a:pt x="167" y="386"/>
                    <a:pt x="168" y="385"/>
                  </a:cubicBezTo>
                  <a:lnTo>
                    <a:pt x="327" y="226"/>
                  </a:lnTo>
                  <a:cubicBezTo>
                    <a:pt x="328" y="225"/>
                    <a:pt x="329" y="224"/>
                    <a:pt x="330" y="224"/>
                  </a:cubicBezTo>
                  <a:cubicBezTo>
                    <a:pt x="331" y="224"/>
                    <a:pt x="333" y="224"/>
                    <a:pt x="334" y="224"/>
                  </a:cubicBezTo>
                  <a:cubicBezTo>
                    <a:pt x="336" y="225"/>
                    <a:pt x="337" y="226"/>
                    <a:pt x="339" y="227"/>
                  </a:cubicBezTo>
                  <a:cubicBezTo>
                    <a:pt x="341" y="229"/>
                    <a:pt x="343" y="231"/>
                    <a:pt x="346" y="233"/>
                  </a:cubicBezTo>
                  <a:cubicBezTo>
                    <a:pt x="349" y="236"/>
                    <a:pt x="351" y="238"/>
                    <a:pt x="352" y="240"/>
                  </a:cubicBezTo>
                  <a:cubicBezTo>
                    <a:pt x="354" y="242"/>
                    <a:pt x="355" y="244"/>
                    <a:pt x="355" y="245"/>
                  </a:cubicBezTo>
                  <a:cubicBezTo>
                    <a:pt x="356" y="247"/>
                    <a:pt x="356" y="248"/>
                    <a:pt x="355" y="249"/>
                  </a:cubicBezTo>
                  <a:cubicBezTo>
                    <a:pt x="355" y="250"/>
                    <a:pt x="355" y="251"/>
                    <a:pt x="354" y="252"/>
                  </a:cubicBezTo>
                  <a:lnTo>
                    <a:pt x="330" y="275"/>
                  </a:lnTo>
                  <a:cubicBezTo>
                    <a:pt x="341" y="273"/>
                    <a:pt x="350" y="272"/>
                    <a:pt x="358" y="272"/>
                  </a:cubicBezTo>
                  <a:cubicBezTo>
                    <a:pt x="366" y="272"/>
                    <a:pt x="373" y="272"/>
                    <a:pt x="379" y="273"/>
                  </a:cubicBezTo>
                  <a:cubicBezTo>
                    <a:pt x="384" y="274"/>
                    <a:pt x="389" y="276"/>
                    <a:pt x="394" y="279"/>
                  </a:cubicBezTo>
                  <a:cubicBezTo>
                    <a:pt x="398" y="281"/>
                    <a:pt x="402" y="284"/>
                    <a:pt x="405" y="288"/>
                  </a:cubicBezTo>
                  <a:cubicBezTo>
                    <a:pt x="407" y="289"/>
                    <a:pt x="408" y="291"/>
                    <a:pt x="410" y="293"/>
                  </a:cubicBezTo>
                  <a:cubicBezTo>
                    <a:pt x="412" y="295"/>
                    <a:pt x="414" y="298"/>
                    <a:pt x="415" y="300"/>
                  </a:cubicBezTo>
                  <a:cubicBezTo>
                    <a:pt x="417" y="303"/>
                    <a:pt x="418" y="305"/>
                    <a:pt x="419" y="307"/>
                  </a:cubicBezTo>
                  <a:cubicBezTo>
                    <a:pt x="420" y="310"/>
                    <a:pt x="421" y="312"/>
                    <a:pt x="421" y="313"/>
                  </a:cubicBezTo>
                  <a:cubicBezTo>
                    <a:pt x="421" y="314"/>
                    <a:pt x="421" y="315"/>
                    <a:pt x="421" y="316"/>
                  </a:cubicBezTo>
                  <a:cubicBezTo>
                    <a:pt x="421" y="317"/>
                    <a:pt x="420" y="318"/>
                    <a:pt x="419" y="319"/>
                  </a:cubicBezTo>
                  <a:cubicBezTo>
                    <a:pt x="419" y="320"/>
                    <a:pt x="418" y="321"/>
                    <a:pt x="416" y="323"/>
                  </a:cubicBezTo>
                  <a:cubicBezTo>
                    <a:pt x="415" y="324"/>
                    <a:pt x="413" y="326"/>
                    <a:pt x="410" y="329"/>
                  </a:cubicBezTo>
                  <a:close/>
                  <a:moveTo>
                    <a:pt x="412" y="629"/>
                  </a:moveTo>
                  <a:cubicBezTo>
                    <a:pt x="411" y="631"/>
                    <a:pt x="409" y="631"/>
                    <a:pt x="408" y="631"/>
                  </a:cubicBezTo>
                  <a:cubicBezTo>
                    <a:pt x="406" y="631"/>
                    <a:pt x="404" y="630"/>
                    <a:pt x="402" y="629"/>
                  </a:cubicBezTo>
                  <a:cubicBezTo>
                    <a:pt x="400" y="627"/>
                    <a:pt x="398" y="625"/>
                    <a:pt x="394" y="622"/>
                  </a:cubicBezTo>
                  <a:cubicBezTo>
                    <a:pt x="391" y="619"/>
                    <a:pt x="389" y="616"/>
                    <a:pt x="388" y="614"/>
                  </a:cubicBezTo>
                  <a:cubicBezTo>
                    <a:pt x="386" y="612"/>
                    <a:pt x="385" y="610"/>
                    <a:pt x="385" y="609"/>
                  </a:cubicBezTo>
                  <a:cubicBezTo>
                    <a:pt x="385" y="607"/>
                    <a:pt x="386" y="606"/>
                    <a:pt x="387" y="604"/>
                  </a:cubicBezTo>
                  <a:lnTo>
                    <a:pt x="403" y="588"/>
                  </a:lnTo>
                  <a:cubicBezTo>
                    <a:pt x="389" y="589"/>
                    <a:pt x="375" y="587"/>
                    <a:pt x="363" y="582"/>
                  </a:cubicBezTo>
                  <a:cubicBezTo>
                    <a:pt x="350" y="578"/>
                    <a:pt x="339" y="571"/>
                    <a:pt x="329" y="561"/>
                  </a:cubicBezTo>
                  <a:cubicBezTo>
                    <a:pt x="321" y="553"/>
                    <a:pt x="314" y="544"/>
                    <a:pt x="310" y="535"/>
                  </a:cubicBezTo>
                  <a:cubicBezTo>
                    <a:pt x="305" y="526"/>
                    <a:pt x="303" y="518"/>
                    <a:pt x="302" y="509"/>
                  </a:cubicBezTo>
                  <a:cubicBezTo>
                    <a:pt x="301" y="500"/>
                    <a:pt x="303" y="491"/>
                    <a:pt x="306" y="482"/>
                  </a:cubicBezTo>
                  <a:cubicBezTo>
                    <a:pt x="309" y="474"/>
                    <a:pt x="315" y="465"/>
                    <a:pt x="323" y="458"/>
                  </a:cubicBezTo>
                  <a:cubicBezTo>
                    <a:pt x="331" y="449"/>
                    <a:pt x="341" y="443"/>
                    <a:pt x="351" y="440"/>
                  </a:cubicBezTo>
                  <a:cubicBezTo>
                    <a:pt x="362" y="437"/>
                    <a:pt x="372" y="437"/>
                    <a:pt x="384" y="439"/>
                  </a:cubicBezTo>
                  <a:cubicBezTo>
                    <a:pt x="395" y="442"/>
                    <a:pt x="406" y="447"/>
                    <a:pt x="418" y="455"/>
                  </a:cubicBezTo>
                  <a:cubicBezTo>
                    <a:pt x="431" y="462"/>
                    <a:pt x="443" y="472"/>
                    <a:pt x="455" y="485"/>
                  </a:cubicBezTo>
                  <a:lnTo>
                    <a:pt x="477" y="507"/>
                  </a:lnTo>
                  <a:lnTo>
                    <a:pt x="489" y="494"/>
                  </a:lnTo>
                  <a:cubicBezTo>
                    <a:pt x="496" y="488"/>
                    <a:pt x="500" y="482"/>
                    <a:pt x="504" y="476"/>
                  </a:cubicBezTo>
                  <a:cubicBezTo>
                    <a:pt x="507" y="470"/>
                    <a:pt x="509" y="464"/>
                    <a:pt x="509" y="458"/>
                  </a:cubicBezTo>
                  <a:cubicBezTo>
                    <a:pt x="509" y="452"/>
                    <a:pt x="508" y="446"/>
                    <a:pt x="505" y="440"/>
                  </a:cubicBezTo>
                  <a:cubicBezTo>
                    <a:pt x="502" y="434"/>
                    <a:pt x="497" y="427"/>
                    <a:pt x="490" y="420"/>
                  </a:cubicBezTo>
                  <a:cubicBezTo>
                    <a:pt x="483" y="413"/>
                    <a:pt x="476" y="408"/>
                    <a:pt x="469" y="404"/>
                  </a:cubicBezTo>
                  <a:cubicBezTo>
                    <a:pt x="461" y="400"/>
                    <a:pt x="454" y="396"/>
                    <a:pt x="448" y="394"/>
                  </a:cubicBezTo>
                  <a:cubicBezTo>
                    <a:pt x="441" y="392"/>
                    <a:pt x="436" y="390"/>
                    <a:pt x="431" y="389"/>
                  </a:cubicBezTo>
                  <a:cubicBezTo>
                    <a:pt x="427" y="388"/>
                    <a:pt x="424" y="387"/>
                    <a:pt x="422" y="385"/>
                  </a:cubicBezTo>
                  <a:cubicBezTo>
                    <a:pt x="421" y="384"/>
                    <a:pt x="421" y="383"/>
                    <a:pt x="421" y="382"/>
                  </a:cubicBezTo>
                  <a:cubicBezTo>
                    <a:pt x="420" y="381"/>
                    <a:pt x="420" y="379"/>
                    <a:pt x="421" y="378"/>
                  </a:cubicBezTo>
                  <a:cubicBezTo>
                    <a:pt x="421" y="377"/>
                    <a:pt x="422" y="375"/>
                    <a:pt x="423" y="373"/>
                  </a:cubicBezTo>
                  <a:cubicBezTo>
                    <a:pt x="425" y="372"/>
                    <a:pt x="426" y="370"/>
                    <a:pt x="428" y="368"/>
                  </a:cubicBezTo>
                  <a:cubicBezTo>
                    <a:pt x="431" y="365"/>
                    <a:pt x="433" y="363"/>
                    <a:pt x="435" y="362"/>
                  </a:cubicBezTo>
                  <a:cubicBezTo>
                    <a:pt x="438" y="360"/>
                    <a:pt x="440" y="360"/>
                    <a:pt x="443" y="360"/>
                  </a:cubicBezTo>
                  <a:cubicBezTo>
                    <a:pt x="446" y="360"/>
                    <a:pt x="451" y="361"/>
                    <a:pt x="457" y="363"/>
                  </a:cubicBezTo>
                  <a:cubicBezTo>
                    <a:pt x="463" y="364"/>
                    <a:pt x="469" y="367"/>
                    <a:pt x="476" y="370"/>
                  </a:cubicBezTo>
                  <a:cubicBezTo>
                    <a:pt x="483" y="374"/>
                    <a:pt x="490" y="378"/>
                    <a:pt x="497" y="383"/>
                  </a:cubicBezTo>
                  <a:cubicBezTo>
                    <a:pt x="504" y="388"/>
                    <a:pt x="511" y="393"/>
                    <a:pt x="517" y="399"/>
                  </a:cubicBezTo>
                  <a:cubicBezTo>
                    <a:pt x="528" y="411"/>
                    <a:pt x="537" y="422"/>
                    <a:pt x="542" y="432"/>
                  </a:cubicBezTo>
                  <a:cubicBezTo>
                    <a:pt x="547" y="443"/>
                    <a:pt x="550" y="453"/>
                    <a:pt x="550" y="463"/>
                  </a:cubicBezTo>
                  <a:cubicBezTo>
                    <a:pt x="550" y="473"/>
                    <a:pt x="547" y="483"/>
                    <a:pt x="542" y="493"/>
                  </a:cubicBezTo>
                  <a:cubicBezTo>
                    <a:pt x="537" y="502"/>
                    <a:pt x="530" y="512"/>
                    <a:pt x="520" y="522"/>
                  </a:cubicBezTo>
                  <a:lnTo>
                    <a:pt x="412" y="629"/>
                  </a:lnTo>
                  <a:close/>
                  <a:moveTo>
                    <a:pt x="456" y="528"/>
                  </a:moveTo>
                  <a:lnTo>
                    <a:pt x="431" y="503"/>
                  </a:lnTo>
                  <a:cubicBezTo>
                    <a:pt x="423" y="495"/>
                    <a:pt x="415" y="488"/>
                    <a:pt x="408" y="484"/>
                  </a:cubicBezTo>
                  <a:cubicBezTo>
                    <a:pt x="401" y="479"/>
                    <a:pt x="394" y="476"/>
                    <a:pt x="387" y="475"/>
                  </a:cubicBezTo>
                  <a:cubicBezTo>
                    <a:pt x="381" y="474"/>
                    <a:pt x="375" y="474"/>
                    <a:pt x="369" y="476"/>
                  </a:cubicBezTo>
                  <a:cubicBezTo>
                    <a:pt x="364" y="478"/>
                    <a:pt x="359" y="481"/>
                    <a:pt x="354" y="486"/>
                  </a:cubicBezTo>
                  <a:cubicBezTo>
                    <a:pt x="346" y="495"/>
                    <a:pt x="342" y="504"/>
                    <a:pt x="342" y="514"/>
                  </a:cubicBezTo>
                  <a:cubicBezTo>
                    <a:pt x="342" y="524"/>
                    <a:pt x="347" y="534"/>
                    <a:pt x="357" y="543"/>
                  </a:cubicBezTo>
                  <a:cubicBezTo>
                    <a:pt x="364" y="551"/>
                    <a:pt x="373" y="556"/>
                    <a:pt x="384" y="559"/>
                  </a:cubicBezTo>
                  <a:cubicBezTo>
                    <a:pt x="394" y="561"/>
                    <a:pt x="407" y="562"/>
                    <a:pt x="422" y="561"/>
                  </a:cubicBezTo>
                  <a:lnTo>
                    <a:pt x="456" y="528"/>
                  </a:lnTo>
                  <a:close/>
                  <a:moveTo>
                    <a:pt x="599" y="816"/>
                  </a:moveTo>
                  <a:cubicBezTo>
                    <a:pt x="598" y="817"/>
                    <a:pt x="597" y="817"/>
                    <a:pt x="596" y="818"/>
                  </a:cubicBezTo>
                  <a:cubicBezTo>
                    <a:pt x="595" y="818"/>
                    <a:pt x="594" y="818"/>
                    <a:pt x="592" y="817"/>
                  </a:cubicBezTo>
                  <a:cubicBezTo>
                    <a:pt x="591" y="816"/>
                    <a:pt x="589" y="815"/>
                    <a:pt x="587" y="814"/>
                  </a:cubicBezTo>
                  <a:cubicBezTo>
                    <a:pt x="585" y="812"/>
                    <a:pt x="582" y="810"/>
                    <a:pt x="579" y="807"/>
                  </a:cubicBezTo>
                  <a:cubicBezTo>
                    <a:pt x="576" y="804"/>
                    <a:pt x="574" y="801"/>
                    <a:pt x="572" y="799"/>
                  </a:cubicBezTo>
                  <a:cubicBezTo>
                    <a:pt x="571" y="797"/>
                    <a:pt x="570" y="795"/>
                    <a:pt x="569" y="794"/>
                  </a:cubicBezTo>
                  <a:cubicBezTo>
                    <a:pt x="569" y="792"/>
                    <a:pt x="568" y="791"/>
                    <a:pt x="569" y="790"/>
                  </a:cubicBezTo>
                  <a:cubicBezTo>
                    <a:pt x="569" y="789"/>
                    <a:pt x="569" y="788"/>
                    <a:pt x="570" y="787"/>
                  </a:cubicBezTo>
                  <a:lnTo>
                    <a:pt x="663" y="694"/>
                  </a:lnTo>
                  <a:cubicBezTo>
                    <a:pt x="672" y="685"/>
                    <a:pt x="679" y="677"/>
                    <a:pt x="683" y="670"/>
                  </a:cubicBezTo>
                  <a:cubicBezTo>
                    <a:pt x="687" y="663"/>
                    <a:pt x="690" y="656"/>
                    <a:pt x="691" y="649"/>
                  </a:cubicBezTo>
                  <a:cubicBezTo>
                    <a:pt x="693" y="642"/>
                    <a:pt x="692" y="636"/>
                    <a:pt x="690" y="629"/>
                  </a:cubicBezTo>
                  <a:cubicBezTo>
                    <a:pt x="688" y="623"/>
                    <a:pt x="684" y="617"/>
                    <a:pt x="678" y="611"/>
                  </a:cubicBezTo>
                  <a:cubicBezTo>
                    <a:pt x="671" y="604"/>
                    <a:pt x="661" y="599"/>
                    <a:pt x="648" y="597"/>
                  </a:cubicBezTo>
                  <a:cubicBezTo>
                    <a:pt x="636" y="595"/>
                    <a:pt x="621" y="595"/>
                    <a:pt x="603" y="597"/>
                  </a:cubicBezTo>
                  <a:lnTo>
                    <a:pt x="492" y="708"/>
                  </a:lnTo>
                  <a:cubicBezTo>
                    <a:pt x="491" y="709"/>
                    <a:pt x="490" y="710"/>
                    <a:pt x="488" y="710"/>
                  </a:cubicBezTo>
                  <a:cubicBezTo>
                    <a:pt x="487" y="710"/>
                    <a:pt x="486" y="710"/>
                    <a:pt x="484" y="709"/>
                  </a:cubicBezTo>
                  <a:cubicBezTo>
                    <a:pt x="483" y="709"/>
                    <a:pt x="481" y="707"/>
                    <a:pt x="479" y="706"/>
                  </a:cubicBezTo>
                  <a:cubicBezTo>
                    <a:pt x="477" y="704"/>
                    <a:pt x="474" y="702"/>
                    <a:pt x="471" y="699"/>
                  </a:cubicBezTo>
                  <a:cubicBezTo>
                    <a:pt x="469" y="696"/>
                    <a:pt x="466" y="694"/>
                    <a:pt x="465" y="692"/>
                  </a:cubicBezTo>
                  <a:cubicBezTo>
                    <a:pt x="463" y="689"/>
                    <a:pt x="462" y="688"/>
                    <a:pt x="461" y="686"/>
                  </a:cubicBezTo>
                  <a:cubicBezTo>
                    <a:pt x="461" y="684"/>
                    <a:pt x="460" y="683"/>
                    <a:pt x="461" y="682"/>
                  </a:cubicBezTo>
                  <a:cubicBezTo>
                    <a:pt x="461" y="681"/>
                    <a:pt x="461" y="680"/>
                    <a:pt x="462" y="679"/>
                  </a:cubicBezTo>
                  <a:lnTo>
                    <a:pt x="621" y="520"/>
                  </a:lnTo>
                  <a:cubicBezTo>
                    <a:pt x="622" y="519"/>
                    <a:pt x="623" y="518"/>
                    <a:pt x="624" y="518"/>
                  </a:cubicBezTo>
                  <a:cubicBezTo>
                    <a:pt x="625" y="518"/>
                    <a:pt x="627" y="518"/>
                    <a:pt x="628" y="518"/>
                  </a:cubicBezTo>
                  <a:cubicBezTo>
                    <a:pt x="630" y="519"/>
                    <a:pt x="632" y="520"/>
                    <a:pt x="633" y="521"/>
                  </a:cubicBezTo>
                  <a:cubicBezTo>
                    <a:pt x="635" y="523"/>
                    <a:pt x="637" y="525"/>
                    <a:pt x="640" y="528"/>
                  </a:cubicBezTo>
                  <a:cubicBezTo>
                    <a:pt x="643" y="530"/>
                    <a:pt x="645" y="532"/>
                    <a:pt x="646" y="534"/>
                  </a:cubicBezTo>
                  <a:cubicBezTo>
                    <a:pt x="648" y="536"/>
                    <a:pt x="649" y="538"/>
                    <a:pt x="649" y="539"/>
                  </a:cubicBezTo>
                  <a:cubicBezTo>
                    <a:pt x="650" y="541"/>
                    <a:pt x="650" y="542"/>
                    <a:pt x="650" y="543"/>
                  </a:cubicBezTo>
                  <a:cubicBezTo>
                    <a:pt x="649" y="544"/>
                    <a:pt x="649" y="545"/>
                    <a:pt x="648" y="546"/>
                  </a:cubicBezTo>
                  <a:lnTo>
                    <a:pt x="627" y="567"/>
                  </a:lnTo>
                  <a:cubicBezTo>
                    <a:pt x="646" y="566"/>
                    <a:pt x="662" y="568"/>
                    <a:pt x="676" y="572"/>
                  </a:cubicBezTo>
                  <a:cubicBezTo>
                    <a:pt x="689" y="576"/>
                    <a:pt x="700" y="583"/>
                    <a:pt x="709" y="592"/>
                  </a:cubicBezTo>
                  <a:cubicBezTo>
                    <a:pt x="720" y="603"/>
                    <a:pt x="727" y="613"/>
                    <a:pt x="731" y="624"/>
                  </a:cubicBezTo>
                  <a:cubicBezTo>
                    <a:pt x="735" y="635"/>
                    <a:pt x="736" y="646"/>
                    <a:pt x="734" y="656"/>
                  </a:cubicBezTo>
                  <a:cubicBezTo>
                    <a:pt x="733" y="667"/>
                    <a:pt x="729" y="677"/>
                    <a:pt x="723" y="687"/>
                  </a:cubicBezTo>
                  <a:cubicBezTo>
                    <a:pt x="716" y="697"/>
                    <a:pt x="708" y="708"/>
                    <a:pt x="696" y="719"/>
                  </a:cubicBezTo>
                  <a:lnTo>
                    <a:pt x="599" y="816"/>
                  </a:lnTo>
                  <a:close/>
                  <a:moveTo>
                    <a:pt x="786" y="1002"/>
                  </a:moveTo>
                  <a:cubicBezTo>
                    <a:pt x="785" y="1003"/>
                    <a:pt x="783" y="1003"/>
                    <a:pt x="782" y="1004"/>
                  </a:cubicBezTo>
                  <a:cubicBezTo>
                    <a:pt x="781" y="1004"/>
                    <a:pt x="780" y="1004"/>
                    <a:pt x="778" y="1003"/>
                  </a:cubicBezTo>
                  <a:cubicBezTo>
                    <a:pt x="777" y="1002"/>
                    <a:pt x="775" y="1001"/>
                    <a:pt x="772" y="999"/>
                  </a:cubicBezTo>
                  <a:cubicBezTo>
                    <a:pt x="770" y="998"/>
                    <a:pt x="768" y="995"/>
                    <a:pt x="764" y="992"/>
                  </a:cubicBezTo>
                  <a:cubicBezTo>
                    <a:pt x="761" y="989"/>
                    <a:pt x="759" y="986"/>
                    <a:pt x="757" y="984"/>
                  </a:cubicBezTo>
                  <a:cubicBezTo>
                    <a:pt x="755" y="982"/>
                    <a:pt x="754" y="980"/>
                    <a:pt x="753" y="978"/>
                  </a:cubicBezTo>
                  <a:cubicBezTo>
                    <a:pt x="752" y="976"/>
                    <a:pt x="751" y="974"/>
                    <a:pt x="751" y="973"/>
                  </a:cubicBezTo>
                  <a:cubicBezTo>
                    <a:pt x="751" y="971"/>
                    <a:pt x="751" y="969"/>
                    <a:pt x="751" y="967"/>
                  </a:cubicBezTo>
                  <a:lnTo>
                    <a:pt x="772" y="812"/>
                  </a:lnTo>
                  <a:lnTo>
                    <a:pt x="684" y="900"/>
                  </a:lnTo>
                  <a:cubicBezTo>
                    <a:pt x="683" y="901"/>
                    <a:pt x="682" y="902"/>
                    <a:pt x="681" y="902"/>
                  </a:cubicBezTo>
                  <a:cubicBezTo>
                    <a:pt x="680" y="902"/>
                    <a:pt x="678" y="902"/>
                    <a:pt x="677" y="902"/>
                  </a:cubicBezTo>
                  <a:cubicBezTo>
                    <a:pt x="675" y="901"/>
                    <a:pt x="673" y="900"/>
                    <a:pt x="671" y="898"/>
                  </a:cubicBezTo>
                  <a:cubicBezTo>
                    <a:pt x="669" y="897"/>
                    <a:pt x="667" y="894"/>
                    <a:pt x="664" y="891"/>
                  </a:cubicBezTo>
                  <a:cubicBezTo>
                    <a:pt x="661" y="888"/>
                    <a:pt x="659" y="886"/>
                    <a:pt x="657" y="884"/>
                  </a:cubicBezTo>
                  <a:cubicBezTo>
                    <a:pt x="655" y="882"/>
                    <a:pt x="654" y="880"/>
                    <a:pt x="654" y="878"/>
                  </a:cubicBezTo>
                  <a:cubicBezTo>
                    <a:pt x="653" y="877"/>
                    <a:pt x="653" y="875"/>
                    <a:pt x="653" y="874"/>
                  </a:cubicBezTo>
                  <a:cubicBezTo>
                    <a:pt x="653" y="873"/>
                    <a:pt x="654" y="872"/>
                    <a:pt x="655" y="871"/>
                  </a:cubicBezTo>
                  <a:lnTo>
                    <a:pt x="891" y="635"/>
                  </a:lnTo>
                  <a:cubicBezTo>
                    <a:pt x="892" y="634"/>
                    <a:pt x="893" y="634"/>
                    <a:pt x="894" y="633"/>
                  </a:cubicBezTo>
                  <a:cubicBezTo>
                    <a:pt x="895" y="633"/>
                    <a:pt x="896" y="633"/>
                    <a:pt x="898" y="634"/>
                  </a:cubicBezTo>
                  <a:cubicBezTo>
                    <a:pt x="900" y="634"/>
                    <a:pt x="901" y="636"/>
                    <a:pt x="904" y="637"/>
                  </a:cubicBezTo>
                  <a:cubicBezTo>
                    <a:pt x="906" y="639"/>
                    <a:pt x="908" y="641"/>
                    <a:pt x="911" y="644"/>
                  </a:cubicBezTo>
                  <a:cubicBezTo>
                    <a:pt x="914" y="647"/>
                    <a:pt x="916" y="649"/>
                    <a:pt x="918" y="652"/>
                  </a:cubicBezTo>
                  <a:cubicBezTo>
                    <a:pt x="920" y="654"/>
                    <a:pt x="921" y="656"/>
                    <a:pt x="921" y="657"/>
                  </a:cubicBezTo>
                  <a:cubicBezTo>
                    <a:pt x="922" y="659"/>
                    <a:pt x="922" y="660"/>
                    <a:pt x="922" y="661"/>
                  </a:cubicBezTo>
                  <a:cubicBezTo>
                    <a:pt x="922" y="662"/>
                    <a:pt x="921" y="663"/>
                    <a:pt x="920" y="664"/>
                  </a:cubicBezTo>
                  <a:lnTo>
                    <a:pt x="776" y="808"/>
                  </a:lnTo>
                  <a:lnTo>
                    <a:pt x="902" y="802"/>
                  </a:lnTo>
                  <a:cubicBezTo>
                    <a:pt x="904" y="802"/>
                    <a:pt x="906" y="802"/>
                    <a:pt x="908" y="802"/>
                  </a:cubicBezTo>
                  <a:cubicBezTo>
                    <a:pt x="910" y="803"/>
                    <a:pt x="912" y="803"/>
                    <a:pt x="914" y="804"/>
                  </a:cubicBezTo>
                  <a:cubicBezTo>
                    <a:pt x="916" y="805"/>
                    <a:pt x="918" y="806"/>
                    <a:pt x="920" y="808"/>
                  </a:cubicBezTo>
                  <a:cubicBezTo>
                    <a:pt x="922" y="810"/>
                    <a:pt x="925" y="812"/>
                    <a:pt x="928" y="815"/>
                  </a:cubicBezTo>
                  <a:cubicBezTo>
                    <a:pt x="931" y="818"/>
                    <a:pt x="933" y="821"/>
                    <a:pt x="935" y="823"/>
                  </a:cubicBezTo>
                  <a:cubicBezTo>
                    <a:pt x="937" y="825"/>
                    <a:pt x="938" y="827"/>
                    <a:pt x="939" y="829"/>
                  </a:cubicBezTo>
                  <a:cubicBezTo>
                    <a:pt x="940" y="830"/>
                    <a:pt x="940" y="832"/>
                    <a:pt x="940" y="833"/>
                  </a:cubicBezTo>
                  <a:cubicBezTo>
                    <a:pt x="940" y="834"/>
                    <a:pt x="939" y="835"/>
                    <a:pt x="938" y="836"/>
                  </a:cubicBezTo>
                  <a:cubicBezTo>
                    <a:pt x="937" y="838"/>
                    <a:pt x="935" y="839"/>
                    <a:pt x="933" y="839"/>
                  </a:cubicBezTo>
                  <a:cubicBezTo>
                    <a:pt x="931" y="840"/>
                    <a:pt x="928" y="840"/>
                    <a:pt x="924" y="841"/>
                  </a:cubicBezTo>
                  <a:lnTo>
                    <a:pt x="809" y="841"/>
                  </a:lnTo>
                  <a:lnTo>
                    <a:pt x="790" y="989"/>
                  </a:lnTo>
                  <a:cubicBezTo>
                    <a:pt x="789" y="993"/>
                    <a:pt x="789" y="995"/>
                    <a:pt x="788" y="997"/>
                  </a:cubicBezTo>
                  <a:cubicBezTo>
                    <a:pt x="787" y="999"/>
                    <a:pt x="787" y="1001"/>
                    <a:pt x="786" y="1002"/>
                  </a:cubicBezTo>
                  <a:close/>
                  <a:moveTo>
                    <a:pt x="1136" y="904"/>
                  </a:moveTo>
                  <a:cubicBezTo>
                    <a:pt x="1134" y="906"/>
                    <a:pt x="1132" y="908"/>
                    <a:pt x="1130" y="909"/>
                  </a:cubicBezTo>
                  <a:cubicBezTo>
                    <a:pt x="1129" y="910"/>
                    <a:pt x="1127" y="911"/>
                    <a:pt x="1126" y="911"/>
                  </a:cubicBezTo>
                  <a:cubicBezTo>
                    <a:pt x="1125" y="912"/>
                    <a:pt x="1124" y="912"/>
                    <a:pt x="1123" y="912"/>
                  </a:cubicBezTo>
                  <a:cubicBezTo>
                    <a:pt x="1123" y="912"/>
                    <a:pt x="1122" y="911"/>
                    <a:pt x="1121" y="910"/>
                  </a:cubicBezTo>
                  <a:cubicBezTo>
                    <a:pt x="1120" y="910"/>
                    <a:pt x="1120" y="908"/>
                    <a:pt x="1119" y="906"/>
                  </a:cubicBezTo>
                  <a:cubicBezTo>
                    <a:pt x="1118" y="905"/>
                    <a:pt x="1117" y="903"/>
                    <a:pt x="1116" y="900"/>
                  </a:cubicBezTo>
                  <a:cubicBezTo>
                    <a:pt x="1115" y="898"/>
                    <a:pt x="1114" y="895"/>
                    <a:pt x="1112" y="892"/>
                  </a:cubicBezTo>
                  <a:cubicBezTo>
                    <a:pt x="1110" y="889"/>
                    <a:pt x="1107" y="886"/>
                    <a:pt x="1104" y="883"/>
                  </a:cubicBezTo>
                  <a:cubicBezTo>
                    <a:pt x="1100" y="879"/>
                    <a:pt x="1095" y="876"/>
                    <a:pt x="1091" y="874"/>
                  </a:cubicBezTo>
                  <a:cubicBezTo>
                    <a:pt x="1086" y="872"/>
                    <a:pt x="1082" y="872"/>
                    <a:pt x="1077" y="873"/>
                  </a:cubicBezTo>
                  <a:cubicBezTo>
                    <a:pt x="1072" y="874"/>
                    <a:pt x="1067" y="877"/>
                    <a:pt x="1061" y="881"/>
                  </a:cubicBezTo>
                  <a:cubicBezTo>
                    <a:pt x="1055" y="885"/>
                    <a:pt x="1049" y="890"/>
                    <a:pt x="1042" y="897"/>
                  </a:cubicBezTo>
                  <a:lnTo>
                    <a:pt x="1025" y="914"/>
                  </a:lnTo>
                  <a:lnTo>
                    <a:pt x="1061" y="950"/>
                  </a:lnTo>
                  <a:cubicBezTo>
                    <a:pt x="1062" y="951"/>
                    <a:pt x="1062" y="952"/>
                    <a:pt x="1062" y="953"/>
                  </a:cubicBezTo>
                  <a:cubicBezTo>
                    <a:pt x="1063" y="954"/>
                    <a:pt x="1062" y="955"/>
                    <a:pt x="1062" y="957"/>
                  </a:cubicBezTo>
                  <a:cubicBezTo>
                    <a:pt x="1062" y="958"/>
                    <a:pt x="1061" y="960"/>
                    <a:pt x="1059" y="962"/>
                  </a:cubicBezTo>
                  <a:cubicBezTo>
                    <a:pt x="1058" y="964"/>
                    <a:pt x="1056" y="966"/>
                    <a:pt x="1054" y="968"/>
                  </a:cubicBezTo>
                  <a:cubicBezTo>
                    <a:pt x="1050" y="972"/>
                    <a:pt x="1046" y="975"/>
                    <a:pt x="1043" y="975"/>
                  </a:cubicBezTo>
                  <a:cubicBezTo>
                    <a:pt x="1040" y="976"/>
                    <a:pt x="1038" y="976"/>
                    <a:pt x="1036" y="974"/>
                  </a:cubicBezTo>
                  <a:lnTo>
                    <a:pt x="1001" y="938"/>
                  </a:lnTo>
                  <a:lnTo>
                    <a:pt x="861" y="1078"/>
                  </a:lnTo>
                  <a:cubicBezTo>
                    <a:pt x="860" y="1079"/>
                    <a:pt x="859" y="1079"/>
                    <a:pt x="858" y="1080"/>
                  </a:cubicBezTo>
                  <a:cubicBezTo>
                    <a:pt x="857" y="1080"/>
                    <a:pt x="856" y="1080"/>
                    <a:pt x="854" y="1079"/>
                  </a:cubicBezTo>
                  <a:cubicBezTo>
                    <a:pt x="853" y="1078"/>
                    <a:pt x="851" y="1077"/>
                    <a:pt x="849" y="1075"/>
                  </a:cubicBezTo>
                  <a:cubicBezTo>
                    <a:pt x="846" y="1074"/>
                    <a:pt x="844" y="1072"/>
                    <a:pt x="841" y="1069"/>
                  </a:cubicBezTo>
                  <a:cubicBezTo>
                    <a:pt x="838" y="1066"/>
                    <a:pt x="836" y="1063"/>
                    <a:pt x="834" y="1061"/>
                  </a:cubicBezTo>
                  <a:cubicBezTo>
                    <a:pt x="833" y="1059"/>
                    <a:pt x="832" y="1057"/>
                    <a:pt x="831" y="1056"/>
                  </a:cubicBezTo>
                  <a:cubicBezTo>
                    <a:pt x="830" y="1054"/>
                    <a:pt x="830" y="1053"/>
                    <a:pt x="830" y="1052"/>
                  </a:cubicBezTo>
                  <a:cubicBezTo>
                    <a:pt x="830" y="1051"/>
                    <a:pt x="831" y="1050"/>
                    <a:pt x="832" y="1049"/>
                  </a:cubicBezTo>
                  <a:lnTo>
                    <a:pt x="971" y="909"/>
                  </a:lnTo>
                  <a:lnTo>
                    <a:pt x="949" y="887"/>
                  </a:lnTo>
                  <a:cubicBezTo>
                    <a:pt x="947" y="885"/>
                    <a:pt x="947" y="882"/>
                    <a:pt x="948" y="880"/>
                  </a:cubicBezTo>
                  <a:cubicBezTo>
                    <a:pt x="949" y="877"/>
                    <a:pt x="951" y="873"/>
                    <a:pt x="955" y="869"/>
                  </a:cubicBezTo>
                  <a:cubicBezTo>
                    <a:pt x="958" y="867"/>
                    <a:pt x="960" y="865"/>
                    <a:pt x="961" y="864"/>
                  </a:cubicBezTo>
                  <a:cubicBezTo>
                    <a:pt x="963" y="862"/>
                    <a:pt x="965" y="861"/>
                    <a:pt x="966" y="861"/>
                  </a:cubicBezTo>
                  <a:cubicBezTo>
                    <a:pt x="968" y="860"/>
                    <a:pt x="969" y="860"/>
                    <a:pt x="970" y="861"/>
                  </a:cubicBezTo>
                  <a:cubicBezTo>
                    <a:pt x="971" y="861"/>
                    <a:pt x="972" y="862"/>
                    <a:pt x="973" y="862"/>
                  </a:cubicBezTo>
                  <a:lnTo>
                    <a:pt x="996" y="885"/>
                  </a:lnTo>
                  <a:lnTo>
                    <a:pt x="1012" y="868"/>
                  </a:lnTo>
                  <a:cubicBezTo>
                    <a:pt x="1023" y="857"/>
                    <a:pt x="1034" y="849"/>
                    <a:pt x="1044" y="843"/>
                  </a:cubicBezTo>
                  <a:cubicBezTo>
                    <a:pt x="1054" y="837"/>
                    <a:pt x="1063" y="834"/>
                    <a:pt x="1073" y="833"/>
                  </a:cubicBezTo>
                  <a:cubicBezTo>
                    <a:pt x="1082" y="832"/>
                    <a:pt x="1091" y="834"/>
                    <a:pt x="1100" y="838"/>
                  </a:cubicBezTo>
                  <a:cubicBezTo>
                    <a:pt x="1109" y="842"/>
                    <a:pt x="1118" y="848"/>
                    <a:pt x="1126" y="857"/>
                  </a:cubicBezTo>
                  <a:cubicBezTo>
                    <a:pt x="1130" y="861"/>
                    <a:pt x="1134" y="865"/>
                    <a:pt x="1137" y="870"/>
                  </a:cubicBezTo>
                  <a:cubicBezTo>
                    <a:pt x="1140" y="875"/>
                    <a:pt x="1143" y="878"/>
                    <a:pt x="1144" y="881"/>
                  </a:cubicBezTo>
                  <a:cubicBezTo>
                    <a:pt x="1145" y="884"/>
                    <a:pt x="1146" y="887"/>
                    <a:pt x="1146" y="888"/>
                  </a:cubicBezTo>
                  <a:cubicBezTo>
                    <a:pt x="1146" y="890"/>
                    <a:pt x="1145" y="891"/>
                    <a:pt x="1145" y="893"/>
                  </a:cubicBezTo>
                  <a:cubicBezTo>
                    <a:pt x="1144" y="894"/>
                    <a:pt x="1143" y="896"/>
                    <a:pt x="1142" y="898"/>
                  </a:cubicBezTo>
                  <a:cubicBezTo>
                    <a:pt x="1140" y="899"/>
                    <a:pt x="1138" y="901"/>
                    <a:pt x="1136" y="904"/>
                  </a:cubicBezTo>
                  <a:close/>
                  <a:moveTo>
                    <a:pt x="1063" y="1279"/>
                  </a:moveTo>
                  <a:cubicBezTo>
                    <a:pt x="1062" y="1280"/>
                    <a:pt x="1061" y="1281"/>
                    <a:pt x="1060" y="1281"/>
                  </a:cubicBezTo>
                  <a:cubicBezTo>
                    <a:pt x="1058" y="1281"/>
                    <a:pt x="1057" y="1281"/>
                    <a:pt x="1056" y="1280"/>
                  </a:cubicBezTo>
                  <a:cubicBezTo>
                    <a:pt x="1054" y="1280"/>
                    <a:pt x="1052" y="1279"/>
                    <a:pt x="1050" y="1277"/>
                  </a:cubicBezTo>
                  <a:cubicBezTo>
                    <a:pt x="1048" y="1276"/>
                    <a:pt x="1046" y="1274"/>
                    <a:pt x="1044" y="1271"/>
                  </a:cubicBezTo>
                  <a:cubicBezTo>
                    <a:pt x="1041" y="1269"/>
                    <a:pt x="1039" y="1266"/>
                    <a:pt x="1037" y="1264"/>
                  </a:cubicBezTo>
                  <a:cubicBezTo>
                    <a:pt x="1036" y="1262"/>
                    <a:pt x="1035" y="1261"/>
                    <a:pt x="1034" y="1259"/>
                  </a:cubicBezTo>
                  <a:cubicBezTo>
                    <a:pt x="1034" y="1258"/>
                    <a:pt x="1034" y="1257"/>
                    <a:pt x="1034" y="1256"/>
                  </a:cubicBezTo>
                  <a:cubicBezTo>
                    <a:pt x="1034" y="1255"/>
                    <a:pt x="1035" y="1254"/>
                    <a:pt x="1036" y="1253"/>
                  </a:cubicBezTo>
                  <a:lnTo>
                    <a:pt x="1057" y="1232"/>
                  </a:lnTo>
                  <a:cubicBezTo>
                    <a:pt x="1038" y="1233"/>
                    <a:pt x="1022" y="1231"/>
                    <a:pt x="1008" y="1227"/>
                  </a:cubicBezTo>
                  <a:cubicBezTo>
                    <a:pt x="995" y="1222"/>
                    <a:pt x="984" y="1216"/>
                    <a:pt x="974" y="1207"/>
                  </a:cubicBezTo>
                  <a:cubicBezTo>
                    <a:pt x="964" y="1196"/>
                    <a:pt x="957" y="1185"/>
                    <a:pt x="953" y="1175"/>
                  </a:cubicBezTo>
                  <a:cubicBezTo>
                    <a:pt x="949" y="1164"/>
                    <a:pt x="948" y="1153"/>
                    <a:pt x="950" y="1143"/>
                  </a:cubicBezTo>
                  <a:cubicBezTo>
                    <a:pt x="951" y="1132"/>
                    <a:pt x="955" y="1122"/>
                    <a:pt x="961" y="1112"/>
                  </a:cubicBezTo>
                  <a:cubicBezTo>
                    <a:pt x="968" y="1102"/>
                    <a:pt x="976" y="1091"/>
                    <a:pt x="988" y="1079"/>
                  </a:cubicBezTo>
                  <a:lnTo>
                    <a:pt x="1084" y="983"/>
                  </a:lnTo>
                  <a:cubicBezTo>
                    <a:pt x="1085" y="982"/>
                    <a:pt x="1086" y="981"/>
                    <a:pt x="1087" y="981"/>
                  </a:cubicBezTo>
                  <a:cubicBezTo>
                    <a:pt x="1088" y="981"/>
                    <a:pt x="1090" y="981"/>
                    <a:pt x="1092" y="982"/>
                  </a:cubicBezTo>
                  <a:cubicBezTo>
                    <a:pt x="1093" y="982"/>
                    <a:pt x="1095" y="984"/>
                    <a:pt x="1097" y="985"/>
                  </a:cubicBezTo>
                  <a:cubicBezTo>
                    <a:pt x="1099" y="987"/>
                    <a:pt x="1102" y="989"/>
                    <a:pt x="1105" y="992"/>
                  </a:cubicBezTo>
                  <a:cubicBezTo>
                    <a:pt x="1107" y="995"/>
                    <a:pt x="1110" y="997"/>
                    <a:pt x="1111" y="999"/>
                  </a:cubicBezTo>
                  <a:cubicBezTo>
                    <a:pt x="1113" y="1001"/>
                    <a:pt x="1114" y="1003"/>
                    <a:pt x="1115" y="1005"/>
                  </a:cubicBezTo>
                  <a:cubicBezTo>
                    <a:pt x="1115" y="1007"/>
                    <a:pt x="1116" y="1008"/>
                    <a:pt x="1115" y="1009"/>
                  </a:cubicBezTo>
                  <a:cubicBezTo>
                    <a:pt x="1115" y="1010"/>
                    <a:pt x="1115" y="1011"/>
                    <a:pt x="1114" y="1012"/>
                  </a:cubicBezTo>
                  <a:lnTo>
                    <a:pt x="1021" y="1105"/>
                  </a:lnTo>
                  <a:cubicBezTo>
                    <a:pt x="1012" y="1114"/>
                    <a:pt x="1005" y="1122"/>
                    <a:pt x="1001" y="1129"/>
                  </a:cubicBezTo>
                  <a:cubicBezTo>
                    <a:pt x="997" y="1136"/>
                    <a:pt x="994" y="1143"/>
                    <a:pt x="993" y="1150"/>
                  </a:cubicBezTo>
                  <a:cubicBezTo>
                    <a:pt x="992" y="1156"/>
                    <a:pt x="992" y="1163"/>
                    <a:pt x="994" y="1169"/>
                  </a:cubicBezTo>
                  <a:cubicBezTo>
                    <a:pt x="996" y="1176"/>
                    <a:pt x="1000" y="1182"/>
                    <a:pt x="1006" y="1188"/>
                  </a:cubicBezTo>
                  <a:cubicBezTo>
                    <a:pt x="1013" y="1195"/>
                    <a:pt x="1023" y="1200"/>
                    <a:pt x="1035" y="1202"/>
                  </a:cubicBezTo>
                  <a:cubicBezTo>
                    <a:pt x="1048" y="1204"/>
                    <a:pt x="1063" y="1204"/>
                    <a:pt x="1081" y="1202"/>
                  </a:cubicBezTo>
                  <a:lnTo>
                    <a:pt x="1192" y="1091"/>
                  </a:lnTo>
                  <a:cubicBezTo>
                    <a:pt x="1193" y="1090"/>
                    <a:pt x="1194" y="1089"/>
                    <a:pt x="1195" y="1089"/>
                  </a:cubicBezTo>
                  <a:cubicBezTo>
                    <a:pt x="1196" y="1089"/>
                    <a:pt x="1198" y="1089"/>
                    <a:pt x="1199" y="1090"/>
                  </a:cubicBezTo>
                  <a:cubicBezTo>
                    <a:pt x="1201" y="1090"/>
                    <a:pt x="1203" y="1091"/>
                    <a:pt x="1205" y="1093"/>
                  </a:cubicBezTo>
                  <a:cubicBezTo>
                    <a:pt x="1207" y="1095"/>
                    <a:pt x="1209" y="1097"/>
                    <a:pt x="1212" y="1100"/>
                  </a:cubicBezTo>
                  <a:cubicBezTo>
                    <a:pt x="1215" y="1103"/>
                    <a:pt x="1218" y="1105"/>
                    <a:pt x="1219" y="1107"/>
                  </a:cubicBezTo>
                  <a:cubicBezTo>
                    <a:pt x="1221" y="1109"/>
                    <a:pt x="1222" y="1111"/>
                    <a:pt x="1223" y="1113"/>
                  </a:cubicBezTo>
                  <a:cubicBezTo>
                    <a:pt x="1223" y="1114"/>
                    <a:pt x="1223" y="1116"/>
                    <a:pt x="1223" y="1117"/>
                  </a:cubicBezTo>
                  <a:cubicBezTo>
                    <a:pt x="1223" y="1118"/>
                    <a:pt x="1223" y="1119"/>
                    <a:pt x="1222" y="1120"/>
                  </a:cubicBezTo>
                  <a:lnTo>
                    <a:pt x="1063" y="1279"/>
                  </a:lnTo>
                  <a:close/>
                  <a:moveTo>
                    <a:pt x="1360" y="1279"/>
                  </a:moveTo>
                  <a:cubicBezTo>
                    <a:pt x="1358" y="1282"/>
                    <a:pt x="1355" y="1284"/>
                    <a:pt x="1353" y="1286"/>
                  </a:cubicBezTo>
                  <a:cubicBezTo>
                    <a:pt x="1352" y="1287"/>
                    <a:pt x="1350" y="1289"/>
                    <a:pt x="1349" y="1289"/>
                  </a:cubicBezTo>
                  <a:cubicBezTo>
                    <a:pt x="1347" y="1290"/>
                    <a:pt x="1346" y="1290"/>
                    <a:pt x="1345" y="1290"/>
                  </a:cubicBezTo>
                  <a:cubicBezTo>
                    <a:pt x="1344" y="1290"/>
                    <a:pt x="1343" y="1290"/>
                    <a:pt x="1342" y="1289"/>
                  </a:cubicBezTo>
                  <a:cubicBezTo>
                    <a:pt x="1341" y="1288"/>
                    <a:pt x="1340" y="1286"/>
                    <a:pt x="1339" y="1285"/>
                  </a:cubicBezTo>
                  <a:cubicBezTo>
                    <a:pt x="1339" y="1283"/>
                    <a:pt x="1338" y="1281"/>
                    <a:pt x="1336" y="1278"/>
                  </a:cubicBezTo>
                  <a:cubicBezTo>
                    <a:pt x="1335" y="1276"/>
                    <a:pt x="1334" y="1274"/>
                    <a:pt x="1332" y="1271"/>
                  </a:cubicBezTo>
                  <a:cubicBezTo>
                    <a:pt x="1330" y="1269"/>
                    <a:pt x="1328" y="1266"/>
                    <a:pt x="1326" y="1264"/>
                  </a:cubicBezTo>
                  <a:cubicBezTo>
                    <a:pt x="1323" y="1261"/>
                    <a:pt x="1319" y="1258"/>
                    <a:pt x="1315" y="1257"/>
                  </a:cubicBezTo>
                  <a:cubicBezTo>
                    <a:pt x="1311" y="1255"/>
                    <a:pt x="1307" y="1254"/>
                    <a:pt x="1301" y="1254"/>
                  </a:cubicBezTo>
                  <a:cubicBezTo>
                    <a:pt x="1295" y="1253"/>
                    <a:pt x="1288" y="1253"/>
                    <a:pt x="1280" y="1255"/>
                  </a:cubicBezTo>
                  <a:cubicBezTo>
                    <a:pt x="1272" y="1256"/>
                    <a:pt x="1263" y="1257"/>
                    <a:pt x="1252" y="1260"/>
                  </a:cubicBezTo>
                  <a:lnTo>
                    <a:pt x="1148" y="1364"/>
                  </a:lnTo>
                  <a:cubicBezTo>
                    <a:pt x="1147" y="1365"/>
                    <a:pt x="1146" y="1366"/>
                    <a:pt x="1145" y="1366"/>
                  </a:cubicBezTo>
                  <a:cubicBezTo>
                    <a:pt x="1144" y="1366"/>
                    <a:pt x="1142" y="1366"/>
                    <a:pt x="1141" y="1365"/>
                  </a:cubicBezTo>
                  <a:cubicBezTo>
                    <a:pt x="1139" y="1365"/>
                    <a:pt x="1137" y="1364"/>
                    <a:pt x="1135" y="1362"/>
                  </a:cubicBezTo>
                  <a:cubicBezTo>
                    <a:pt x="1133" y="1360"/>
                    <a:pt x="1131" y="1358"/>
                    <a:pt x="1128" y="1355"/>
                  </a:cubicBezTo>
                  <a:cubicBezTo>
                    <a:pt x="1125" y="1352"/>
                    <a:pt x="1122" y="1350"/>
                    <a:pt x="1121" y="1348"/>
                  </a:cubicBezTo>
                  <a:cubicBezTo>
                    <a:pt x="1119" y="1346"/>
                    <a:pt x="1118" y="1344"/>
                    <a:pt x="1117" y="1342"/>
                  </a:cubicBezTo>
                  <a:cubicBezTo>
                    <a:pt x="1117" y="1341"/>
                    <a:pt x="1117" y="1339"/>
                    <a:pt x="1117" y="1338"/>
                  </a:cubicBezTo>
                  <a:cubicBezTo>
                    <a:pt x="1117" y="1337"/>
                    <a:pt x="1118" y="1336"/>
                    <a:pt x="1119" y="1335"/>
                  </a:cubicBezTo>
                  <a:lnTo>
                    <a:pt x="1278" y="1176"/>
                  </a:lnTo>
                  <a:cubicBezTo>
                    <a:pt x="1279" y="1175"/>
                    <a:pt x="1280" y="1174"/>
                    <a:pt x="1281" y="1174"/>
                  </a:cubicBezTo>
                  <a:cubicBezTo>
                    <a:pt x="1282" y="1174"/>
                    <a:pt x="1283" y="1174"/>
                    <a:pt x="1284" y="1175"/>
                  </a:cubicBezTo>
                  <a:cubicBezTo>
                    <a:pt x="1286" y="1175"/>
                    <a:pt x="1288" y="1176"/>
                    <a:pt x="1290" y="1178"/>
                  </a:cubicBezTo>
                  <a:cubicBezTo>
                    <a:pt x="1291" y="1179"/>
                    <a:pt x="1294" y="1181"/>
                    <a:pt x="1296" y="1184"/>
                  </a:cubicBezTo>
                  <a:cubicBezTo>
                    <a:pt x="1299" y="1186"/>
                    <a:pt x="1301" y="1189"/>
                    <a:pt x="1303" y="1191"/>
                  </a:cubicBezTo>
                  <a:cubicBezTo>
                    <a:pt x="1304" y="1192"/>
                    <a:pt x="1305" y="1194"/>
                    <a:pt x="1305" y="1196"/>
                  </a:cubicBezTo>
                  <a:cubicBezTo>
                    <a:pt x="1306" y="1197"/>
                    <a:pt x="1306" y="1198"/>
                    <a:pt x="1306" y="1199"/>
                  </a:cubicBezTo>
                  <a:cubicBezTo>
                    <a:pt x="1306" y="1200"/>
                    <a:pt x="1305" y="1201"/>
                    <a:pt x="1304" y="1202"/>
                  </a:cubicBezTo>
                  <a:lnTo>
                    <a:pt x="1281" y="1226"/>
                  </a:lnTo>
                  <a:cubicBezTo>
                    <a:pt x="1292" y="1224"/>
                    <a:pt x="1301" y="1222"/>
                    <a:pt x="1309" y="1222"/>
                  </a:cubicBezTo>
                  <a:cubicBezTo>
                    <a:pt x="1317" y="1222"/>
                    <a:pt x="1323" y="1223"/>
                    <a:pt x="1329" y="1224"/>
                  </a:cubicBezTo>
                  <a:cubicBezTo>
                    <a:pt x="1335" y="1225"/>
                    <a:pt x="1340" y="1227"/>
                    <a:pt x="1344" y="1229"/>
                  </a:cubicBezTo>
                  <a:cubicBezTo>
                    <a:pt x="1348" y="1232"/>
                    <a:pt x="1352" y="1235"/>
                    <a:pt x="1355" y="1238"/>
                  </a:cubicBezTo>
                  <a:cubicBezTo>
                    <a:pt x="1357" y="1239"/>
                    <a:pt x="1359" y="1241"/>
                    <a:pt x="1360" y="1243"/>
                  </a:cubicBezTo>
                  <a:cubicBezTo>
                    <a:pt x="1362" y="1246"/>
                    <a:pt x="1364" y="1248"/>
                    <a:pt x="1366" y="1250"/>
                  </a:cubicBezTo>
                  <a:cubicBezTo>
                    <a:pt x="1367" y="1253"/>
                    <a:pt x="1369" y="1256"/>
                    <a:pt x="1370" y="1258"/>
                  </a:cubicBezTo>
                  <a:cubicBezTo>
                    <a:pt x="1371" y="1260"/>
                    <a:pt x="1371" y="1262"/>
                    <a:pt x="1372" y="1263"/>
                  </a:cubicBezTo>
                  <a:cubicBezTo>
                    <a:pt x="1372" y="1265"/>
                    <a:pt x="1372" y="1266"/>
                    <a:pt x="1371" y="1266"/>
                  </a:cubicBezTo>
                  <a:cubicBezTo>
                    <a:pt x="1371" y="1267"/>
                    <a:pt x="1370" y="1268"/>
                    <a:pt x="1370" y="1269"/>
                  </a:cubicBezTo>
                  <a:cubicBezTo>
                    <a:pt x="1369" y="1270"/>
                    <a:pt x="1368" y="1271"/>
                    <a:pt x="1367" y="1273"/>
                  </a:cubicBezTo>
                  <a:cubicBezTo>
                    <a:pt x="1365" y="1275"/>
                    <a:pt x="1363" y="1277"/>
                    <a:pt x="1360" y="1279"/>
                  </a:cubicBezTo>
                  <a:close/>
                  <a:moveTo>
                    <a:pt x="1337" y="1531"/>
                  </a:moveTo>
                  <a:cubicBezTo>
                    <a:pt x="1334" y="1534"/>
                    <a:pt x="1331" y="1537"/>
                    <a:pt x="1329" y="1538"/>
                  </a:cubicBezTo>
                  <a:cubicBezTo>
                    <a:pt x="1326" y="1540"/>
                    <a:pt x="1324" y="1540"/>
                    <a:pt x="1322" y="1540"/>
                  </a:cubicBezTo>
                  <a:cubicBezTo>
                    <a:pt x="1320" y="1540"/>
                    <a:pt x="1318" y="1540"/>
                    <a:pt x="1315" y="1539"/>
                  </a:cubicBezTo>
                  <a:cubicBezTo>
                    <a:pt x="1312" y="1538"/>
                    <a:pt x="1310" y="1536"/>
                    <a:pt x="1307" y="1534"/>
                  </a:cubicBezTo>
                  <a:cubicBezTo>
                    <a:pt x="1304" y="1532"/>
                    <a:pt x="1301" y="1530"/>
                    <a:pt x="1298" y="1528"/>
                  </a:cubicBezTo>
                  <a:cubicBezTo>
                    <a:pt x="1295" y="1526"/>
                    <a:pt x="1292" y="1523"/>
                    <a:pt x="1289" y="1520"/>
                  </a:cubicBezTo>
                  <a:cubicBezTo>
                    <a:pt x="1281" y="1512"/>
                    <a:pt x="1275" y="1504"/>
                    <a:pt x="1271" y="1496"/>
                  </a:cubicBezTo>
                  <a:cubicBezTo>
                    <a:pt x="1267" y="1488"/>
                    <a:pt x="1266" y="1480"/>
                    <a:pt x="1266" y="1472"/>
                  </a:cubicBezTo>
                  <a:cubicBezTo>
                    <a:pt x="1267" y="1463"/>
                    <a:pt x="1270" y="1455"/>
                    <a:pt x="1275" y="1447"/>
                  </a:cubicBezTo>
                  <a:cubicBezTo>
                    <a:pt x="1280" y="1438"/>
                    <a:pt x="1287" y="1429"/>
                    <a:pt x="1296" y="1420"/>
                  </a:cubicBezTo>
                  <a:lnTo>
                    <a:pt x="1389" y="1327"/>
                  </a:lnTo>
                  <a:lnTo>
                    <a:pt x="1367" y="1305"/>
                  </a:lnTo>
                  <a:cubicBezTo>
                    <a:pt x="1365" y="1303"/>
                    <a:pt x="1365" y="1301"/>
                    <a:pt x="1366" y="1298"/>
                  </a:cubicBezTo>
                  <a:cubicBezTo>
                    <a:pt x="1367" y="1295"/>
                    <a:pt x="1369" y="1291"/>
                    <a:pt x="1373" y="1287"/>
                  </a:cubicBezTo>
                  <a:cubicBezTo>
                    <a:pt x="1376" y="1285"/>
                    <a:pt x="1378" y="1283"/>
                    <a:pt x="1379" y="1282"/>
                  </a:cubicBezTo>
                  <a:cubicBezTo>
                    <a:pt x="1381" y="1280"/>
                    <a:pt x="1383" y="1280"/>
                    <a:pt x="1384" y="1279"/>
                  </a:cubicBezTo>
                  <a:cubicBezTo>
                    <a:pt x="1386" y="1278"/>
                    <a:pt x="1387" y="1278"/>
                    <a:pt x="1388" y="1279"/>
                  </a:cubicBezTo>
                  <a:cubicBezTo>
                    <a:pt x="1389" y="1279"/>
                    <a:pt x="1391" y="1280"/>
                    <a:pt x="1391" y="1281"/>
                  </a:cubicBezTo>
                  <a:lnTo>
                    <a:pt x="1414" y="1303"/>
                  </a:lnTo>
                  <a:lnTo>
                    <a:pt x="1451" y="1265"/>
                  </a:lnTo>
                  <a:cubicBezTo>
                    <a:pt x="1452" y="1264"/>
                    <a:pt x="1453" y="1264"/>
                    <a:pt x="1454" y="1263"/>
                  </a:cubicBezTo>
                  <a:cubicBezTo>
                    <a:pt x="1455" y="1263"/>
                    <a:pt x="1457" y="1263"/>
                    <a:pt x="1458" y="1264"/>
                  </a:cubicBezTo>
                  <a:cubicBezTo>
                    <a:pt x="1460" y="1264"/>
                    <a:pt x="1462" y="1265"/>
                    <a:pt x="1464" y="1267"/>
                  </a:cubicBezTo>
                  <a:cubicBezTo>
                    <a:pt x="1466" y="1269"/>
                    <a:pt x="1469" y="1271"/>
                    <a:pt x="1472" y="1274"/>
                  </a:cubicBezTo>
                  <a:cubicBezTo>
                    <a:pt x="1475" y="1277"/>
                    <a:pt x="1477" y="1279"/>
                    <a:pt x="1478" y="1281"/>
                  </a:cubicBezTo>
                  <a:cubicBezTo>
                    <a:pt x="1480" y="1284"/>
                    <a:pt x="1481" y="1285"/>
                    <a:pt x="1482" y="1287"/>
                  </a:cubicBezTo>
                  <a:cubicBezTo>
                    <a:pt x="1482" y="1289"/>
                    <a:pt x="1482" y="1290"/>
                    <a:pt x="1482" y="1291"/>
                  </a:cubicBezTo>
                  <a:cubicBezTo>
                    <a:pt x="1482" y="1292"/>
                    <a:pt x="1481" y="1293"/>
                    <a:pt x="1481" y="1294"/>
                  </a:cubicBezTo>
                  <a:lnTo>
                    <a:pt x="1443" y="1332"/>
                  </a:lnTo>
                  <a:lnTo>
                    <a:pt x="1484" y="1373"/>
                  </a:lnTo>
                  <a:cubicBezTo>
                    <a:pt x="1485" y="1374"/>
                    <a:pt x="1485" y="1375"/>
                    <a:pt x="1485" y="1376"/>
                  </a:cubicBezTo>
                  <a:cubicBezTo>
                    <a:pt x="1486" y="1377"/>
                    <a:pt x="1486" y="1378"/>
                    <a:pt x="1485" y="1380"/>
                  </a:cubicBezTo>
                  <a:cubicBezTo>
                    <a:pt x="1485" y="1381"/>
                    <a:pt x="1484" y="1383"/>
                    <a:pt x="1483" y="1385"/>
                  </a:cubicBezTo>
                  <a:cubicBezTo>
                    <a:pt x="1481" y="1387"/>
                    <a:pt x="1479" y="1389"/>
                    <a:pt x="1477" y="1391"/>
                  </a:cubicBezTo>
                  <a:cubicBezTo>
                    <a:pt x="1473" y="1395"/>
                    <a:pt x="1469" y="1398"/>
                    <a:pt x="1466" y="1398"/>
                  </a:cubicBezTo>
                  <a:cubicBezTo>
                    <a:pt x="1463" y="1399"/>
                    <a:pt x="1461" y="1399"/>
                    <a:pt x="1459" y="1397"/>
                  </a:cubicBezTo>
                  <a:lnTo>
                    <a:pt x="1419" y="1356"/>
                  </a:lnTo>
                  <a:lnTo>
                    <a:pt x="1330" y="1445"/>
                  </a:lnTo>
                  <a:cubicBezTo>
                    <a:pt x="1319" y="1456"/>
                    <a:pt x="1312" y="1466"/>
                    <a:pt x="1310" y="1475"/>
                  </a:cubicBezTo>
                  <a:cubicBezTo>
                    <a:pt x="1307" y="1483"/>
                    <a:pt x="1310" y="1492"/>
                    <a:pt x="1319" y="1500"/>
                  </a:cubicBezTo>
                  <a:cubicBezTo>
                    <a:pt x="1322" y="1503"/>
                    <a:pt x="1324" y="1505"/>
                    <a:pt x="1327" y="1507"/>
                  </a:cubicBezTo>
                  <a:cubicBezTo>
                    <a:pt x="1330" y="1508"/>
                    <a:pt x="1332" y="1510"/>
                    <a:pt x="1334" y="1511"/>
                  </a:cubicBezTo>
                  <a:cubicBezTo>
                    <a:pt x="1336" y="1512"/>
                    <a:pt x="1338" y="1513"/>
                    <a:pt x="1340" y="1513"/>
                  </a:cubicBezTo>
                  <a:cubicBezTo>
                    <a:pt x="1342" y="1514"/>
                    <a:pt x="1343" y="1515"/>
                    <a:pt x="1344" y="1516"/>
                  </a:cubicBezTo>
                  <a:cubicBezTo>
                    <a:pt x="1345" y="1516"/>
                    <a:pt x="1345" y="1517"/>
                    <a:pt x="1345" y="1518"/>
                  </a:cubicBezTo>
                  <a:cubicBezTo>
                    <a:pt x="1346" y="1519"/>
                    <a:pt x="1345" y="1520"/>
                    <a:pt x="1345" y="1521"/>
                  </a:cubicBezTo>
                  <a:cubicBezTo>
                    <a:pt x="1344" y="1522"/>
                    <a:pt x="1344" y="1523"/>
                    <a:pt x="1342" y="1525"/>
                  </a:cubicBezTo>
                  <a:cubicBezTo>
                    <a:pt x="1341" y="1527"/>
                    <a:pt x="1340" y="1529"/>
                    <a:pt x="1337" y="1531"/>
                  </a:cubicBezTo>
                  <a:close/>
                  <a:moveTo>
                    <a:pt x="1746" y="1485"/>
                  </a:moveTo>
                  <a:cubicBezTo>
                    <a:pt x="1711" y="1497"/>
                    <a:pt x="1679" y="1513"/>
                    <a:pt x="1648" y="1532"/>
                  </a:cubicBezTo>
                  <a:cubicBezTo>
                    <a:pt x="1618" y="1552"/>
                    <a:pt x="1590" y="1574"/>
                    <a:pt x="1565" y="1599"/>
                  </a:cubicBezTo>
                  <a:cubicBezTo>
                    <a:pt x="1540" y="1625"/>
                    <a:pt x="1517" y="1653"/>
                    <a:pt x="1498" y="1683"/>
                  </a:cubicBezTo>
                  <a:cubicBezTo>
                    <a:pt x="1479" y="1714"/>
                    <a:pt x="1462" y="1746"/>
                    <a:pt x="1449" y="1781"/>
                  </a:cubicBezTo>
                  <a:cubicBezTo>
                    <a:pt x="1448" y="1783"/>
                    <a:pt x="1448" y="1784"/>
                    <a:pt x="1447" y="1785"/>
                  </a:cubicBezTo>
                  <a:cubicBezTo>
                    <a:pt x="1446" y="1786"/>
                    <a:pt x="1444" y="1787"/>
                    <a:pt x="1443" y="1787"/>
                  </a:cubicBezTo>
                  <a:cubicBezTo>
                    <a:pt x="1442" y="1787"/>
                    <a:pt x="1440" y="1786"/>
                    <a:pt x="1438" y="1784"/>
                  </a:cubicBezTo>
                  <a:cubicBezTo>
                    <a:pt x="1436" y="1783"/>
                    <a:pt x="1433" y="1781"/>
                    <a:pt x="1430" y="1778"/>
                  </a:cubicBezTo>
                  <a:cubicBezTo>
                    <a:pt x="1428" y="1776"/>
                    <a:pt x="1426" y="1774"/>
                    <a:pt x="1425" y="1772"/>
                  </a:cubicBezTo>
                  <a:cubicBezTo>
                    <a:pt x="1424" y="1770"/>
                    <a:pt x="1423" y="1769"/>
                    <a:pt x="1422" y="1767"/>
                  </a:cubicBezTo>
                  <a:cubicBezTo>
                    <a:pt x="1421" y="1766"/>
                    <a:pt x="1421" y="1765"/>
                    <a:pt x="1420" y="1763"/>
                  </a:cubicBezTo>
                  <a:cubicBezTo>
                    <a:pt x="1420" y="1762"/>
                    <a:pt x="1420" y="1761"/>
                    <a:pt x="1420" y="1760"/>
                  </a:cubicBezTo>
                  <a:cubicBezTo>
                    <a:pt x="1426" y="1742"/>
                    <a:pt x="1433" y="1724"/>
                    <a:pt x="1440" y="1707"/>
                  </a:cubicBezTo>
                  <a:cubicBezTo>
                    <a:pt x="1448" y="1690"/>
                    <a:pt x="1456" y="1673"/>
                    <a:pt x="1465" y="1657"/>
                  </a:cubicBezTo>
                  <a:cubicBezTo>
                    <a:pt x="1475" y="1641"/>
                    <a:pt x="1485" y="1626"/>
                    <a:pt x="1497" y="1611"/>
                  </a:cubicBezTo>
                  <a:cubicBezTo>
                    <a:pt x="1508" y="1597"/>
                    <a:pt x="1520" y="1583"/>
                    <a:pt x="1534" y="1569"/>
                  </a:cubicBezTo>
                  <a:cubicBezTo>
                    <a:pt x="1547" y="1556"/>
                    <a:pt x="1561" y="1544"/>
                    <a:pt x="1576" y="1533"/>
                  </a:cubicBezTo>
                  <a:cubicBezTo>
                    <a:pt x="1591" y="1521"/>
                    <a:pt x="1606" y="1511"/>
                    <a:pt x="1622" y="1502"/>
                  </a:cubicBezTo>
                  <a:cubicBezTo>
                    <a:pt x="1638" y="1492"/>
                    <a:pt x="1655" y="1484"/>
                    <a:pt x="1672" y="1476"/>
                  </a:cubicBezTo>
                  <a:cubicBezTo>
                    <a:pt x="1689" y="1469"/>
                    <a:pt x="1707" y="1462"/>
                    <a:pt x="1725" y="1456"/>
                  </a:cubicBezTo>
                  <a:cubicBezTo>
                    <a:pt x="1726" y="1455"/>
                    <a:pt x="1727" y="1455"/>
                    <a:pt x="1727" y="1455"/>
                  </a:cubicBezTo>
                  <a:cubicBezTo>
                    <a:pt x="1728" y="1456"/>
                    <a:pt x="1729" y="1456"/>
                    <a:pt x="1731" y="1457"/>
                  </a:cubicBezTo>
                  <a:cubicBezTo>
                    <a:pt x="1732" y="1457"/>
                    <a:pt x="1734" y="1458"/>
                    <a:pt x="1735" y="1460"/>
                  </a:cubicBezTo>
                  <a:cubicBezTo>
                    <a:pt x="1737" y="1461"/>
                    <a:pt x="1739" y="1463"/>
                    <a:pt x="1742" y="1466"/>
                  </a:cubicBezTo>
                  <a:cubicBezTo>
                    <a:pt x="1745" y="1469"/>
                    <a:pt x="1747" y="1471"/>
                    <a:pt x="1748" y="1473"/>
                  </a:cubicBezTo>
                  <a:cubicBezTo>
                    <a:pt x="1749" y="1475"/>
                    <a:pt x="1750" y="1477"/>
                    <a:pt x="1751" y="1478"/>
                  </a:cubicBezTo>
                  <a:cubicBezTo>
                    <a:pt x="1751" y="1480"/>
                    <a:pt x="1751" y="1481"/>
                    <a:pt x="1750" y="1482"/>
                  </a:cubicBezTo>
                  <a:cubicBezTo>
                    <a:pt x="1749" y="1483"/>
                    <a:pt x="1748" y="1484"/>
                    <a:pt x="1746" y="1485"/>
                  </a:cubicBezTo>
                  <a:close/>
                  <a:moveTo>
                    <a:pt x="1867" y="1859"/>
                  </a:moveTo>
                  <a:cubicBezTo>
                    <a:pt x="1849" y="1877"/>
                    <a:pt x="1830" y="1892"/>
                    <a:pt x="1811" y="1902"/>
                  </a:cubicBezTo>
                  <a:cubicBezTo>
                    <a:pt x="1792" y="1913"/>
                    <a:pt x="1772" y="1919"/>
                    <a:pt x="1753" y="1921"/>
                  </a:cubicBezTo>
                  <a:cubicBezTo>
                    <a:pt x="1734" y="1922"/>
                    <a:pt x="1715" y="1920"/>
                    <a:pt x="1697" y="1912"/>
                  </a:cubicBezTo>
                  <a:cubicBezTo>
                    <a:pt x="1678" y="1905"/>
                    <a:pt x="1660" y="1892"/>
                    <a:pt x="1643" y="1875"/>
                  </a:cubicBezTo>
                  <a:cubicBezTo>
                    <a:pt x="1625" y="1857"/>
                    <a:pt x="1613" y="1840"/>
                    <a:pt x="1606" y="1822"/>
                  </a:cubicBezTo>
                  <a:cubicBezTo>
                    <a:pt x="1598" y="1805"/>
                    <a:pt x="1595" y="1787"/>
                    <a:pt x="1597" y="1769"/>
                  </a:cubicBezTo>
                  <a:cubicBezTo>
                    <a:pt x="1598" y="1751"/>
                    <a:pt x="1604" y="1733"/>
                    <a:pt x="1615" y="1714"/>
                  </a:cubicBezTo>
                  <a:cubicBezTo>
                    <a:pt x="1625" y="1696"/>
                    <a:pt x="1640" y="1677"/>
                    <a:pt x="1659" y="1658"/>
                  </a:cubicBezTo>
                  <a:cubicBezTo>
                    <a:pt x="1677" y="1640"/>
                    <a:pt x="1696" y="1626"/>
                    <a:pt x="1715" y="1616"/>
                  </a:cubicBezTo>
                  <a:cubicBezTo>
                    <a:pt x="1734" y="1605"/>
                    <a:pt x="1753" y="1599"/>
                    <a:pt x="1772" y="1598"/>
                  </a:cubicBezTo>
                  <a:cubicBezTo>
                    <a:pt x="1791" y="1596"/>
                    <a:pt x="1810" y="1599"/>
                    <a:pt x="1828" y="1606"/>
                  </a:cubicBezTo>
                  <a:cubicBezTo>
                    <a:pt x="1847" y="1614"/>
                    <a:pt x="1865" y="1626"/>
                    <a:pt x="1883" y="1644"/>
                  </a:cubicBezTo>
                  <a:cubicBezTo>
                    <a:pt x="1899" y="1661"/>
                    <a:pt x="1912" y="1678"/>
                    <a:pt x="1919" y="1695"/>
                  </a:cubicBezTo>
                  <a:cubicBezTo>
                    <a:pt x="1926" y="1713"/>
                    <a:pt x="1929" y="1731"/>
                    <a:pt x="1928" y="1749"/>
                  </a:cubicBezTo>
                  <a:cubicBezTo>
                    <a:pt x="1927" y="1767"/>
                    <a:pt x="1921" y="1785"/>
                    <a:pt x="1911" y="1803"/>
                  </a:cubicBezTo>
                  <a:cubicBezTo>
                    <a:pt x="1900" y="1822"/>
                    <a:pt x="1886" y="1840"/>
                    <a:pt x="1867" y="1859"/>
                  </a:cubicBezTo>
                  <a:close/>
                  <a:moveTo>
                    <a:pt x="1833" y="1829"/>
                  </a:moveTo>
                  <a:cubicBezTo>
                    <a:pt x="1846" y="1816"/>
                    <a:pt x="1857" y="1803"/>
                    <a:pt x="1866" y="1789"/>
                  </a:cubicBezTo>
                  <a:cubicBezTo>
                    <a:pt x="1875" y="1776"/>
                    <a:pt x="1880" y="1762"/>
                    <a:pt x="1883" y="1749"/>
                  </a:cubicBezTo>
                  <a:cubicBezTo>
                    <a:pt x="1886" y="1735"/>
                    <a:pt x="1885" y="1722"/>
                    <a:pt x="1881" y="1708"/>
                  </a:cubicBezTo>
                  <a:cubicBezTo>
                    <a:pt x="1877" y="1694"/>
                    <a:pt x="1868" y="1681"/>
                    <a:pt x="1855" y="1668"/>
                  </a:cubicBezTo>
                  <a:cubicBezTo>
                    <a:pt x="1842" y="1655"/>
                    <a:pt x="1828" y="1646"/>
                    <a:pt x="1814" y="1642"/>
                  </a:cubicBezTo>
                  <a:cubicBezTo>
                    <a:pt x="1800" y="1638"/>
                    <a:pt x="1786" y="1638"/>
                    <a:pt x="1773" y="1640"/>
                  </a:cubicBezTo>
                  <a:cubicBezTo>
                    <a:pt x="1759" y="1643"/>
                    <a:pt x="1745" y="1648"/>
                    <a:pt x="1732" y="1657"/>
                  </a:cubicBezTo>
                  <a:cubicBezTo>
                    <a:pt x="1718" y="1666"/>
                    <a:pt x="1705" y="1676"/>
                    <a:pt x="1693" y="1688"/>
                  </a:cubicBezTo>
                  <a:cubicBezTo>
                    <a:pt x="1680" y="1702"/>
                    <a:pt x="1669" y="1715"/>
                    <a:pt x="1659" y="1729"/>
                  </a:cubicBezTo>
                  <a:cubicBezTo>
                    <a:pt x="1650" y="1742"/>
                    <a:pt x="1644" y="1756"/>
                    <a:pt x="1642" y="1769"/>
                  </a:cubicBezTo>
                  <a:cubicBezTo>
                    <a:pt x="1639" y="1783"/>
                    <a:pt x="1639" y="1796"/>
                    <a:pt x="1644" y="1810"/>
                  </a:cubicBezTo>
                  <a:cubicBezTo>
                    <a:pt x="1648" y="1823"/>
                    <a:pt x="1657" y="1836"/>
                    <a:pt x="1670" y="1850"/>
                  </a:cubicBezTo>
                  <a:cubicBezTo>
                    <a:pt x="1684" y="1863"/>
                    <a:pt x="1697" y="1872"/>
                    <a:pt x="1711" y="1876"/>
                  </a:cubicBezTo>
                  <a:cubicBezTo>
                    <a:pt x="1725" y="1880"/>
                    <a:pt x="1739" y="1881"/>
                    <a:pt x="1753" y="1878"/>
                  </a:cubicBezTo>
                  <a:cubicBezTo>
                    <a:pt x="1767" y="1875"/>
                    <a:pt x="1781" y="1869"/>
                    <a:pt x="1794" y="1860"/>
                  </a:cubicBezTo>
                  <a:cubicBezTo>
                    <a:pt x="1808" y="1852"/>
                    <a:pt x="1821" y="1841"/>
                    <a:pt x="1833" y="1829"/>
                  </a:cubicBezTo>
                  <a:close/>
                  <a:moveTo>
                    <a:pt x="1947" y="1983"/>
                  </a:moveTo>
                  <a:cubicBezTo>
                    <a:pt x="1934" y="1996"/>
                    <a:pt x="1920" y="2008"/>
                    <a:pt x="1905" y="2020"/>
                  </a:cubicBezTo>
                  <a:cubicBezTo>
                    <a:pt x="1890" y="2031"/>
                    <a:pt x="1875" y="2041"/>
                    <a:pt x="1859" y="2051"/>
                  </a:cubicBezTo>
                  <a:cubicBezTo>
                    <a:pt x="1843" y="2060"/>
                    <a:pt x="1826" y="2069"/>
                    <a:pt x="1809" y="2076"/>
                  </a:cubicBezTo>
                  <a:cubicBezTo>
                    <a:pt x="1792" y="2084"/>
                    <a:pt x="1774" y="2090"/>
                    <a:pt x="1756" y="2096"/>
                  </a:cubicBezTo>
                  <a:cubicBezTo>
                    <a:pt x="1755" y="2096"/>
                    <a:pt x="1754" y="2096"/>
                    <a:pt x="1753" y="2096"/>
                  </a:cubicBezTo>
                  <a:cubicBezTo>
                    <a:pt x="1752" y="2096"/>
                    <a:pt x="1750" y="2095"/>
                    <a:pt x="1749" y="2094"/>
                  </a:cubicBezTo>
                  <a:cubicBezTo>
                    <a:pt x="1747" y="2094"/>
                    <a:pt x="1746" y="2093"/>
                    <a:pt x="1744" y="2091"/>
                  </a:cubicBezTo>
                  <a:cubicBezTo>
                    <a:pt x="1743" y="2090"/>
                    <a:pt x="1741" y="2088"/>
                    <a:pt x="1739" y="2086"/>
                  </a:cubicBezTo>
                  <a:cubicBezTo>
                    <a:pt x="1735" y="2083"/>
                    <a:pt x="1733" y="2080"/>
                    <a:pt x="1732" y="2078"/>
                  </a:cubicBezTo>
                  <a:cubicBezTo>
                    <a:pt x="1730" y="2076"/>
                    <a:pt x="1730" y="2075"/>
                    <a:pt x="1729" y="2073"/>
                  </a:cubicBezTo>
                  <a:cubicBezTo>
                    <a:pt x="1729" y="2072"/>
                    <a:pt x="1730" y="2071"/>
                    <a:pt x="1731" y="2070"/>
                  </a:cubicBezTo>
                  <a:cubicBezTo>
                    <a:pt x="1732" y="2069"/>
                    <a:pt x="1733" y="2068"/>
                    <a:pt x="1735" y="2067"/>
                  </a:cubicBezTo>
                  <a:cubicBezTo>
                    <a:pt x="1770" y="2054"/>
                    <a:pt x="1803" y="2038"/>
                    <a:pt x="1833" y="2018"/>
                  </a:cubicBezTo>
                  <a:cubicBezTo>
                    <a:pt x="1864" y="1999"/>
                    <a:pt x="1892" y="1977"/>
                    <a:pt x="1917" y="1951"/>
                  </a:cubicBezTo>
                  <a:cubicBezTo>
                    <a:pt x="1942" y="1926"/>
                    <a:pt x="1964" y="1898"/>
                    <a:pt x="1984" y="1868"/>
                  </a:cubicBezTo>
                  <a:cubicBezTo>
                    <a:pt x="2003" y="1837"/>
                    <a:pt x="2019" y="1805"/>
                    <a:pt x="2032" y="1770"/>
                  </a:cubicBezTo>
                  <a:cubicBezTo>
                    <a:pt x="2032" y="1768"/>
                    <a:pt x="2033" y="1767"/>
                    <a:pt x="2034" y="1766"/>
                  </a:cubicBezTo>
                  <a:cubicBezTo>
                    <a:pt x="2035" y="1766"/>
                    <a:pt x="2037" y="1765"/>
                    <a:pt x="2038" y="1766"/>
                  </a:cubicBezTo>
                  <a:cubicBezTo>
                    <a:pt x="2040" y="1766"/>
                    <a:pt x="2041" y="1767"/>
                    <a:pt x="2043" y="1768"/>
                  </a:cubicBezTo>
                  <a:cubicBezTo>
                    <a:pt x="2045" y="1770"/>
                    <a:pt x="2048" y="1772"/>
                    <a:pt x="2051" y="1774"/>
                  </a:cubicBezTo>
                  <a:cubicBezTo>
                    <a:pt x="2053" y="1777"/>
                    <a:pt x="2055" y="1779"/>
                    <a:pt x="2056" y="1781"/>
                  </a:cubicBezTo>
                  <a:cubicBezTo>
                    <a:pt x="2058" y="1783"/>
                    <a:pt x="2059" y="1784"/>
                    <a:pt x="2060" y="1785"/>
                  </a:cubicBezTo>
                  <a:cubicBezTo>
                    <a:pt x="2060" y="1787"/>
                    <a:pt x="2061" y="1788"/>
                    <a:pt x="2061" y="1789"/>
                  </a:cubicBezTo>
                  <a:cubicBezTo>
                    <a:pt x="2061" y="1790"/>
                    <a:pt x="2061" y="1790"/>
                    <a:pt x="2061" y="1791"/>
                  </a:cubicBezTo>
                  <a:cubicBezTo>
                    <a:pt x="2049" y="1827"/>
                    <a:pt x="2033" y="1862"/>
                    <a:pt x="2015" y="1894"/>
                  </a:cubicBezTo>
                  <a:cubicBezTo>
                    <a:pt x="1996" y="1927"/>
                    <a:pt x="1973" y="1956"/>
                    <a:pt x="1947" y="1983"/>
                  </a:cubicBezTo>
                  <a:close/>
                  <a:moveTo>
                    <a:pt x="2297" y="2289"/>
                  </a:moveTo>
                  <a:cubicBezTo>
                    <a:pt x="2279" y="2307"/>
                    <a:pt x="2260" y="2322"/>
                    <a:pt x="2241" y="2332"/>
                  </a:cubicBezTo>
                  <a:cubicBezTo>
                    <a:pt x="2222" y="2343"/>
                    <a:pt x="2202" y="2349"/>
                    <a:pt x="2183" y="2351"/>
                  </a:cubicBezTo>
                  <a:cubicBezTo>
                    <a:pt x="2164" y="2352"/>
                    <a:pt x="2145" y="2349"/>
                    <a:pt x="2127" y="2342"/>
                  </a:cubicBezTo>
                  <a:cubicBezTo>
                    <a:pt x="2108" y="2335"/>
                    <a:pt x="2090" y="2322"/>
                    <a:pt x="2072" y="2305"/>
                  </a:cubicBezTo>
                  <a:cubicBezTo>
                    <a:pt x="2055" y="2287"/>
                    <a:pt x="2043" y="2270"/>
                    <a:pt x="2035" y="2252"/>
                  </a:cubicBezTo>
                  <a:cubicBezTo>
                    <a:pt x="2028" y="2235"/>
                    <a:pt x="2025" y="2217"/>
                    <a:pt x="2027" y="2199"/>
                  </a:cubicBezTo>
                  <a:cubicBezTo>
                    <a:pt x="2028" y="2181"/>
                    <a:pt x="2034" y="2163"/>
                    <a:pt x="2045" y="2144"/>
                  </a:cubicBezTo>
                  <a:cubicBezTo>
                    <a:pt x="2055" y="2126"/>
                    <a:pt x="2070" y="2107"/>
                    <a:pt x="2089" y="2088"/>
                  </a:cubicBezTo>
                  <a:cubicBezTo>
                    <a:pt x="2107" y="2070"/>
                    <a:pt x="2125" y="2056"/>
                    <a:pt x="2145" y="2045"/>
                  </a:cubicBezTo>
                  <a:cubicBezTo>
                    <a:pt x="2164" y="2035"/>
                    <a:pt x="2183" y="2029"/>
                    <a:pt x="2202" y="2028"/>
                  </a:cubicBezTo>
                  <a:cubicBezTo>
                    <a:pt x="2221" y="2026"/>
                    <a:pt x="2240" y="2029"/>
                    <a:pt x="2258" y="2036"/>
                  </a:cubicBezTo>
                  <a:cubicBezTo>
                    <a:pt x="2277" y="2044"/>
                    <a:pt x="2295" y="2056"/>
                    <a:pt x="2312" y="2074"/>
                  </a:cubicBezTo>
                  <a:cubicBezTo>
                    <a:pt x="2329" y="2091"/>
                    <a:pt x="2341" y="2108"/>
                    <a:pt x="2349" y="2125"/>
                  </a:cubicBezTo>
                  <a:cubicBezTo>
                    <a:pt x="2356" y="2143"/>
                    <a:pt x="2359" y="2161"/>
                    <a:pt x="2358" y="2179"/>
                  </a:cubicBezTo>
                  <a:cubicBezTo>
                    <a:pt x="2357" y="2197"/>
                    <a:pt x="2351" y="2215"/>
                    <a:pt x="2340" y="2233"/>
                  </a:cubicBezTo>
                  <a:cubicBezTo>
                    <a:pt x="2330" y="2252"/>
                    <a:pt x="2316" y="2270"/>
                    <a:pt x="2297" y="2289"/>
                  </a:cubicBezTo>
                  <a:close/>
                  <a:moveTo>
                    <a:pt x="2263" y="2259"/>
                  </a:moveTo>
                  <a:cubicBezTo>
                    <a:pt x="2276" y="2246"/>
                    <a:pt x="2287" y="2232"/>
                    <a:pt x="2296" y="2219"/>
                  </a:cubicBezTo>
                  <a:cubicBezTo>
                    <a:pt x="2305" y="2206"/>
                    <a:pt x="2310" y="2192"/>
                    <a:pt x="2313" y="2179"/>
                  </a:cubicBezTo>
                  <a:cubicBezTo>
                    <a:pt x="2316" y="2165"/>
                    <a:pt x="2315" y="2151"/>
                    <a:pt x="2311" y="2138"/>
                  </a:cubicBezTo>
                  <a:cubicBezTo>
                    <a:pt x="2307" y="2124"/>
                    <a:pt x="2298" y="2111"/>
                    <a:pt x="2285" y="2098"/>
                  </a:cubicBezTo>
                  <a:cubicBezTo>
                    <a:pt x="2271" y="2085"/>
                    <a:pt x="2258" y="2076"/>
                    <a:pt x="2244" y="2072"/>
                  </a:cubicBezTo>
                  <a:cubicBezTo>
                    <a:pt x="2230" y="2068"/>
                    <a:pt x="2216" y="2067"/>
                    <a:pt x="2202" y="2070"/>
                  </a:cubicBezTo>
                  <a:cubicBezTo>
                    <a:pt x="2189" y="2073"/>
                    <a:pt x="2175" y="2078"/>
                    <a:pt x="2162" y="2087"/>
                  </a:cubicBezTo>
                  <a:cubicBezTo>
                    <a:pt x="2148" y="2096"/>
                    <a:pt x="2135" y="2106"/>
                    <a:pt x="2123" y="2118"/>
                  </a:cubicBezTo>
                  <a:cubicBezTo>
                    <a:pt x="2110" y="2132"/>
                    <a:pt x="2098" y="2145"/>
                    <a:pt x="2089" y="2159"/>
                  </a:cubicBezTo>
                  <a:cubicBezTo>
                    <a:pt x="2080" y="2172"/>
                    <a:pt x="2074" y="2186"/>
                    <a:pt x="2071" y="2199"/>
                  </a:cubicBezTo>
                  <a:cubicBezTo>
                    <a:pt x="2069" y="2213"/>
                    <a:pt x="2069" y="2226"/>
                    <a:pt x="2074" y="2239"/>
                  </a:cubicBezTo>
                  <a:cubicBezTo>
                    <a:pt x="2078" y="2253"/>
                    <a:pt x="2087" y="2266"/>
                    <a:pt x="2100" y="2280"/>
                  </a:cubicBezTo>
                  <a:cubicBezTo>
                    <a:pt x="2114" y="2293"/>
                    <a:pt x="2127" y="2302"/>
                    <a:pt x="2141" y="2306"/>
                  </a:cubicBezTo>
                  <a:cubicBezTo>
                    <a:pt x="2155" y="2310"/>
                    <a:pt x="2169" y="2311"/>
                    <a:pt x="2183" y="2308"/>
                  </a:cubicBezTo>
                  <a:cubicBezTo>
                    <a:pt x="2197" y="2305"/>
                    <a:pt x="2211" y="2299"/>
                    <a:pt x="2224" y="2290"/>
                  </a:cubicBezTo>
                  <a:cubicBezTo>
                    <a:pt x="2238" y="2282"/>
                    <a:pt x="2251" y="2271"/>
                    <a:pt x="2263" y="2259"/>
                  </a:cubicBezTo>
                  <a:close/>
                  <a:moveTo>
                    <a:pt x="2364" y="2580"/>
                  </a:moveTo>
                  <a:cubicBezTo>
                    <a:pt x="2363" y="2581"/>
                    <a:pt x="2362" y="2582"/>
                    <a:pt x="2360" y="2582"/>
                  </a:cubicBezTo>
                  <a:cubicBezTo>
                    <a:pt x="2359" y="2582"/>
                    <a:pt x="2358" y="2582"/>
                    <a:pt x="2357" y="2582"/>
                  </a:cubicBezTo>
                  <a:cubicBezTo>
                    <a:pt x="2355" y="2581"/>
                    <a:pt x="2354" y="2580"/>
                    <a:pt x="2352" y="2579"/>
                  </a:cubicBezTo>
                  <a:cubicBezTo>
                    <a:pt x="2350" y="2577"/>
                    <a:pt x="2348" y="2575"/>
                    <a:pt x="2345" y="2573"/>
                  </a:cubicBezTo>
                  <a:cubicBezTo>
                    <a:pt x="2343" y="2570"/>
                    <a:pt x="2341" y="2568"/>
                    <a:pt x="2340" y="2566"/>
                  </a:cubicBezTo>
                  <a:cubicBezTo>
                    <a:pt x="2338" y="2565"/>
                    <a:pt x="2337" y="2563"/>
                    <a:pt x="2336" y="2561"/>
                  </a:cubicBezTo>
                  <a:cubicBezTo>
                    <a:pt x="2336" y="2560"/>
                    <a:pt x="2336" y="2559"/>
                    <a:pt x="2336" y="2557"/>
                  </a:cubicBezTo>
                  <a:cubicBezTo>
                    <a:pt x="2336" y="2556"/>
                    <a:pt x="2337" y="2555"/>
                    <a:pt x="2338" y="2554"/>
                  </a:cubicBezTo>
                  <a:lnTo>
                    <a:pt x="2359" y="2533"/>
                  </a:lnTo>
                  <a:cubicBezTo>
                    <a:pt x="2341" y="2534"/>
                    <a:pt x="2325" y="2532"/>
                    <a:pt x="2311" y="2528"/>
                  </a:cubicBezTo>
                  <a:cubicBezTo>
                    <a:pt x="2297" y="2524"/>
                    <a:pt x="2285" y="2517"/>
                    <a:pt x="2274" y="2506"/>
                  </a:cubicBezTo>
                  <a:cubicBezTo>
                    <a:pt x="2262" y="2495"/>
                    <a:pt x="2255" y="2482"/>
                    <a:pt x="2251" y="2470"/>
                  </a:cubicBezTo>
                  <a:cubicBezTo>
                    <a:pt x="2247" y="2457"/>
                    <a:pt x="2247" y="2444"/>
                    <a:pt x="2249" y="2431"/>
                  </a:cubicBezTo>
                  <a:cubicBezTo>
                    <a:pt x="2252" y="2418"/>
                    <a:pt x="2257" y="2406"/>
                    <a:pt x="2265" y="2393"/>
                  </a:cubicBezTo>
                  <a:cubicBezTo>
                    <a:pt x="2273" y="2380"/>
                    <a:pt x="2283" y="2368"/>
                    <a:pt x="2295" y="2356"/>
                  </a:cubicBezTo>
                  <a:cubicBezTo>
                    <a:pt x="2308" y="2343"/>
                    <a:pt x="2322" y="2332"/>
                    <a:pt x="2336" y="2324"/>
                  </a:cubicBezTo>
                  <a:cubicBezTo>
                    <a:pt x="2350" y="2316"/>
                    <a:pt x="2364" y="2310"/>
                    <a:pt x="2378" y="2308"/>
                  </a:cubicBezTo>
                  <a:cubicBezTo>
                    <a:pt x="2391" y="2306"/>
                    <a:pt x="2404" y="2308"/>
                    <a:pt x="2417" y="2312"/>
                  </a:cubicBezTo>
                  <a:cubicBezTo>
                    <a:pt x="2430" y="2316"/>
                    <a:pt x="2442" y="2324"/>
                    <a:pt x="2453" y="2335"/>
                  </a:cubicBezTo>
                  <a:cubicBezTo>
                    <a:pt x="2462" y="2345"/>
                    <a:pt x="2469" y="2355"/>
                    <a:pt x="2472" y="2367"/>
                  </a:cubicBezTo>
                  <a:cubicBezTo>
                    <a:pt x="2476" y="2379"/>
                    <a:pt x="2478" y="2392"/>
                    <a:pt x="2477" y="2408"/>
                  </a:cubicBezTo>
                  <a:lnTo>
                    <a:pt x="2570" y="2315"/>
                  </a:lnTo>
                  <a:cubicBezTo>
                    <a:pt x="2571" y="2315"/>
                    <a:pt x="2572" y="2314"/>
                    <a:pt x="2573" y="2314"/>
                  </a:cubicBezTo>
                  <a:cubicBezTo>
                    <a:pt x="2574" y="2313"/>
                    <a:pt x="2575" y="2313"/>
                    <a:pt x="2577" y="2314"/>
                  </a:cubicBezTo>
                  <a:cubicBezTo>
                    <a:pt x="2578" y="2315"/>
                    <a:pt x="2580" y="2316"/>
                    <a:pt x="2582" y="2318"/>
                  </a:cubicBezTo>
                  <a:cubicBezTo>
                    <a:pt x="2585" y="2319"/>
                    <a:pt x="2587" y="2321"/>
                    <a:pt x="2590" y="2324"/>
                  </a:cubicBezTo>
                  <a:cubicBezTo>
                    <a:pt x="2593" y="2327"/>
                    <a:pt x="2595" y="2330"/>
                    <a:pt x="2597" y="2332"/>
                  </a:cubicBezTo>
                  <a:cubicBezTo>
                    <a:pt x="2598" y="2334"/>
                    <a:pt x="2599" y="2336"/>
                    <a:pt x="2600" y="2337"/>
                  </a:cubicBezTo>
                  <a:cubicBezTo>
                    <a:pt x="2601" y="2339"/>
                    <a:pt x="2601" y="2340"/>
                    <a:pt x="2601" y="2342"/>
                  </a:cubicBezTo>
                  <a:cubicBezTo>
                    <a:pt x="2600" y="2343"/>
                    <a:pt x="2600" y="2344"/>
                    <a:pt x="2599" y="2345"/>
                  </a:cubicBezTo>
                  <a:lnTo>
                    <a:pt x="2364" y="2580"/>
                  </a:lnTo>
                  <a:close/>
                  <a:moveTo>
                    <a:pt x="2446" y="2439"/>
                  </a:moveTo>
                  <a:cubicBezTo>
                    <a:pt x="2448" y="2421"/>
                    <a:pt x="2448" y="2406"/>
                    <a:pt x="2446" y="2394"/>
                  </a:cubicBezTo>
                  <a:cubicBezTo>
                    <a:pt x="2443" y="2381"/>
                    <a:pt x="2438" y="2371"/>
                    <a:pt x="2430" y="2363"/>
                  </a:cubicBezTo>
                  <a:cubicBezTo>
                    <a:pt x="2423" y="2356"/>
                    <a:pt x="2415" y="2351"/>
                    <a:pt x="2406" y="2349"/>
                  </a:cubicBezTo>
                  <a:cubicBezTo>
                    <a:pt x="2397" y="2348"/>
                    <a:pt x="2388" y="2348"/>
                    <a:pt x="2379" y="2351"/>
                  </a:cubicBezTo>
                  <a:cubicBezTo>
                    <a:pt x="2370" y="2353"/>
                    <a:pt x="2361" y="2357"/>
                    <a:pt x="2353" y="2363"/>
                  </a:cubicBezTo>
                  <a:cubicBezTo>
                    <a:pt x="2344" y="2369"/>
                    <a:pt x="2336" y="2376"/>
                    <a:pt x="2328" y="2383"/>
                  </a:cubicBezTo>
                  <a:cubicBezTo>
                    <a:pt x="2320" y="2391"/>
                    <a:pt x="2313" y="2400"/>
                    <a:pt x="2307" y="2409"/>
                  </a:cubicBezTo>
                  <a:cubicBezTo>
                    <a:pt x="2300" y="2418"/>
                    <a:pt x="2295" y="2426"/>
                    <a:pt x="2293" y="2436"/>
                  </a:cubicBezTo>
                  <a:cubicBezTo>
                    <a:pt x="2290" y="2445"/>
                    <a:pt x="2289" y="2453"/>
                    <a:pt x="2290" y="2462"/>
                  </a:cubicBezTo>
                  <a:cubicBezTo>
                    <a:pt x="2292" y="2471"/>
                    <a:pt x="2297" y="2479"/>
                    <a:pt x="2304" y="2487"/>
                  </a:cubicBezTo>
                  <a:cubicBezTo>
                    <a:pt x="2308" y="2490"/>
                    <a:pt x="2312" y="2494"/>
                    <a:pt x="2317" y="2496"/>
                  </a:cubicBezTo>
                  <a:cubicBezTo>
                    <a:pt x="2322" y="2499"/>
                    <a:pt x="2327" y="2501"/>
                    <a:pt x="2333" y="2502"/>
                  </a:cubicBezTo>
                  <a:cubicBezTo>
                    <a:pt x="2340" y="2503"/>
                    <a:pt x="2347" y="2504"/>
                    <a:pt x="2355" y="2504"/>
                  </a:cubicBezTo>
                  <a:cubicBezTo>
                    <a:pt x="2363" y="2504"/>
                    <a:pt x="2372" y="2504"/>
                    <a:pt x="2383" y="2503"/>
                  </a:cubicBezTo>
                  <a:lnTo>
                    <a:pt x="2446" y="2439"/>
                  </a:lnTo>
                  <a:close/>
                  <a:moveTo>
                    <a:pt x="2642" y="2686"/>
                  </a:moveTo>
                  <a:cubicBezTo>
                    <a:pt x="2637" y="2690"/>
                    <a:pt x="2633" y="2692"/>
                    <a:pt x="2629" y="2692"/>
                  </a:cubicBezTo>
                  <a:cubicBezTo>
                    <a:pt x="2624" y="2692"/>
                    <a:pt x="2621" y="2690"/>
                    <a:pt x="2618" y="2687"/>
                  </a:cubicBezTo>
                  <a:lnTo>
                    <a:pt x="2513" y="2582"/>
                  </a:lnTo>
                  <a:cubicBezTo>
                    <a:pt x="2504" y="2591"/>
                    <a:pt x="2497" y="2600"/>
                    <a:pt x="2492" y="2609"/>
                  </a:cubicBezTo>
                  <a:cubicBezTo>
                    <a:pt x="2486" y="2618"/>
                    <a:pt x="2483" y="2627"/>
                    <a:pt x="2482" y="2636"/>
                  </a:cubicBezTo>
                  <a:cubicBezTo>
                    <a:pt x="2482" y="2645"/>
                    <a:pt x="2483" y="2654"/>
                    <a:pt x="2487" y="2664"/>
                  </a:cubicBezTo>
                  <a:cubicBezTo>
                    <a:pt x="2491" y="2673"/>
                    <a:pt x="2498" y="2682"/>
                    <a:pt x="2507" y="2692"/>
                  </a:cubicBezTo>
                  <a:cubicBezTo>
                    <a:pt x="2515" y="2700"/>
                    <a:pt x="2522" y="2706"/>
                    <a:pt x="2529" y="2710"/>
                  </a:cubicBezTo>
                  <a:cubicBezTo>
                    <a:pt x="2536" y="2715"/>
                    <a:pt x="2543" y="2719"/>
                    <a:pt x="2549" y="2722"/>
                  </a:cubicBezTo>
                  <a:cubicBezTo>
                    <a:pt x="2555" y="2724"/>
                    <a:pt x="2560" y="2727"/>
                    <a:pt x="2564" y="2728"/>
                  </a:cubicBezTo>
                  <a:cubicBezTo>
                    <a:pt x="2568" y="2730"/>
                    <a:pt x="2570" y="2731"/>
                    <a:pt x="2572" y="2733"/>
                  </a:cubicBezTo>
                  <a:cubicBezTo>
                    <a:pt x="2573" y="2733"/>
                    <a:pt x="2573" y="2734"/>
                    <a:pt x="2573" y="2735"/>
                  </a:cubicBezTo>
                  <a:cubicBezTo>
                    <a:pt x="2574" y="2736"/>
                    <a:pt x="2574" y="2738"/>
                    <a:pt x="2573" y="2739"/>
                  </a:cubicBezTo>
                  <a:cubicBezTo>
                    <a:pt x="2573" y="2740"/>
                    <a:pt x="2572" y="2741"/>
                    <a:pt x="2570" y="2743"/>
                  </a:cubicBezTo>
                  <a:cubicBezTo>
                    <a:pt x="2569" y="2745"/>
                    <a:pt x="2567" y="2747"/>
                    <a:pt x="2565" y="2749"/>
                  </a:cubicBezTo>
                  <a:cubicBezTo>
                    <a:pt x="2564" y="2750"/>
                    <a:pt x="2562" y="2751"/>
                    <a:pt x="2561" y="2752"/>
                  </a:cubicBezTo>
                  <a:cubicBezTo>
                    <a:pt x="2560" y="2753"/>
                    <a:pt x="2559" y="2754"/>
                    <a:pt x="2558" y="2755"/>
                  </a:cubicBezTo>
                  <a:cubicBezTo>
                    <a:pt x="2557" y="2756"/>
                    <a:pt x="2556" y="2756"/>
                    <a:pt x="2554" y="2757"/>
                  </a:cubicBezTo>
                  <a:cubicBezTo>
                    <a:pt x="2553" y="2757"/>
                    <a:pt x="2552" y="2757"/>
                    <a:pt x="2551" y="2757"/>
                  </a:cubicBezTo>
                  <a:cubicBezTo>
                    <a:pt x="2549" y="2757"/>
                    <a:pt x="2547" y="2756"/>
                    <a:pt x="2542" y="2754"/>
                  </a:cubicBezTo>
                  <a:cubicBezTo>
                    <a:pt x="2537" y="2753"/>
                    <a:pt x="2532" y="2750"/>
                    <a:pt x="2525" y="2746"/>
                  </a:cubicBezTo>
                  <a:cubicBezTo>
                    <a:pt x="2519" y="2743"/>
                    <a:pt x="2512" y="2738"/>
                    <a:pt x="2504" y="2733"/>
                  </a:cubicBezTo>
                  <a:cubicBezTo>
                    <a:pt x="2496" y="2727"/>
                    <a:pt x="2488" y="2720"/>
                    <a:pt x="2481" y="2713"/>
                  </a:cubicBezTo>
                  <a:cubicBezTo>
                    <a:pt x="2468" y="2700"/>
                    <a:pt x="2458" y="2687"/>
                    <a:pt x="2452" y="2673"/>
                  </a:cubicBezTo>
                  <a:cubicBezTo>
                    <a:pt x="2446" y="2660"/>
                    <a:pt x="2443" y="2646"/>
                    <a:pt x="2443" y="2632"/>
                  </a:cubicBezTo>
                  <a:cubicBezTo>
                    <a:pt x="2444" y="2618"/>
                    <a:pt x="2448" y="2604"/>
                    <a:pt x="2455" y="2590"/>
                  </a:cubicBezTo>
                  <a:cubicBezTo>
                    <a:pt x="2463" y="2575"/>
                    <a:pt x="2473" y="2561"/>
                    <a:pt x="2488" y="2547"/>
                  </a:cubicBezTo>
                  <a:cubicBezTo>
                    <a:pt x="2502" y="2533"/>
                    <a:pt x="2516" y="2523"/>
                    <a:pt x="2530" y="2515"/>
                  </a:cubicBezTo>
                  <a:cubicBezTo>
                    <a:pt x="2544" y="2508"/>
                    <a:pt x="2559" y="2504"/>
                    <a:pt x="2573" y="2503"/>
                  </a:cubicBezTo>
                  <a:cubicBezTo>
                    <a:pt x="2587" y="2502"/>
                    <a:pt x="2601" y="2504"/>
                    <a:pt x="2615" y="2509"/>
                  </a:cubicBezTo>
                  <a:cubicBezTo>
                    <a:pt x="2628" y="2515"/>
                    <a:pt x="2641" y="2523"/>
                    <a:pt x="2652" y="2535"/>
                  </a:cubicBezTo>
                  <a:cubicBezTo>
                    <a:pt x="2665" y="2547"/>
                    <a:pt x="2674" y="2560"/>
                    <a:pt x="2678" y="2573"/>
                  </a:cubicBezTo>
                  <a:cubicBezTo>
                    <a:pt x="2683" y="2586"/>
                    <a:pt x="2685" y="2598"/>
                    <a:pt x="2684" y="2611"/>
                  </a:cubicBezTo>
                  <a:cubicBezTo>
                    <a:pt x="2683" y="2623"/>
                    <a:pt x="2679" y="2635"/>
                    <a:pt x="2672" y="2647"/>
                  </a:cubicBezTo>
                  <a:cubicBezTo>
                    <a:pt x="2666" y="2659"/>
                    <a:pt x="2658" y="2670"/>
                    <a:pt x="2647" y="2680"/>
                  </a:cubicBezTo>
                  <a:lnTo>
                    <a:pt x="2642" y="2686"/>
                  </a:lnTo>
                  <a:close/>
                  <a:moveTo>
                    <a:pt x="2621" y="2648"/>
                  </a:moveTo>
                  <a:cubicBezTo>
                    <a:pt x="2637" y="2633"/>
                    <a:pt x="2645" y="2617"/>
                    <a:pt x="2647" y="2601"/>
                  </a:cubicBezTo>
                  <a:cubicBezTo>
                    <a:pt x="2649" y="2585"/>
                    <a:pt x="2642" y="2570"/>
                    <a:pt x="2628" y="2556"/>
                  </a:cubicBezTo>
                  <a:cubicBezTo>
                    <a:pt x="2621" y="2549"/>
                    <a:pt x="2613" y="2544"/>
                    <a:pt x="2605" y="2541"/>
                  </a:cubicBezTo>
                  <a:cubicBezTo>
                    <a:pt x="2597" y="2539"/>
                    <a:pt x="2589" y="2538"/>
                    <a:pt x="2581" y="2538"/>
                  </a:cubicBezTo>
                  <a:cubicBezTo>
                    <a:pt x="2572" y="2539"/>
                    <a:pt x="2564" y="2542"/>
                    <a:pt x="2556" y="2545"/>
                  </a:cubicBezTo>
                  <a:cubicBezTo>
                    <a:pt x="2548" y="2549"/>
                    <a:pt x="2541" y="2555"/>
                    <a:pt x="2534" y="2561"/>
                  </a:cubicBezTo>
                  <a:lnTo>
                    <a:pt x="2621" y="2648"/>
                  </a:lnTo>
                  <a:close/>
                  <a:moveTo>
                    <a:pt x="2842" y="2762"/>
                  </a:moveTo>
                  <a:cubicBezTo>
                    <a:pt x="2840" y="2764"/>
                    <a:pt x="2837" y="2766"/>
                    <a:pt x="2836" y="2768"/>
                  </a:cubicBezTo>
                  <a:cubicBezTo>
                    <a:pt x="2834" y="2770"/>
                    <a:pt x="2832" y="2771"/>
                    <a:pt x="2831" y="2771"/>
                  </a:cubicBezTo>
                  <a:cubicBezTo>
                    <a:pt x="2829" y="2772"/>
                    <a:pt x="2828" y="2772"/>
                    <a:pt x="2827" y="2772"/>
                  </a:cubicBezTo>
                  <a:cubicBezTo>
                    <a:pt x="2826" y="2772"/>
                    <a:pt x="2825" y="2772"/>
                    <a:pt x="2824" y="2771"/>
                  </a:cubicBezTo>
                  <a:cubicBezTo>
                    <a:pt x="2823" y="2770"/>
                    <a:pt x="2822" y="2769"/>
                    <a:pt x="2821" y="2767"/>
                  </a:cubicBezTo>
                  <a:cubicBezTo>
                    <a:pt x="2821" y="2765"/>
                    <a:pt x="2820" y="2763"/>
                    <a:pt x="2818" y="2761"/>
                  </a:cubicBezTo>
                  <a:cubicBezTo>
                    <a:pt x="2817" y="2758"/>
                    <a:pt x="2816" y="2756"/>
                    <a:pt x="2814" y="2753"/>
                  </a:cubicBezTo>
                  <a:cubicBezTo>
                    <a:pt x="2813" y="2751"/>
                    <a:pt x="2810" y="2748"/>
                    <a:pt x="2808" y="2746"/>
                  </a:cubicBezTo>
                  <a:cubicBezTo>
                    <a:pt x="2805" y="2743"/>
                    <a:pt x="2802" y="2740"/>
                    <a:pt x="2798" y="2739"/>
                  </a:cubicBezTo>
                  <a:cubicBezTo>
                    <a:pt x="2794" y="2737"/>
                    <a:pt x="2789" y="2736"/>
                    <a:pt x="2783" y="2736"/>
                  </a:cubicBezTo>
                  <a:cubicBezTo>
                    <a:pt x="2777" y="2735"/>
                    <a:pt x="2770" y="2736"/>
                    <a:pt x="2762" y="2737"/>
                  </a:cubicBezTo>
                  <a:cubicBezTo>
                    <a:pt x="2754" y="2738"/>
                    <a:pt x="2745" y="2739"/>
                    <a:pt x="2734" y="2742"/>
                  </a:cubicBezTo>
                  <a:lnTo>
                    <a:pt x="2630" y="2846"/>
                  </a:lnTo>
                  <a:cubicBezTo>
                    <a:pt x="2629" y="2847"/>
                    <a:pt x="2628" y="2848"/>
                    <a:pt x="2627" y="2848"/>
                  </a:cubicBezTo>
                  <a:cubicBezTo>
                    <a:pt x="2626" y="2848"/>
                    <a:pt x="2624" y="2848"/>
                    <a:pt x="2623" y="2847"/>
                  </a:cubicBezTo>
                  <a:cubicBezTo>
                    <a:pt x="2621" y="2847"/>
                    <a:pt x="2619" y="2846"/>
                    <a:pt x="2617" y="2844"/>
                  </a:cubicBezTo>
                  <a:cubicBezTo>
                    <a:pt x="2615" y="2842"/>
                    <a:pt x="2613" y="2840"/>
                    <a:pt x="2610" y="2837"/>
                  </a:cubicBezTo>
                  <a:cubicBezTo>
                    <a:pt x="2607" y="2834"/>
                    <a:pt x="2605" y="2832"/>
                    <a:pt x="2603" y="2830"/>
                  </a:cubicBezTo>
                  <a:cubicBezTo>
                    <a:pt x="2601" y="2828"/>
                    <a:pt x="2600" y="2826"/>
                    <a:pt x="2599" y="2824"/>
                  </a:cubicBezTo>
                  <a:cubicBezTo>
                    <a:pt x="2599" y="2823"/>
                    <a:pt x="2599" y="2821"/>
                    <a:pt x="2599" y="2820"/>
                  </a:cubicBezTo>
                  <a:cubicBezTo>
                    <a:pt x="2599" y="2819"/>
                    <a:pt x="2600" y="2818"/>
                    <a:pt x="2601" y="2817"/>
                  </a:cubicBezTo>
                  <a:lnTo>
                    <a:pt x="2760" y="2658"/>
                  </a:lnTo>
                  <a:cubicBezTo>
                    <a:pt x="2761" y="2657"/>
                    <a:pt x="2762" y="2657"/>
                    <a:pt x="2763" y="2656"/>
                  </a:cubicBezTo>
                  <a:cubicBezTo>
                    <a:pt x="2764" y="2656"/>
                    <a:pt x="2765" y="2656"/>
                    <a:pt x="2767" y="2657"/>
                  </a:cubicBezTo>
                  <a:cubicBezTo>
                    <a:pt x="2768" y="2657"/>
                    <a:pt x="2770" y="2658"/>
                    <a:pt x="2772" y="2660"/>
                  </a:cubicBezTo>
                  <a:cubicBezTo>
                    <a:pt x="2774" y="2661"/>
                    <a:pt x="2776" y="2663"/>
                    <a:pt x="2778" y="2666"/>
                  </a:cubicBezTo>
                  <a:cubicBezTo>
                    <a:pt x="2781" y="2669"/>
                    <a:pt x="2783" y="2671"/>
                    <a:pt x="2785" y="2673"/>
                  </a:cubicBezTo>
                  <a:cubicBezTo>
                    <a:pt x="2786" y="2675"/>
                    <a:pt x="2787" y="2676"/>
                    <a:pt x="2788" y="2678"/>
                  </a:cubicBezTo>
                  <a:cubicBezTo>
                    <a:pt x="2788" y="2679"/>
                    <a:pt x="2788" y="2680"/>
                    <a:pt x="2788" y="2681"/>
                  </a:cubicBezTo>
                  <a:cubicBezTo>
                    <a:pt x="2788" y="2683"/>
                    <a:pt x="2787" y="2684"/>
                    <a:pt x="2786" y="2684"/>
                  </a:cubicBezTo>
                  <a:lnTo>
                    <a:pt x="2763" y="2708"/>
                  </a:lnTo>
                  <a:cubicBezTo>
                    <a:pt x="2774" y="2706"/>
                    <a:pt x="2783" y="2705"/>
                    <a:pt x="2791" y="2704"/>
                  </a:cubicBezTo>
                  <a:cubicBezTo>
                    <a:pt x="2799" y="2704"/>
                    <a:pt x="2805" y="2705"/>
                    <a:pt x="2811" y="2706"/>
                  </a:cubicBezTo>
                  <a:cubicBezTo>
                    <a:pt x="2817" y="2707"/>
                    <a:pt x="2822" y="2709"/>
                    <a:pt x="2826" y="2711"/>
                  </a:cubicBezTo>
                  <a:cubicBezTo>
                    <a:pt x="2830" y="2714"/>
                    <a:pt x="2834" y="2717"/>
                    <a:pt x="2838" y="2720"/>
                  </a:cubicBezTo>
                  <a:cubicBezTo>
                    <a:pt x="2839" y="2722"/>
                    <a:pt x="2841" y="2723"/>
                    <a:pt x="2842" y="2726"/>
                  </a:cubicBezTo>
                  <a:cubicBezTo>
                    <a:pt x="2844" y="2728"/>
                    <a:pt x="2846" y="2730"/>
                    <a:pt x="2848" y="2733"/>
                  </a:cubicBezTo>
                  <a:cubicBezTo>
                    <a:pt x="2849" y="2735"/>
                    <a:pt x="2851" y="2738"/>
                    <a:pt x="2852" y="2740"/>
                  </a:cubicBezTo>
                  <a:cubicBezTo>
                    <a:pt x="2853" y="2742"/>
                    <a:pt x="2853" y="2744"/>
                    <a:pt x="2854" y="2745"/>
                  </a:cubicBezTo>
                  <a:cubicBezTo>
                    <a:pt x="2854" y="2747"/>
                    <a:pt x="2854" y="2748"/>
                    <a:pt x="2853" y="2748"/>
                  </a:cubicBezTo>
                  <a:cubicBezTo>
                    <a:pt x="2853" y="2749"/>
                    <a:pt x="2853" y="2750"/>
                    <a:pt x="2852" y="2751"/>
                  </a:cubicBezTo>
                  <a:cubicBezTo>
                    <a:pt x="2851" y="2752"/>
                    <a:pt x="2850" y="2753"/>
                    <a:pt x="2849" y="2755"/>
                  </a:cubicBezTo>
                  <a:cubicBezTo>
                    <a:pt x="2847" y="2757"/>
                    <a:pt x="2845" y="2759"/>
                    <a:pt x="2842" y="2762"/>
                  </a:cubicBezTo>
                  <a:close/>
                  <a:moveTo>
                    <a:pt x="2953" y="3006"/>
                  </a:moveTo>
                  <a:cubicBezTo>
                    <a:pt x="2939" y="3020"/>
                    <a:pt x="2925" y="3031"/>
                    <a:pt x="2911" y="3039"/>
                  </a:cubicBezTo>
                  <a:cubicBezTo>
                    <a:pt x="2897" y="3047"/>
                    <a:pt x="2884" y="3052"/>
                    <a:pt x="2870" y="3054"/>
                  </a:cubicBezTo>
                  <a:cubicBezTo>
                    <a:pt x="2856" y="3056"/>
                    <a:pt x="2843" y="3055"/>
                    <a:pt x="2831" y="3050"/>
                  </a:cubicBezTo>
                  <a:cubicBezTo>
                    <a:pt x="2818" y="3046"/>
                    <a:pt x="2806" y="3038"/>
                    <a:pt x="2795" y="3027"/>
                  </a:cubicBezTo>
                  <a:cubicBezTo>
                    <a:pt x="2790" y="3022"/>
                    <a:pt x="2786" y="3017"/>
                    <a:pt x="2783" y="3012"/>
                  </a:cubicBezTo>
                  <a:cubicBezTo>
                    <a:pt x="2779" y="3007"/>
                    <a:pt x="2777" y="3001"/>
                    <a:pt x="2775" y="2994"/>
                  </a:cubicBezTo>
                  <a:cubicBezTo>
                    <a:pt x="2773" y="2988"/>
                    <a:pt x="2772" y="2981"/>
                    <a:pt x="2771" y="2974"/>
                  </a:cubicBezTo>
                  <a:cubicBezTo>
                    <a:pt x="2770" y="2966"/>
                    <a:pt x="2770" y="2957"/>
                    <a:pt x="2770" y="2948"/>
                  </a:cubicBezTo>
                  <a:lnTo>
                    <a:pt x="2751" y="2968"/>
                  </a:lnTo>
                  <a:cubicBezTo>
                    <a:pt x="2750" y="2968"/>
                    <a:pt x="2749" y="2969"/>
                    <a:pt x="2748" y="2969"/>
                  </a:cubicBezTo>
                  <a:cubicBezTo>
                    <a:pt x="2747" y="2970"/>
                    <a:pt x="2745" y="2969"/>
                    <a:pt x="2744" y="2969"/>
                  </a:cubicBezTo>
                  <a:cubicBezTo>
                    <a:pt x="2742" y="2968"/>
                    <a:pt x="2741" y="2967"/>
                    <a:pt x="2739" y="2966"/>
                  </a:cubicBezTo>
                  <a:cubicBezTo>
                    <a:pt x="2737" y="2964"/>
                    <a:pt x="2735" y="2962"/>
                    <a:pt x="2732" y="2960"/>
                  </a:cubicBezTo>
                  <a:cubicBezTo>
                    <a:pt x="2730" y="2958"/>
                    <a:pt x="2728" y="2955"/>
                    <a:pt x="2727" y="2954"/>
                  </a:cubicBezTo>
                  <a:cubicBezTo>
                    <a:pt x="2725" y="2952"/>
                    <a:pt x="2724" y="2950"/>
                    <a:pt x="2724" y="2949"/>
                  </a:cubicBezTo>
                  <a:cubicBezTo>
                    <a:pt x="2723" y="2947"/>
                    <a:pt x="2723" y="2946"/>
                    <a:pt x="2723" y="2945"/>
                  </a:cubicBezTo>
                  <a:cubicBezTo>
                    <a:pt x="2724" y="2944"/>
                    <a:pt x="2724" y="2943"/>
                    <a:pt x="2725" y="2942"/>
                  </a:cubicBezTo>
                  <a:lnTo>
                    <a:pt x="2961" y="2706"/>
                  </a:lnTo>
                  <a:cubicBezTo>
                    <a:pt x="2962" y="2705"/>
                    <a:pt x="2963" y="2704"/>
                    <a:pt x="2964" y="2704"/>
                  </a:cubicBezTo>
                  <a:cubicBezTo>
                    <a:pt x="2965" y="2703"/>
                    <a:pt x="2967" y="2704"/>
                    <a:pt x="2968" y="2704"/>
                  </a:cubicBezTo>
                  <a:cubicBezTo>
                    <a:pt x="2970" y="2705"/>
                    <a:pt x="2972" y="2706"/>
                    <a:pt x="2974" y="2708"/>
                  </a:cubicBezTo>
                  <a:cubicBezTo>
                    <a:pt x="2976" y="2709"/>
                    <a:pt x="2979" y="2712"/>
                    <a:pt x="2981" y="2714"/>
                  </a:cubicBezTo>
                  <a:cubicBezTo>
                    <a:pt x="2984" y="2717"/>
                    <a:pt x="2987" y="2720"/>
                    <a:pt x="2988" y="2722"/>
                  </a:cubicBezTo>
                  <a:cubicBezTo>
                    <a:pt x="2990" y="2724"/>
                    <a:pt x="2991" y="2726"/>
                    <a:pt x="2992" y="2727"/>
                  </a:cubicBezTo>
                  <a:cubicBezTo>
                    <a:pt x="2992" y="2729"/>
                    <a:pt x="2992" y="2730"/>
                    <a:pt x="2992" y="2732"/>
                  </a:cubicBezTo>
                  <a:cubicBezTo>
                    <a:pt x="2992" y="2733"/>
                    <a:pt x="2991" y="2734"/>
                    <a:pt x="2990" y="2735"/>
                  </a:cubicBezTo>
                  <a:lnTo>
                    <a:pt x="2895" y="2830"/>
                  </a:lnTo>
                  <a:cubicBezTo>
                    <a:pt x="2905" y="2830"/>
                    <a:pt x="2913" y="2830"/>
                    <a:pt x="2921" y="2831"/>
                  </a:cubicBezTo>
                  <a:cubicBezTo>
                    <a:pt x="2929" y="2833"/>
                    <a:pt x="2936" y="2834"/>
                    <a:pt x="2942" y="2836"/>
                  </a:cubicBezTo>
                  <a:cubicBezTo>
                    <a:pt x="2948" y="2839"/>
                    <a:pt x="2954" y="2841"/>
                    <a:pt x="2959" y="2845"/>
                  </a:cubicBezTo>
                  <a:cubicBezTo>
                    <a:pt x="2965" y="2848"/>
                    <a:pt x="2969" y="2852"/>
                    <a:pt x="2974" y="2857"/>
                  </a:cubicBezTo>
                  <a:cubicBezTo>
                    <a:pt x="2986" y="2868"/>
                    <a:pt x="2993" y="2880"/>
                    <a:pt x="2997" y="2893"/>
                  </a:cubicBezTo>
                  <a:cubicBezTo>
                    <a:pt x="3000" y="2906"/>
                    <a:pt x="3001" y="2919"/>
                    <a:pt x="2998" y="2932"/>
                  </a:cubicBezTo>
                  <a:cubicBezTo>
                    <a:pt x="2996" y="2944"/>
                    <a:pt x="2990" y="2957"/>
                    <a:pt x="2982" y="2970"/>
                  </a:cubicBezTo>
                  <a:cubicBezTo>
                    <a:pt x="2974" y="2983"/>
                    <a:pt x="2965" y="2995"/>
                    <a:pt x="2953" y="3006"/>
                  </a:cubicBezTo>
                  <a:close/>
                  <a:moveTo>
                    <a:pt x="2920" y="2980"/>
                  </a:moveTo>
                  <a:cubicBezTo>
                    <a:pt x="2928" y="2971"/>
                    <a:pt x="2935" y="2963"/>
                    <a:pt x="2941" y="2954"/>
                  </a:cubicBezTo>
                  <a:cubicBezTo>
                    <a:pt x="2948" y="2945"/>
                    <a:pt x="2952" y="2936"/>
                    <a:pt x="2955" y="2927"/>
                  </a:cubicBezTo>
                  <a:cubicBezTo>
                    <a:pt x="2958" y="2918"/>
                    <a:pt x="2959" y="2909"/>
                    <a:pt x="2957" y="2901"/>
                  </a:cubicBezTo>
                  <a:cubicBezTo>
                    <a:pt x="2956" y="2892"/>
                    <a:pt x="2951" y="2884"/>
                    <a:pt x="2944" y="2876"/>
                  </a:cubicBezTo>
                  <a:cubicBezTo>
                    <a:pt x="2940" y="2872"/>
                    <a:pt x="2935" y="2869"/>
                    <a:pt x="2931" y="2867"/>
                  </a:cubicBezTo>
                  <a:cubicBezTo>
                    <a:pt x="2926" y="2864"/>
                    <a:pt x="2920" y="2862"/>
                    <a:pt x="2914" y="2861"/>
                  </a:cubicBezTo>
                  <a:cubicBezTo>
                    <a:pt x="2908" y="2859"/>
                    <a:pt x="2901" y="2859"/>
                    <a:pt x="2893" y="2858"/>
                  </a:cubicBezTo>
                  <a:cubicBezTo>
                    <a:pt x="2885" y="2858"/>
                    <a:pt x="2876" y="2859"/>
                    <a:pt x="2865" y="2860"/>
                  </a:cubicBezTo>
                  <a:lnTo>
                    <a:pt x="2802" y="2923"/>
                  </a:lnTo>
                  <a:cubicBezTo>
                    <a:pt x="2800" y="2941"/>
                    <a:pt x="2800" y="2956"/>
                    <a:pt x="2802" y="2969"/>
                  </a:cubicBezTo>
                  <a:cubicBezTo>
                    <a:pt x="2805" y="2981"/>
                    <a:pt x="2810" y="2992"/>
                    <a:pt x="2818" y="3000"/>
                  </a:cubicBezTo>
                  <a:cubicBezTo>
                    <a:pt x="2825" y="3007"/>
                    <a:pt x="2833" y="3011"/>
                    <a:pt x="2842" y="3013"/>
                  </a:cubicBezTo>
                  <a:cubicBezTo>
                    <a:pt x="2851" y="3015"/>
                    <a:pt x="2859" y="3014"/>
                    <a:pt x="2869" y="3012"/>
                  </a:cubicBezTo>
                  <a:cubicBezTo>
                    <a:pt x="2878" y="3009"/>
                    <a:pt x="2887" y="3005"/>
                    <a:pt x="2895" y="2999"/>
                  </a:cubicBezTo>
                  <a:cubicBezTo>
                    <a:pt x="2904" y="2994"/>
                    <a:pt x="2912" y="2987"/>
                    <a:pt x="2920" y="2980"/>
                  </a:cubicBezTo>
                  <a:close/>
                  <a:moveTo>
                    <a:pt x="3159" y="3078"/>
                  </a:moveTo>
                  <a:cubicBezTo>
                    <a:pt x="3156" y="3081"/>
                    <a:pt x="3154" y="3083"/>
                    <a:pt x="3152" y="3085"/>
                  </a:cubicBezTo>
                  <a:cubicBezTo>
                    <a:pt x="3150" y="3086"/>
                    <a:pt x="3149" y="3088"/>
                    <a:pt x="3148" y="3088"/>
                  </a:cubicBezTo>
                  <a:cubicBezTo>
                    <a:pt x="3146" y="3089"/>
                    <a:pt x="3145" y="3089"/>
                    <a:pt x="3144" y="3089"/>
                  </a:cubicBezTo>
                  <a:cubicBezTo>
                    <a:pt x="3143" y="3089"/>
                    <a:pt x="3142" y="3089"/>
                    <a:pt x="3141" y="3088"/>
                  </a:cubicBezTo>
                  <a:cubicBezTo>
                    <a:pt x="3140" y="3087"/>
                    <a:pt x="3139" y="3085"/>
                    <a:pt x="3138" y="3083"/>
                  </a:cubicBezTo>
                  <a:cubicBezTo>
                    <a:pt x="3137" y="3082"/>
                    <a:pt x="3136" y="3080"/>
                    <a:pt x="3135" y="3077"/>
                  </a:cubicBezTo>
                  <a:cubicBezTo>
                    <a:pt x="3134" y="3075"/>
                    <a:pt x="3133" y="3073"/>
                    <a:pt x="3131" y="3070"/>
                  </a:cubicBezTo>
                  <a:cubicBezTo>
                    <a:pt x="3129" y="3067"/>
                    <a:pt x="3127" y="3065"/>
                    <a:pt x="3125" y="3062"/>
                  </a:cubicBezTo>
                  <a:cubicBezTo>
                    <a:pt x="3122" y="3059"/>
                    <a:pt x="3118" y="3057"/>
                    <a:pt x="3114" y="3056"/>
                  </a:cubicBezTo>
                  <a:cubicBezTo>
                    <a:pt x="3110" y="3054"/>
                    <a:pt x="3105" y="3053"/>
                    <a:pt x="3100" y="3052"/>
                  </a:cubicBezTo>
                  <a:cubicBezTo>
                    <a:pt x="3094" y="3052"/>
                    <a:pt x="3087" y="3052"/>
                    <a:pt x="3079" y="3053"/>
                  </a:cubicBezTo>
                  <a:cubicBezTo>
                    <a:pt x="3071" y="3054"/>
                    <a:pt x="3062" y="3056"/>
                    <a:pt x="3051" y="3059"/>
                  </a:cubicBezTo>
                  <a:lnTo>
                    <a:pt x="2947" y="3163"/>
                  </a:lnTo>
                  <a:cubicBezTo>
                    <a:pt x="2946" y="3164"/>
                    <a:pt x="2945" y="3165"/>
                    <a:pt x="2944" y="3165"/>
                  </a:cubicBezTo>
                  <a:cubicBezTo>
                    <a:pt x="2942" y="3165"/>
                    <a:pt x="2941" y="3165"/>
                    <a:pt x="2940" y="3164"/>
                  </a:cubicBezTo>
                  <a:cubicBezTo>
                    <a:pt x="2938" y="3164"/>
                    <a:pt x="2936" y="3163"/>
                    <a:pt x="2934" y="3161"/>
                  </a:cubicBezTo>
                  <a:cubicBezTo>
                    <a:pt x="2932" y="3159"/>
                    <a:pt x="2929" y="3157"/>
                    <a:pt x="2926" y="3154"/>
                  </a:cubicBezTo>
                  <a:cubicBezTo>
                    <a:pt x="2924" y="3151"/>
                    <a:pt x="2921" y="3149"/>
                    <a:pt x="2920" y="3147"/>
                  </a:cubicBezTo>
                  <a:cubicBezTo>
                    <a:pt x="2918" y="3144"/>
                    <a:pt x="2917" y="3143"/>
                    <a:pt x="2916" y="3141"/>
                  </a:cubicBezTo>
                  <a:cubicBezTo>
                    <a:pt x="2916" y="3139"/>
                    <a:pt x="2915" y="3138"/>
                    <a:pt x="2916" y="3137"/>
                  </a:cubicBezTo>
                  <a:cubicBezTo>
                    <a:pt x="2916" y="3136"/>
                    <a:pt x="2916" y="3135"/>
                    <a:pt x="2917" y="3134"/>
                  </a:cubicBezTo>
                  <a:lnTo>
                    <a:pt x="3077" y="2975"/>
                  </a:lnTo>
                  <a:cubicBezTo>
                    <a:pt x="3077" y="2974"/>
                    <a:pt x="3078" y="2973"/>
                    <a:pt x="3079" y="2973"/>
                  </a:cubicBezTo>
                  <a:cubicBezTo>
                    <a:pt x="3080" y="2973"/>
                    <a:pt x="3082" y="2973"/>
                    <a:pt x="3083" y="2973"/>
                  </a:cubicBezTo>
                  <a:cubicBezTo>
                    <a:pt x="3085" y="2974"/>
                    <a:pt x="3087" y="2975"/>
                    <a:pt x="3088" y="2976"/>
                  </a:cubicBezTo>
                  <a:cubicBezTo>
                    <a:pt x="3090" y="2978"/>
                    <a:pt x="3093" y="2980"/>
                    <a:pt x="3095" y="2983"/>
                  </a:cubicBezTo>
                  <a:cubicBezTo>
                    <a:pt x="3098" y="2985"/>
                    <a:pt x="3100" y="2988"/>
                    <a:pt x="3101" y="2989"/>
                  </a:cubicBezTo>
                  <a:cubicBezTo>
                    <a:pt x="3103" y="2991"/>
                    <a:pt x="3104" y="2993"/>
                    <a:pt x="3104" y="2994"/>
                  </a:cubicBezTo>
                  <a:cubicBezTo>
                    <a:pt x="3105" y="2996"/>
                    <a:pt x="3105" y="2997"/>
                    <a:pt x="3105" y="2998"/>
                  </a:cubicBezTo>
                  <a:cubicBezTo>
                    <a:pt x="3104" y="2999"/>
                    <a:pt x="3104" y="3000"/>
                    <a:pt x="3103" y="3001"/>
                  </a:cubicBezTo>
                  <a:lnTo>
                    <a:pt x="3080" y="3024"/>
                  </a:lnTo>
                  <a:cubicBezTo>
                    <a:pt x="3090" y="3022"/>
                    <a:pt x="3100" y="3021"/>
                    <a:pt x="3108" y="3021"/>
                  </a:cubicBezTo>
                  <a:cubicBezTo>
                    <a:pt x="3115" y="3021"/>
                    <a:pt x="3122" y="3021"/>
                    <a:pt x="3128" y="3023"/>
                  </a:cubicBezTo>
                  <a:cubicBezTo>
                    <a:pt x="3134" y="3024"/>
                    <a:pt x="3139" y="3025"/>
                    <a:pt x="3143" y="3028"/>
                  </a:cubicBezTo>
                  <a:cubicBezTo>
                    <a:pt x="3147" y="3030"/>
                    <a:pt x="3151" y="3033"/>
                    <a:pt x="3154" y="3037"/>
                  </a:cubicBezTo>
                  <a:cubicBezTo>
                    <a:pt x="3156" y="3038"/>
                    <a:pt x="3157" y="3040"/>
                    <a:pt x="3159" y="3042"/>
                  </a:cubicBezTo>
                  <a:cubicBezTo>
                    <a:pt x="3161" y="3044"/>
                    <a:pt x="3163" y="3047"/>
                    <a:pt x="3164" y="3049"/>
                  </a:cubicBezTo>
                  <a:cubicBezTo>
                    <a:pt x="3166" y="3052"/>
                    <a:pt x="3167" y="3054"/>
                    <a:pt x="3169" y="3057"/>
                  </a:cubicBezTo>
                  <a:cubicBezTo>
                    <a:pt x="3170" y="3059"/>
                    <a:pt x="3170" y="3061"/>
                    <a:pt x="3170" y="3062"/>
                  </a:cubicBezTo>
                  <a:cubicBezTo>
                    <a:pt x="3171" y="3063"/>
                    <a:pt x="3170" y="3064"/>
                    <a:pt x="3170" y="3065"/>
                  </a:cubicBezTo>
                  <a:cubicBezTo>
                    <a:pt x="3170" y="3066"/>
                    <a:pt x="3169" y="3067"/>
                    <a:pt x="3169" y="3068"/>
                  </a:cubicBezTo>
                  <a:cubicBezTo>
                    <a:pt x="3168" y="3069"/>
                    <a:pt x="3167" y="3070"/>
                    <a:pt x="3165" y="3072"/>
                  </a:cubicBezTo>
                  <a:cubicBezTo>
                    <a:pt x="3164" y="3073"/>
                    <a:pt x="3162" y="3076"/>
                    <a:pt x="3159" y="3078"/>
                  </a:cubicBezTo>
                  <a:close/>
                  <a:moveTo>
                    <a:pt x="3178" y="3395"/>
                  </a:moveTo>
                  <a:cubicBezTo>
                    <a:pt x="3177" y="3396"/>
                    <a:pt x="3176" y="3396"/>
                    <a:pt x="3175" y="3397"/>
                  </a:cubicBezTo>
                  <a:cubicBezTo>
                    <a:pt x="3174" y="3397"/>
                    <a:pt x="3173" y="3397"/>
                    <a:pt x="3171" y="3396"/>
                  </a:cubicBezTo>
                  <a:cubicBezTo>
                    <a:pt x="3170" y="3395"/>
                    <a:pt x="3168" y="3394"/>
                    <a:pt x="3166" y="3393"/>
                  </a:cubicBezTo>
                  <a:cubicBezTo>
                    <a:pt x="3164" y="3391"/>
                    <a:pt x="3162" y="3389"/>
                    <a:pt x="3159" y="3387"/>
                  </a:cubicBezTo>
                  <a:cubicBezTo>
                    <a:pt x="3157" y="3384"/>
                    <a:pt x="3155" y="3382"/>
                    <a:pt x="3153" y="3380"/>
                  </a:cubicBezTo>
                  <a:cubicBezTo>
                    <a:pt x="3152" y="3378"/>
                    <a:pt x="3151" y="3376"/>
                    <a:pt x="3150" y="3375"/>
                  </a:cubicBezTo>
                  <a:cubicBezTo>
                    <a:pt x="3150" y="3373"/>
                    <a:pt x="3150" y="3372"/>
                    <a:pt x="3150" y="3371"/>
                  </a:cubicBezTo>
                  <a:cubicBezTo>
                    <a:pt x="3150" y="3370"/>
                    <a:pt x="3151" y="3369"/>
                    <a:pt x="3152" y="3368"/>
                  </a:cubicBezTo>
                  <a:lnTo>
                    <a:pt x="3173" y="3347"/>
                  </a:lnTo>
                  <a:cubicBezTo>
                    <a:pt x="3154" y="3348"/>
                    <a:pt x="3137" y="3347"/>
                    <a:pt x="3124" y="3342"/>
                  </a:cubicBezTo>
                  <a:cubicBezTo>
                    <a:pt x="3110" y="3338"/>
                    <a:pt x="3099" y="3331"/>
                    <a:pt x="3090" y="3322"/>
                  </a:cubicBezTo>
                  <a:cubicBezTo>
                    <a:pt x="3080" y="3312"/>
                    <a:pt x="3072" y="3301"/>
                    <a:pt x="3069" y="3290"/>
                  </a:cubicBezTo>
                  <a:cubicBezTo>
                    <a:pt x="3065" y="3279"/>
                    <a:pt x="3064" y="3269"/>
                    <a:pt x="3065" y="3258"/>
                  </a:cubicBezTo>
                  <a:cubicBezTo>
                    <a:pt x="3067" y="3248"/>
                    <a:pt x="3071" y="3237"/>
                    <a:pt x="3077" y="3227"/>
                  </a:cubicBezTo>
                  <a:cubicBezTo>
                    <a:pt x="3083" y="3217"/>
                    <a:pt x="3092" y="3207"/>
                    <a:pt x="3104" y="3195"/>
                  </a:cubicBezTo>
                  <a:lnTo>
                    <a:pt x="3200" y="3099"/>
                  </a:lnTo>
                  <a:cubicBezTo>
                    <a:pt x="3201" y="3098"/>
                    <a:pt x="3202" y="3097"/>
                    <a:pt x="3203" y="3097"/>
                  </a:cubicBezTo>
                  <a:cubicBezTo>
                    <a:pt x="3204" y="3096"/>
                    <a:pt x="3206" y="3097"/>
                    <a:pt x="3207" y="3097"/>
                  </a:cubicBezTo>
                  <a:cubicBezTo>
                    <a:pt x="3209" y="3098"/>
                    <a:pt x="3211" y="3099"/>
                    <a:pt x="3213" y="3101"/>
                  </a:cubicBezTo>
                  <a:cubicBezTo>
                    <a:pt x="3215" y="3103"/>
                    <a:pt x="3217" y="3105"/>
                    <a:pt x="3220" y="3108"/>
                  </a:cubicBezTo>
                  <a:cubicBezTo>
                    <a:pt x="3223" y="3111"/>
                    <a:pt x="3225" y="3113"/>
                    <a:pt x="3227" y="3115"/>
                  </a:cubicBezTo>
                  <a:cubicBezTo>
                    <a:pt x="3229" y="3117"/>
                    <a:pt x="3230" y="3119"/>
                    <a:pt x="3230" y="3121"/>
                  </a:cubicBezTo>
                  <a:cubicBezTo>
                    <a:pt x="3231" y="3122"/>
                    <a:pt x="3231" y="3124"/>
                    <a:pt x="3231" y="3125"/>
                  </a:cubicBezTo>
                  <a:cubicBezTo>
                    <a:pt x="3231" y="3126"/>
                    <a:pt x="3230" y="3127"/>
                    <a:pt x="3229" y="3128"/>
                  </a:cubicBezTo>
                  <a:lnTo>
                    <a:pt x="3137" y="3220"/>
                  </a:lnTo>
                  <a:cubicBezTo>
                    <a:pt x="3127" y="3230"/>
                    <a:pt x="3121" y="3238"/>
                    <a:pt x="3116" y="3245"/>
                  </a:cubicBezTo>
                  <a:cubicBezTo>
                    <a:pt x="3112" y="3252"/>
                    <a:pt x="3110" y="3259"/>
                    <a:pt x="3108" y="3265"/>
                  </a:cubicBezTo>
                  <a:cubicBezTo>
                    <a:pt x="3107" y="3272"/>
                    <a:pt x="3108" y="3279"/>
                    <a:pt x="3110" y="3285"/>
                  </a:cubicBezTo>
                  <a:cubicBezTo>
                    <a:pt x="3112" y="3292"/>
                    <a:pt x="3116" y="3298"/>
                    <a:pt x="3121" y="3303"/>
                  </a:cubicBezTo>
                  <a:cubicBezTo>
                    <a:pt x="3129" y="3311"/>
                    <a:pt x="3138" y="3315"/>
                    <a:pt x="3151" y="3317"/>
                  </a:cubicBezTo>
                  <a:cubicBezTo>
                    <a:pt x="3163" y="3319"/>
                    <a:pt x="3179" y="3319"/>
                    <a:pt x="3197" y="3318"/>
                  </a:cubicBezTo>
                  <a:lnTo>
                    <a:pt x="3308" y="3206"/>
                  </a:lnTo>
                  <a:cubicBezTo>
                    <a:pt x="3309" y="3205"/>
                    <a:pt x="3310" y="3205"/>
                    <a:pt x="3311" y="3205"/>
                  </a:cubicBezTo>
                  <a:cubicBezTo>
                    <a:pt x="3312" y="3204"/>
                    <a:pt x="3313" y="3205"/>
                    <a:pt x="3315" y="3205"/>
                  </a:cubicBezTo>
                  <a:cubicBezTo>
                    <a:pt x="3317" y="3206"/>
                    <a:pt x="3319" y="3207"/>
                    <a:pt x="3321" y="3209"/>
                  </a:cubicBezTo>
                  <a:cubicBezTo>
                    <a:pt x="3323" y="3210"/>
                    <a:pt x="3325" y="3213"/>
                    <a:pt x="3328" y="3216"/>
                  </a:cubicBezTo>
                  <a:cubicBezTo>
                    <a:pt x="3331" y="3218"/>
                    <a:pt x="3333" y="3221"/>
                    <a:pt x="3335" y="3223"/>
                  </a:cubicBezTo>
                  <a:cubicBezTo>
                    <a:pt x="3337" y="3225"/>
                    <a:pt x="3338" y="3227"/>
                    <a:pt x="3338" y="3228"/>
                  </a:cubicBezTo>
                  <a:cubicBezTo>
                    <a:pt x="3339" y="3230"/>
                    <a:pt x="3339" y="3231"/>
                    <a:pt x="3339" y="3232"/>
                  </a:cubicBezTo>
                  <a:cubicBezTo>
                    <a:pt x="3339" y="3234"/>
                    <a:pt x="3338" y="3235"/>
                    <a:pt x="3337" y="3236"/>
                  </a:cubicBezTo>
                  <a:lnTo>
                    <a:pt x="3178" y="3395"/>
                  </a:lnTo>
                  <a:close/>
                  <a:moveTo>
                    <a:pt x="3306" y="3101"/>
                  </a:moveTo>
                  <a:cubicBezTo>
                    <a:pt x="3300" y="3108"/>
                    <a:pt x="3294" y="3111"/>
                    <a:pt x="3289" y="3111"/>
                  </a:cubicBezTo>
                  <a:cubicBezTo>
                    <a:pt x="3284" y="3111"/>
                    <a:pt x="3279" y="3108"/>
                    <a:pt x="3273" y="3101"/>
                  </a:cubicBezTo>
                  <a:cubicBezTo>
                    <a:pt x="3266" y="3095"/>
                    <a:pt x="3263" y="3090"/>
                    <a:pt x="3263" y="3085"/>
                  </a:cubicBezTo>
                  <a:cubicBezTo>
                    <a:pt x="3263" y="3080"/>
                    <a:pt x="3266" y="3075"/>
                    <a:pt x="3273" y="3069"/>
                  </a:cubicBezTo>
                  <a:cubicBezTo>
                    <a:pt x="3279" y="3062"/>
                    <a:pt x="3285" y="3059"/>
                    <a:pt x="3289" y="3059"/>
                  </a:cubicBezTo>
                  <a:cubicBezTo>
                    <a:pt x="3294" y="3059"/>
                    <a:pt x="3300" y="3062"/>
                    <a:pt x="3306" y="3068"/>
                  </a:cubicBezTo>
                  <a:cubicBezTo>
                    <a:pt x="3312" y="3075"/>
                    <a:pt x="3316" y="3080"/>
                    <a:pt x="3316" y="3085"/>
                  </a:cubicBezTo>
                  <a:cubicBezTo>
                    <a:pt x="3315" y="3089"/>
                    <a:pt x="3312" y="3095"/>
                    <a:pt x="3306" y="3101"/>
                  </a:cubicBezTo>
                  <a:close/>
                  <a:moveTo>
                    <a:pt x="3369" y="3164"/>
                  </a:moveTo>
                  <a:cubicBezTo>
                    <a:pt x="3362" y="3170"/>
                    <a:pt x="3356" y="3173"/>
                    <a:pt x="3352" y="3173"/>
                  </a:cubicBezTo>
                  <a:cubicBezTo>
                    <a:pt x="3347" y="3173"/>
                    <a:pt x="3342" y="3170"/>
                    <a:pt x="3335" y="3164"/>
                  </a:cubicBezTo>
                  <a:cubicBezTo>
                    <a:pt x="3329" y="3158"/>
                    <a:pt x="3326" y="3152"/>
                    <a:pt x="3326" y="3148"/>
                  </a:cubicBezTo>
                  <a:cubicBezTo>
                    <a:pt x="3326" y="3143"/>
                    <a:pt x="3329" y="3138"/>
                    <a:pt x="3335" y="3131"/>
                  </a:cubicBezTo>
                  <a:cubicBezTo>
                    <a:pt x="3342" y="3125"/>
                    <a:pt x="3347" y="3121"/>
                    <a:pt x="3352" y="3121"/>
                  </a:cubicBezTo>
                  <a:cubicBezTo>
                    <a:pt x="3357" y="3121"/>
                    <a:pt x="3362" y="3124"/>
                    <a:pt x="3369" y="3131"/>
                  </a:cubicBezTo>
                  <a:cubicBezTo>
                    <a:pt x="3375" y="3137"/>
                    <a:pt x="3378" y="3143"/>
                    <a:pt x="3378" y="3147"/>
                  </a:cubicBezTo>
                  <a:cubicBezTo>
                    <a:pt x="3378" y="3152"/>
                    <a:pt x="3375" y="3157"/>
                    <a:pt x="3369" y="3164"/>
                  </a:cubicBezTo>
                  <a:close/>
                  <a:moveTo>
                    <a:pt x="3373" y="3541"/>
                  </a:moveTo>
                  <a:cubicBezTo>
                    <a:pt x="3371" y="3543"/>
                    <a:pt x="3369" y="3545"/>
                    <a:pt x="3367" y="3546"/>
                  </a:cubicBezTo>
                  <a:cubicBezTo>
                    <a:pt x="3366" y="3547"/>
                    <a:pt x="3364" y="3548"/>
                    <a:pt x="3363" y="3549"/>
                  </a:cubicBezTo>
                  <a:cubicBezTo>
                    <a:pt x="3362" y="3550"/>
                    <a:pt x="3361" y="3550"/>
                    <a:pt x="3359" y="3551"/>
                  </a:cubicBezTo>
                  <a:cubicBezTo>
                    <a:pt x="3358" y="3551"/>
                    <a:pt x="3356" y="3551"/>
                    <a:pt x="3353" y="3551"/>
                  </a:cubicBezTo>
                  <a:cubicBezTo>
                    <a:pt x="3350" y="3551"/>
                    <a:pt x="3346" y="3551"/>
                    <a:pt x="3340" y="3549"/>
                  </a:cubicBezTo>
                  <a:cubicBezTo>
                    <a:pt x="3334" y="3548"/>
                    <a:pt x="3329" y="3546"/>
                    <a:pt x="3322" y="3543"/>
                  </a:cubicBezTo>
                  <a:cubicBezTo>
                    <a:pt x="3316" y="3540"/>
                    <a:pt x="3310" y="3537"/>
                    <a:pt x="3304" y="3533"/>
                  </a:cubicBezTo>
                  <a:cubicBezTo>
                    <a:pt x="3298" y="3529"/>
                    <a:pt x="3292" y="3524"/>
                    <a:pt x="3286" y="3518"/>
                  </a:cubicBezTo>
                  <a:cubicBezTo>
                    <a:pt x="3275" y="3507"/>
                    <a:pt x="3267" y="3495"/>
                    <a:pt x="3261" y="3482"/>
                  </a:cubicBezTo>
                  <a:cubicBezTo>
                    <a:pt x="3256" y="3470"/>
                    <a:pt x="3254" y="3457"/>
                    <a:pt x="3256" y="3444"/>
                  </a:cubicBezTo>
                  <a:cubicBezTo>
                    <a:pt x="3257" y="3430"/>
                    <a:pt x="3261" y="3417"/>
                    <a:pt x="3269" y="3403"/>
                  </a:cubicBezTo>
                  <a:cubicBezTo>
                    <a:pt x="3276" y="3390"/>
                    <a:pt x="3287" y="3376"/>
                    <a:pt x="3301" y="3362"/>
                  </a:cubicBezTo>
                  <a:cubicBezTo>
                    <a:pt x="3316" y="3346"/>
                    <a:pt x="3332" y="3335"/>
                    <a:pt x="3347" y="3327"/>
                  </a:cubicBezTo>
                  <a:cubicBezTo>
                    <a:pt x="3362" y="3320"/>
                    <a:pt x="3376" y="3316"/>
                    <a:pt x="3390" y="3315"/>
                  </a:cubicBezTo>
                  <a:cubicBezTo>
                    <a:pt x="3404" y="3315"/>
                    <a:pt x="3417" y="3317"/>
                    <a:pt x="3430" y="3323"/>
                  </a:cubicBezTo>
                  <a:cubicBezTo>
                    <a:pt x="3442" y="3329"/>
                    <a:pt x="3454" y="3337"/>
                    <a:pt x="3464" y="3347"/>
                  </a:cubicBezTo>
                  <a:cubicBezTo>
                    <a:pt x="3469" y="3352"/>
                    <a:pt x="3474" y="3358"/>
                    <a:pt x="3478" y="3363"/>
                  </a:cubicBezTo>
                  <a:cubicBezTo>
                    <a:pt x="3481" y="3369"/>
                    <a:pt x="3485" y="3375"/>
                    <a:pt x="3487" y="3380"/>
                  </a:cubicBezTo>
                  <a:cubicBezTo>
                    <a:pt x="3489" y="3386"/>
                    <a:pt x="3491" y="3391"/>
                    <a:pt x="3492" y="3396"/>
                  </a:cubicBezTo>
                  <a:cubicBezTo>
                    <a:pt x="3494" y="3401"/>
                    <a:pt x="3494" y="3405"/>
                    <a:pt x="3494" y="3408"/>
                  </a:cubicBezTo>
                  <a:cubicBezTo>
                    <a:pt x="3494" y="3411"/>
                    <a:pt x="3494" y="3413"/>
                    <a:pt x="3494" y="3414"/>
                  </a:cubicBezTo>
                  <a:cubicBezTo>
                    <a:pt x="3493" y="3416"/>
                    <a:pt x="3493" y="3417"/>
                    <a:pt x="3492" y="3419"/>
                  </a:cubicBezTo>
                  <a:cubicBezTo>
                    <a:pt x="3491" y="3420"/>
                    <a:pt x="3490" y="3422"/>
                    <a:pt x="3489" y="3423"/>
                  </a:cubicBezTo>
                  <a:cubicBezTo>
                    <a:pt x="3488" y="3425"/>
                    <a:pt x="3486" y="3426"/>
                    <a:pt x="3484" y="3429"/>
                  </a:cubicBezTo>
                  <a:cubicBezTo>
                    <a:pt x="3479" y="3433"/>
                    <a:pt x="3475" y="3436"/>
                    <a:pt x="3473" y="3437"/>
                  </a:cubicBezTo>
                  <a:cubicBezTo>
                    <a:pt x="3470" y="3437"/>
                    <a:pt x="3467" y="3437"/>
                    <a:pt x="3466" y="3435"/>
                  </a:cubicBezTo>
                  <a:cubicBezTo>
                    <a:pt x="3464" y="3434"/>
                    <a:pt x="3463" y="3431"/>
                    <a:pt x="3463" y="3426"/>
                  </a:cubicBezTo>
                  <a:cubicBezTo>
                    <a:pt x="3462" y="3422"/>
                    <a:pt x="3462" y="3417"/>
                    <a:pt x="3460" y="3411"/>
                  </a:cubicBezTo>
                  <a:cubicBezTo>
                    <a:pt x="3459" y="3405"/>
                    <a:pt x="3457" y="3399"/>
                    <a:pt x="3454" y="3392"/>
                  </a:cubicBezTo>
                  <a:cubicBezTo>
                    <a:pt x="3451" y="3385"/>
                    <a:pt x="3446" y="3378"/>
                    <a:pt x="3439" y="3371"/>
                  </a:cubicBezTo>
                  <a:cubicBezTo>
                    <a:pt x="3425" y="3357"/>
                    <a:pt x="3409" y="3352"/>
                    <a:pt x="3391" y="3355"/>
                  </a:cubicBezTo>
                  <a:cubicBezTo>
                    <a:pt x="3373" y="3358"/>
                    <a:pt x="3353" y="3370"/>
                    <a:pt x="3333" y="3391"/>
                  </a:cubicBezTo>
                  <a:cubicBezTo>
                    <a:pt x="3322" y="3401"/>
                    <a:pt x="3314" y="3411"/>
                    <a:pt x="3309" y="3421"/>
                  </a:cubicBezTo>
                  <a:cubicBezTo>
                    <a:pt x="3303" y="3430"/>
                    <a:pt x="3299" y="3440"/>
                    <a:pt x="3298" y="3449"/>
                  </a:cubicBezTo>
                  <a:cubicBezTo>
                    <a:pt x="3296" y="3458"/>
                    <a:pt x="3297" y="3466"/>
                    <a:pt x="3300" y="3474"/>
                  </a:cubicBezTo>
                  <a:cubicBezTo>
                    <a:pt x="3303" y="3482"/>
                    <a:pt x="3308" y="3490"/>
                    <a:pt x="3315" y="3497"/>
                  </a:cubicBezTo>
                  <a:cubicBezTo>
                    <a:pt x="3322" y="3503"/>
                    <a:pt x="3329" y="3508"/>
                    <a:pt x="3336" y="3511"/>
                  </a:cubicBezTo>
                  <a:cubicBezTo>
                    <a:pt x="3343" y="3514"/>
                    <a:pt x="3350" y="3516"/>
                    <a:pt x="3356" y="3517"/>
                  </a:cubicBezTo>
                  <a:cubicBezTo>
                    <a:pt x="3362" y="3519"/>
                    <a:pt x="3368" y="3519"/>
                    <a:pt x="3372" y="3520"/>
                  </a:cubicBezTo>
                  <a:cubicBezTo>
                    <a:pt x="3377" y="3520"/>
                    <a:pt x="3380" y="3521"/>
                    <a:pt x="3381" y="3523"/>
                  </a:cubicBezTo>
                  <a:cubicBezTo>
                    <a:pt x="3382" y="3524"/>
                    <a:pt x="3383" y="3525"/>
                    <a:pt x="3383" y="3526"/>
                  </a:cubicBezTo>
                  <a:cubicBezTo>
                    <a:pt x="3383" y="3527"/>
                    <a:pt x="3383" y="3528"/>
                    <a:pt x="3382" y="3529"/>
                  </a:cubicBezTo>
                  <a:cubicBezTo>
                    <a:pt x="3381" y="3531"/>
                    <a:pt x="3380" y="3533"/>
                    <a:pt x="3379" y="3535"/>
                  </a:cubicBezTo>
                  <a:cubicBezTo>
                    <a:pt x="3377" y="3536"/>
                    <a:pt x="3375" y="3539"/>
                    <a:pt x="3373" y="3541"/>
                  </a:cubicBezTo>
                  <a:close/>
                  <a:moveTo>
                    <a:pt x="3512" y="3728"/>
                  </a:moveTo>
                  <a:cubicBezTo>
                    <a:pt x="3511" y="3729"/>
                    <a:pt x="3510" y="3730"/>
                    <a:pt x="3509" y="3730"/>
                  </a:cubicBezTo>
                  <a:cubicBezTo>
                    <a:pt x="3508" y="3730"/>
                    <a:pt x="3506" y="3730"/>
                    <a:pt x="3505" y="3730"/>
                  </a:cubicBezTo>
                  <a:cubicBezTo>
                    <a:pt x="3503" y="3729"/>
                    <a:pt x="3501" y="3728"/>
                    <a:pt x="3499" y="3726"/>
                  </a:cubicBezTo>
                  <a:cubicBezTo>
                    <a:pt x="3497" y="3724"/>
                    <a:pt x="3494" y="3722"/>
                    <a:pt x="3491" y="3719"/>
                  </a:cubicBezTo>
                  <a:cubicBezTo>
                    <a:pt x="3488" y="3715"/>
                    <a:pt x="3485" y="3713"/>
                    <a:pt x="3483" y="3711"/>
                  </a:cubicBezTo>
                  <a:cubicBezTo>
                    <a:pt x="3482" y="3708"/>
                    <a:pt x="3480" y="3706"/>
                    <a:pt x="3479" y="3704"/>
                  </a:cubicBezTo>
                  <a:cubicBezTo>
                    <a:pt x="3478" y="3703"/>
                    <a:pt x="3478" y="3701"/>
                    <a:pt x="3477" y="3699"/>
                  </a:cubicBezTo>
                  <a:cubicBezTo>
                    <a:pt x="3477" y="3698"/>
                    <a:pt x="3477" y="3696"/>
                    <a:pt x="3478" y="3694"/>
                  </a:cubicBezTo>
                  <a:lnTo>
                    <a:pt x="3499" y="3539"/>
                  </a:lnTo>
                  <a:lnTo>
                    <a:pt x="3410" y="3627"/>
                  </a:lnTo>
                  <a:cubicBezTo>
                    <a:pt x="3410" y="3628"/>
                    <a:pt x="3408" y="3629"/>
                    <a:pt x="3407" y="3629"/>
                  </a:cubicBezTo>
                  <a:cubicBezTo>
                    <a:pt x="3406" y="3629"/>
                    <a:pt x="3405" y="3629"/>
                    <a:pt x="3403" y="3628"/>
                  </a:cubicBezTo>
                  <a:cubicBezTo>
                    <a:pt x="3402" y="3628"/>
                    <a:pt x="3400" y="3626"/>
                    <a:pt x="3398" y="3625"/>
                  </a:cubicBezTo>
                  <a:cubicBezTo>
                    <a:pt x="3396" y="3623"/>
                    <a:pt x="3393" y="3621"/>
                    <a:pt x="3390" y="3618"/>
                  </a:cubicBezTo>
                  <a:cubicBezTo>
                    <a:pt x="3387" y="3615"/>
                    <a:pt x="3385" y="3613"/>
                    <a:pt x="3384" y="3610"/>
                  </a:cubicBezTo>
                  <a:cubicBezTo>
                    <a:pt x="3382" y="3608"/>
                    <a:pt x="3381" y="3606"/>
                    <a:pt x="3380" y="3605"/>
                  </a:cubicBezTo>
                  <a:cubicBezTo>
                    <a:pt x="3379" y="3603"/>
                    <a:pt x="3379" y="3602"/>
                    <a:pt x="3380" y="3601"/>
                  </a:cubicBezTo>
                  <a:cubicBezTo>
                    <a:pt x="3380" y="3600"/>
                    <a:pt x="3380" y="3599"/>
                    <a:pt x="3381" y="3598"/>
                  </a:cubicBezTo>
                  <a:lnTo>
                    <a:pt x="3617" y="3362"/>
                  </a:lnTo>
                  <a:cubicBezTo>
                    <a:pt x="3618" y="3361"/>
                    <a:pt x="3619" y="3360"/>
                    <a:pt x="3621" y="3360"/>
                  </a:cubicBezTo>
                  <a:cubicBezTo>
                    <a:pt x="3622" y="3360"/>
                    <a:pt x="3623" y="3360"/>
                    <a:pt x="3625" y="3360"/>
                  </a:cubicBezTo>
                  <a:cubicBezTo>
                    <a:pt x="3626" y="3361"/>
                    <a:pt x="3628" y="3362"/>
                    <a:pt x="3630" y="3364"/>
                  </a:cubicBezTo>
                  <a:cubicBezTo>
                    <a:pt x="3632" y="3365"/>
                    <a:pt x="3635" y="3368"/>
                    <a:pt x="3638" y="3371"/>
                  </a:cubicBezTo>
                  <a:cubicBezTo>
                    <a:pt x="3641" y="3374"/>
                    <a:pt x="3643" y="3376"/>
                    <a:pt x="3645" y="3378"/>
                  </a:cubicBezTo>
                  <a:cubicBezTo>
                    <a:pt x="3646" y="3380"/>
                    <a:pt x="3647" y="3382"/>
                    <a:pt x="3648" y="3384"/>
                  </a:cubicBezTo>
                  <a:cubicBezTo>
                    <a:pt x="3648" y="3385"/>
                    <a:pt x="3649" y="3387"/>
                    <a:pt x="3648" y="3388"/>
                  </a:cubicBezTo>
                  <a:cubicBezTo>
                    <a:pt x="3648" y="3389"/>
                    <a:pt x="3648" y="3390"/>
                    <a:pt x="3647" y="3391"/>
                  </a:cubicBezTo>
                  <a:lnTo>
                    <a:pt x="3503" y="3535"/>
                  </a:lnTo>
                  <a:lnTo>
                    <a:pt x="3629" y="3529"/>
                  </a:lnTo>
                  <a:cubicBezTo>
                    <a:pt x="3631" y="3529"/>
                    <a:pt x="3633" y="3529"/>
                    <a:pt x="3635" y="3529"/>
                  </a:cubicBezTo>
                  <a:cubicBezTo>
                    <a:pt x="3637" y="3529"/>
                    <a:pt x="3639" y="3530"/>
                    <a:pt x="3641" y="3531"/>
                  </a:cubicBezTo>
                  <a:cubicBezTo>
                    <a:pt x="3643" y="3532"/>
                    <a:pt x="3645" y="3533"/>
                    <a:pt x="3647" y="3535"/>
                  </a:cubicBezTo>
                  <a:cubicBezTo>
                    <a:pt x="3649" y="3537"/>
                    <a:pt x="3652" y="3539"/>
                    <a:pt x="3654" y="3542"/>
                  </a:cubicBezTo>
                  <a:cubicBezTo>
                    <a:pt x="3657" y="3545"/>
                    <a:pt x="3660" y="3547"/>
                    <a:pt x="3662" y="3550"/>
                  </a:cubicBezTo>
                  <a:cubicBezTo>
                    <a:pt x="3663" y="3552"/>
                    <a:pt x="3665" y="3554"/>
                    <a:pt x="3666" y="3555"/>
                  </a:cubicBezTo>
                  <a:cubicBezTo>
                    <a:pt x="3666" y="3557"/>
                    <a:pt x="3667" y="3558"/>
                    <a:pt x="3667" y="3560"/>
                  </a:cubicBezTo>
                  <a:cubicBezTo>
                    <a:pt x="3666" y="3561"/>
                    <a:pt x="3666" y="3562"/>
                    <a:pt x="3665" y="3563"/>
                  </a:cubicBezTo>
                  <a:cubicBezTo>
                    <a:pt x="3663" y="3564"/>
                    <a:pt x="3662" y="3565"/>
                    <a:pt x="3659" y="3566"/>
                  </a:cubicBezTo>
                  <a:cubicBezTo>
                    <a:pt x="3657" y="3567"/>
                    <a:pt x="3654" y="3567"/>
                    <a:pt x="3651" y="3567"/>
                  </a:cubicBezTo>
                  <a:lnTo>
                    <a:pt x="3535" y="3567"/>
                  </a:lnTo>
                  <a:lnTo>
                    <a:pt x="3516" y="3716"/>
                  </a:lnTo>
                  <a:cubicBezTo>
                    <a:pt x="3516" y="3719"/>
                    <a:pt x="3515" y="3722"/>
                    <a:pt x="3515" y="3724"/>
                  </a:cubicBezTo>
                  <a:cubicBezTo>
                    <a:pt x="3514" y="3726"/>
                    <a:pt x="3513" y="3727"/>
                    <a:pt x="3512" y="3728"/>
                  </a:cubicBezTo>
                  <a:close/>
                  <a:moveTo>
                    <a:pt x="3773" y="3817"/>
                  </a:moveTo>
                  <a:cubicBezTo>
                    <a:pt x="3769" y="3822"/>
                    <a:pt x="3764" y="3824"/>
                    <a:pt x="3760" y="3823"/>
                  </a:cubicBezTo>
                  <a:cubicBezTo>
                    <a:pt x="3756" y="3823"/>
                    <a:pt x="3752" y="3821"/>
                    <a:pt x="3749" y="3818"/>
                  </a:cubicBezTo>
                  <a:lnTo>
                    <a:pt x="3644" y="3714"/>
                  </a:lnTo>
                  <a:cubicBezTo>
                    <a:pt x="3635" y="3722"/>
                    <a:pt x="3628" y="3731"/>
                    <a:pt x="3623" y="3740"/>
                  </a:cubicBezTo>
                  <a:cubicBezTo>
                    <a:pt x="3618" y="3749"/>
                    <a:pt x="3615" y="3758"/>
                    <a:pt x="3614" y="3767"/>
                  </a:cubicBezTo>
                  <a:cubicBezTo>
                    <a:pt x="3613" y="3776"/>
                    <a:pt x="3614" y="3786"/>
                    <a:pt x="3618" y="3795"/>
                  </a:cubicBezTo>
                  <a:cubicBezTo>
                    <a:pt x="3622" y="3804"/>
                    <a:pt x="3629" y="3814"/>
                    <a:pt x="3639" y="3823"/>
                  </a:cubicBezTo>
                  <a:cubicBezTo>
                    <a:pt x="3646" y="3831"/>
                    <a:pt x="3654" y="3837"/>
                    <a:pt x="3661" y="3842"/>
                  </a:cubicBezTo>
                  <a:cubicBezTo>
                    <a:pt x="3668" y="3846"/>
                    <a:pt x="3674" y="3850"/>
                    <a:pt x="3680" y="3853"/>
                  </a:cubicBezTo>
                  <a:cubicBezTo>
                    <a:pt x="3686" y="3856"/>
                    <a:pt x="3691" y="3858"/>
                    <a:pt x="3695" y="3859"/>
                  </a:cubicBezTo>
                  <a:cubicBezTo>
                    <a:pt x="3699" y="3861"/>
                    <a:pt x="3702" y="3863"/>
                    <a:pt x="3703" y="3864"/>
                  </a:cubicBezTo>
                  <a:cubicBezTo>
                    <a:pt x="3704" y="3865"/>
                    <a:pt x="3705" y="3866"/>
                    <a:pt x="3705" y="3867"/>
                  </a:cubicBezTo>
                  <a:cubicBezTo>
                    <a:pt x="3705" y="3868"/>
                    <a:pt x="3705" y="3869"/>
                    <a:pt x="3704" y="3870"/>
                  </a:cubicBezTo>
                  <a:cubicBezTo>
                    <a:pt x="3704" y="3871"/>
                    <a:pt x="3703" y="3873"/>
                    <a:pt x="3702" y="3874"/>
                  </a:cubicBezTo>
                  <a:cubicBezTo>
                    <a:pt x="3700" y="3876"/>
                    <a:pt x="3699" y="3878"/>
                    <a:pt x="3697" y="3880"/>
                  </a:cubicBezTo>
                  <a:cubicBezTo>
                    <a:pt x="3695" y="3882"/>
                    <a:pt x="3694" y="3883"/>
                    <a:pt x="3693" y="3884"/>
                  </a:cubicBezTo>
                  <a:cubicBezTo>
                    <a:pt x="3691" y="3885"/>
                    <a:pt x="3690" y="3886"/>
                    <a:pt x="3689" y="3886"/>
                  </a:cubicBezTo>
                  <a:cubicBezTo>
                    <a:pt x="3688" y="3887"/>
                    <a:pt x="3687" y="3888"/>
                    <a:pt x="3686" y="3888"/>
                  </a:cubicBezTo>
                  <a:cubicBezTo>
                    <a:pt x="3685" y="3888"/>
                    <a:pt x="3683" y="3888"/>
                    <a:pt x="3682" y="3888"/>
                  </a:cubicBezTo>
                  <a:cubicBezTo>
                    <a:pt x="3681" y="3888"/>
                    <a:pt x="3678" y="3887"/>
                    <a:pt x="3673" y="3886"/>
                  </a:cubicBezTo>
                  <a:cubicBezTo>
                    <a:pt x="3669" y="3884"/>
                    <a:pt x="3663" y="3881"/>
                    <a:pt x="3657" y="3878"/>
                  </a:cubicBezTo>
                  <a:cubicBezTo>
                    <a:pt x="3650" y="3874"/>
                    <a:pt x="3643" y="3869"/>
                    <a:pt x="3635" y="3864"/>
                  </a:cubicBezTo>
                  <a:cubicBezTo>
                    <a:pt x="3627" y="3858"/>
                    <a:pt x="3620" y="3852"/>
                    <a:pt x="3612" y="3844"/>
                  </a:cubicBezTo>
                  <a:cubicBezTo>
                    <a:pt x="3599" y="3831"/>
                    <a:pt x="3589" y="3818"/>
                    <a:pt x="3583" y="3804"/>
                  </a:cubicBezTo>
                  <a:cubicBezTo>
                    <a:pt x="3577" y="3791"/>
                    <a:pt x="3574" y="3777"/>
                    <a:pt x="3575" y="3763"/>
                  </a:cubicBezTo>
                  <a:cubicBezTo>
                    <a:pt x="3575" y="3749"/>
                    <a:pt x="3579" y="3735"/>
                    <a:pt x="3587" y="3721"/>
                  </a:cubicBezTo>
                  <a:cubicBezTo>
                    <a:pt x="3594" y="3707"/>
                    <a:pt x="3605" y="3693"/>
                    <a:pt x="3619" y="3678"/>
                  </a:cubicBezTo>
                  <a:cubicBezTo>
                    <a:pt x="3633" y="3664"/>
                    <a:pt x="3647" y="3654"/>
                    <a:pt x="3661" y="3647"/>
                  </a:cubicBezTo>
                  <a:cubicBezTo>
                    <a:pt x="3676" y="3639"/>
                    <a:pt x="3690" y="3635"/>
                    <a:pt x="3704" y="3634"/>
                  </a:cubicBezTo>
                  <a:cubicBezTo>
                    <a:pt x="3719" y="3633"/>
                    <a:pt x="3733" y="3635"/>
                    <a:pt x="3746" y="3641"/>
                  </a:cubicBezTo>
                  <a:cubicBezTo>
                    <a:pt x="3760" y="3646"/>
                    <a:pt x="3772" y="3655"/>
                    <a:pt x="3784" y="3666"/>
                  </a:cubicBezTo>
                  <a:cubicBezTo>
                    <a:pt x="3796" y="3679"/>
                    <a:pt x="3805" y="3691"/>
                    <a:pt x="3810" y="3704"/>
                  </a:cubicBezTo>
                  <a:cubicBezTo>
                    <a:pt x="3814" y="3717"/>
                    <a:pt x="3816" y="3730"/>
                    <a:pt x="3815" y="3742"/>
                  </a:cubicBezTo>
                  <a:cubicBezTo>
                    <a:pt x="3814" y="3754"/>
                    <a:pt x="3810" y="3767"/>
                    <a:pt x="3804" y="3778"/>
                  </a:cubicBezTo>
                  <a:cubicBezTo>
                    <a:pt x="3797" y="3790"/>
                    <a:pt x="3789" y="3801"/>
                    <a:pt x="3779" y="3812"/>
                  </a:cubicBezTo>
                  <a:lnTo>
                    <a:pt x="3773" y="3817"/>
                  </a:lnTo>
                  <a:close/>
                  <a:moveTo>
                    <a:pt x="3753" y="3779"/>
                  </a:moveTo>
                  <a:cubicBezTo>
                    <a:pt x="3768" y="3764"/>
                    <a:pt x="3777" y="3749"/>
                    <a:pt x="3778" y="3733"/>
                  </a:cubicBezTo>
                  <a:cubicBezTo>
                    <a:pt x="3780" y="3717"/>
                    <a:pt x="3774" y="3702"/>
                    <a:pt x="3760" y="3688"/>
                  </a:cubicBezTo>
                  <a:cubicBezTo>
                    <a:pt x="3752" y="3680"/>
                    <a:pt x="3745" y="3675"/>
                    <a:pt x="3736" y="3673"/>
                  </a:cubicBezTo>
                  <a:cubicBezTo>
                    <a:pt x="3728" y="3670"/>
                    <a:pt x="3720" y="3669"/>
                    <a:pt x="3712" y="3670"/>
                  </a:cubicBezTo>
                  <a:cubicBezTo>
                    <a:pt x="3704" y="3671"/>
                    <a:pt x="3696" y="3673"/>
                    <a:pt x="3688" y="3677"/>
                  </a:cubicBezTo>
                  <a:cubicBezTo>
                    <a:pt x="3680" y="3681"/>
                    <a:pt x="3672" y="3686"/>
                    <a:pt x="3666" y="3692"/>
                  </a:cubicBezTo>
                  <a:lnTo>
                    <a:pt x="3753" y="377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75" name="Freeform 122"/>
            <p:cNvSpPr>
              <a:spLocks noEditPoints="1"/>
            </p:cNvSpPr>
            <p:nvPr/>
          </p:nvSpPr>
          <p:spPr bwMode="auto">
            <a:xfrm>
              <a:off x="863" y="1812"/>
              <a:ext cx="112" cy="121"/>
            </a:xfrm>
            <a:custGeom>
              <a:avLst/>
              <a:gdLst>
                <a:gd name="T0" fmla="*/ 133 w 1064"/>
                <a:gd name="T1" fmla="*/ 360 h 1146"/>
                <a:gd name="T2" fmla="*/ 156 w 1064"/>
                <a:gd name="T3" fmla="*/ 261 h 1146"/>
                <a:gd name="T4" fmla="*/ 130 w 1064"/>
                <a:gd name="T5" fmla="*/ 151 h 1146"/>
                <a:gd name="T6" fmla="*/ 12 w 1064"/>
                <a:gd name="T7" fmla="*/ 239 h 1146"/>
                <a:gd name="T8" fmla="*/ 214 w 1064"/>
                <a:gd name="T9" fmla="*/ 6 h 1146"/>
                <a:gd name="T10" fmla="*/ 309 w 1064"/>
                <a:gd name="T11" fmla="*/ 80 h 1146"/>
                <a:gd name="T12" fmla="*/ 281 w 1064"/>
                <a:gd name="T13" fmla="*/ 211 h 1146"/>
                <a:gd name="T14" fmla="*/ 207 w 1064"/>
                <a:gd name="T15" fmla="*/ 241 h 1146"/>
                <a:gd name="T16" fmla="*/ 155 w 1064"/>
                <a:gd name="T17" fmla="*/ 371 h 1146"/>
                <a:gd name="T18" fmla="*/ 257 w 1064"/>
                <a:gd name="T19" fmla="*/ 75 h 1146"/>
                <a:gd name="T20" fmla="*/ 231 w 1064"/>
                <a:gd name="T21" fmla="*/ 180 h 1146"/>
                <a:gd name="T22" fmla="*/ 289 w 1064"/>
                <a:gd name="T23" fmla="*/ 509 h 1146"/>
                <a:gd name="T24" fmla="*/ 186 w 1064"/>
                <a:gd name="T25" fmla="*/ 390 h 1146"/>
                <a:gd name="T26" fmla="*/ 216 w 1064"/>
                <a:gd name="T27" fmla="*/ 372 h 1146"/>
                <a:gd name="T28" fmla="*/ 339 w 1064"/>
                <a:gd name="T29" fmla="*/ 241 h 1146"/>
                <a:gd name="T30" fmla="*/ 446 w 1064"/>
                <a:gd name="T31" fmla="*/ 336 h 1146"/>
                <a:gd name="T32" fmla="*/ 430 w 1064"/>
                <a:gd name="T33" fmla="*/ 361 h 1146"/>
                <a:gd name="T34" fmla="*/ 306 w 1064"/>
                <a:gd name="T35" fmla="*/ 482 h 1146"/>
                <a:gd name="T36" fmla="*/ 560 w 1064"/>
                <a:gd name="T37" fmla="*/ 604 h 1146"/>
                <a:gd name="T38" fmla="*/ 401 w 1064"/>
                <a:gd name="T39" fmla="*/ 554 h 1146"/>
                <a:gd name="T40" fmla="*/ 482 w 1064"/>
                <a:gd name="T41" fmla="*/ 646 h 1146"/>
                <a:gd name="T42" fmla="*/ 484 w 1064"/>
                <a:gd name="T43" fmla="*/ 667 h 1146"/>
                <a:gd name="T44" fmla="*/ 460 w 1064"/>
                <a:gd name="T45" fmla="*/ 672 h 1146"/>
                <a:gd name="T46" fmla="*/ 362 w 1064"/>
                <a:gd name="T47" fmla="*/ 550 h 1146"/>
                <a:gd name="T48" fmla="*/ 533 w 1064"/>
                <a:gd name="T49" fmla="*/ 427 h 1146"/>
                <a:gd name="T50" fmla="*/ 565 w 1064"/>
                <a:gd name="T51" fmla="*/ 598 h 1146"/>
                <a:gd name="T52" fmla="*/ 523 w 1064"/>
                <a:gd name="T53" fmla="*/ 459 h 1146"/>
                <a:gd name="T54" fmla="*/ 747 w 1064"/>
                <a:gd name="T55" fmla="*/ 800 h 1146"/>
                <a:gd name="T56" fmla="*/ 577 w 1064"/>
                <a:gd name="T57" fmla="*/ 806 h 1146"/>
                <a:gd name="T58" fmla="*/ 482 w 1064"/>
                <a:gd name="T59" fmla="*/ 829 h 1146"/>
                <a:gd name="T60" fmla="*/ 455 w 1064"/>
                <a:gd name="T61" fmla="*/ 806 h 1146"/>
                <a:gd name="T62" fmla="*/ 685 w 1064"/>
                <a:gd name="T63" fmla="*/ 575 h 1146"/>
                <a:gd name="T64" fmla="*/ 706 w 1064"/>
                <a:gd name="T65" fmla="*/ 599 h 1146"/>
                <a:gd name="T66" fmla="*/ 751 w 1064"/>
                <a:gd name="T67" fmla="*/ 637 h 1146"/>
                <a:gd name="T68" fmla="*/ 747 w 1064"/>
                <a:gd name="T69" fmla="*/ 800 h 1146"/>
                <a:gd name="T70" fmla="*/ 738 w 1064"/>
                <a:gd name="T71" fmla="*/ 670 h 1146"/>
                <a:gd name="T72" fmla="*/ 596 w 1064"/>
                <a:gd name="T73" fmla="*/ 717 h 1146"/>
                <a:gd name="T74" fmla="*/ 689 w 1064"/>
                <a:gd name="T75" fmla="*/ 793 h 1146"/>
                <a:gd name="T76" fmla="*/ 728 w 1064"/>
                <a:gd name="T77" fmla="*/ 955 h 1146"/>
                <a:gd name="T78" fmla="*/ 711 w 1064"/>
                <a:gd name="T79" fmla="*/ 928 h 1146"/>
                <a:gd name="T80" fmla="*/ 890 w 1064"/>
                <a:gd name="T81" fmla="*/ 778 h 1146"/>
                <a:gd name="T82" fmla="*/ 740 w 1064"/>
                <a:gd name="T83" fmla="*/ 957 h 1146"/>
                <a:gd name="T84" fmla="*/ 920 w 1064"/>
                <a:gd name="T85" fmla="*/ 712 h 1146"/>
                <a:gd name="T86" fmla="*/ 927 w 1064"/>
                <a:gd name="T87" fmla="*/ 1144 h 1146"/>
                <a:gd name="T88" fmla="*/ 901 w 1064"/>
                <a:gd name="T89" fmla="*/ 1127 h 1146"/>
                <a:gd name="T90" fmla="*/ 1011 w 1064"/>
                <a:gd name="T91" fmla="*/ 997 h 1146"/>
                <a:gd name="T92" fmla="*/ 931 w 1064"/>
                <a:gd name="T93" fmla="*/ 925 h 1146"/>
                <a:gd name="T94" fmla="*/ 800 w 1064"/>
                <a:gd name="T95" fmla="*/ 1027 h 1146"/>
                <a:gd name="T96" fmla="*/ 950 w 1064"/>
                <a:gd name="T97" fmla="*/ 848 h 1146"/>
                <a:gd name="T98" fmla="*/ 975 w 1064"/>
                <a:gd name="T99" fmla="*/ 862 h 1146"/>
                <a:gd name="T100" fmla="*/ 1004 w 1064"/>
                <a:gd name="T101" fmla="*/ 900 h 1146"/>
                <a:gd name="T102" fmla="*/ 1025 w 1064"/>
                <a:gd name="T103" fmla="*/ 1047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64" h="1146">
                  <a:moveTo>
                    <a:pt x="155" y="371"/>
                  </a:moveTo>
                  <a:cubicBezTo>
                    <a:pt x="154" y="372"/>
                    <a:pt x="153" y="372"/>
                    <a:pt x="152" y="373"/>
                  </a:cubicBezTo>
                  <a:cubicBezTo>
                    <a:pt x="151" y="373"/>
                    <a:pt x="149" y="373"/>
                    <a:pt x="148" y="372"/>
                  </a:cubicBezTo>
                  <a:cubicBezTo>
                    <a:pt x="146" y="371"/>
                    <a:pt x="144" y="370"/>
                    <a:pt x="142" y="368"/>
                  </a:cubicBezTo>
                  <a:cubicBezTo>
                    <a:pt x="139" y="366"/>
                    <a:pt x="136" y="364"/>
                    <a:pt x="133" y="360"/>
                  </a:cubicBezTo>
                  <a:cubicBezTo>
                    <a:pt x="130" y="357"/>
                    <a:pt x="127" y="354"/>
                    <a:pt x="126" y="352"/>
                  </a:cubicBezTo>
                  <a:cubicBezTo>
                    <a:pt x="124" y="350"/>
                    <a:pt x="123" y="348"/>
                    <a:pt x="122" y="346"/>
                  </a:cubicBezTo>
                  <a:cubicBezTo>
                    <a:pt x="121" y="345"/>
                    <a:pt x="121" y="343"/>
                    <a:pt x="121" y="341"/>
                  </a:cubicBezTo>
                  <a:cubicBezTo>
                    <a:pt x="122" y="340"/>
                    <a:pt x="122" y="338"/>
                    <a:pt x="123" y="336"/>
                  </a:cubicBezTo>
                  <a:lnTo>
                    <a:pt x="156" y="261"/>
                  </a:lnTo>
                  <a:cubicBezTo>
                    <a:pt x="160" y="253"/>
                    <a:pt x="163" y="244"/>
                    <a:pt x="165" y="237"/>
                  </a:cubicBezTo>
                  <a:cubicBezTo>
                    <a:pt x="168" y="229"/>
                    <a:pt x="169" y="221"/>
                    <a:pt x="169" y="214"/>
                  </a:cubicBezTo>
                  <a:cubicBezTo>
                    <a:pt x="169" y="207"/>
                    <a:pt x="168" y="199"/>
                    <a:pt x="165" y="192"/>
                  </a:cubicBezTo>
                  <a:cubicBezTo>
                    <a:pt x="162" y="185"/>
                    <a:pt x="157" y="178"/>
                    <a:pt x="150" y="171"/>
                  </a:cubicBezTo>
                  <a:lnTo>
                    <a:pt x="130" y="151"/>
                  </a:lnTo>
                  <a:lnTo>
                    <a:pt x="32" y="248"/>
                  </a:lnTo>
                  <a:cubicBezTo>
                    <a:pt x="32" y="249"/>
                    <a:pt x="30" y="250"/>
                    <a:pt x="29" y="250"/>
                  </a:cubicBezTo>
                  <a:cubicBezTo>
                    <a:pt x="28" y="250"/>
                    <a:pt x="27" y="250"/>
                    <a:pt x="25" y="249"/>
                  </a:cubicBezTo>
                  <a:cubicBezTo>
                    <a:pt x="24" y="249"/>
                    <a:pt x="22" y="247"/>
                    <a:pt x="19" y="246"/>
                  </a:cubicBezTo>
                  <a:cubicBezTo>
                    <a:pt x="17" y="244"/>
                    <a:pt x="15" y="242"/>
                    <a:pt x="12" y="239"/>
                  </a:cubicBezTo>
                  <a:cubicBezTo>
                    <a:pt x="9" y="236"/>
                    <a:pt x="6" y="233"/>
                    <a:pt x="5" y="231"/>
                  </a:cubicBezTo>
                  <a:cubicBezTo>
                    <a:pt x="3" y="229"/>
                    <a:pt x="2" y="227"/>
                    <a:pt x="1" y="225"/>
                  </a:cubicBezTo>
                  <a:cubicBezTo>
                    <a:pt x="0" y="224"/>
                    <a:pt x="0" y="222"/>
                    <a:pt x="0" y="221"/>
                  </a:cubicBezTo>
                  <a:cubicBezTo>
                    <a:pt x="1" y="220"/>
                    <a:pt x="1" y="219"/>
                    <a:pt x="2" y="218"/>
                  </a:cubicBezTo>
                  <a:lnTo>
                    <a:pt x="214" y="6"/>
                  </a:lnTo>
                  <a:cubicBezTo>
                    <a:pt x="218" y="2"/>
                    <a:pt x="223" y="0"/>
                    <a:pt x="227" y="0"/>
                  </a:cubicBezTo>
                  <a:cubicBezTo>
                    <a:pt x="231" y="1"/>
                    <a:pt x="235" y="3"/>
                    <a:pt x="238" y="5"/>
                  </a:cubicBezTo>
                  <a:lnTo>
                    <a:pt x="286" y="54"/>
                  </a:lnTo>
                  <a:cubicBezTo>
                    <a:pt x="292" y="60"/>
                    <a:pt x="297" y="65"/>
                    <a:pt x="300" y="69"/>
                  </a:cubicBezTo>
                  <a:cubicBezTo>
                    <a:pt x="304" y="73"/>
                    <a:pt x="307" y="77"/>
                    <a:pt x="309" y="80"/>
                  </a:cubicBezTo>
                  <a:cubicBezTo>
                    <a:pt x="317" y="90"/>
                    <a:pt x="322" y="101"/>
                    <a:pt x="326" y="111"/>
                  </a:cubicBezTo>
                  <a:cubicBezTo>
                    <a:pt x="329" y="121"/>
                    <a:pt x="331" y="131"/>
                    <a:pt x="330" y="140"/>
                  </a:cubicBezTo>
                  <a:cubicBezTo>
                    <a:pt x="330" y="150"/>
                    <a:pt x="327" y="159"/>
                    <a:pt x="323" y="168"/>
                  </a:cubicBezTo>
                  <a:cubicBezTo>
                    <a:pt x="319" y="177"/>
                    <a:pt x="313" y="185"/>
                    <a:pt x="305" y="193"/>
                  </a:cubicBezTo>
                  <a:cubicBezTo>
                    <a:pt x="297" y="201"/>
                    <a:pt x="289" y="207"/>
                    <a:pt x="281" y="211"/>
                  </a:cubicBezTo>
                  <a:cubicBezTo>
                    <a:pt x="273" y="215"/>
                    <a:pt x="265" y="217"/>
                    <a:pt x="256" y="218"/>
                  </a:cubicBezTo>
                  <a:cubicBezTo>
                    <a:pt x="248" y="219"/>
                    <a:pt x="239" y="218"/>
                    <a:pt x="230" y="216"/>
                  </a:cubicBezTo>
                  <a:cubicBezTo>
                    <a:pt x="221" y="214"/>
                    <a:pt x="212" y="211"/>
                    <a:pt x="203" y="206"/>
                  </a:cubicBezTo>
                  <a:cubicBezTo>
                    <a:pt x="205" y="212"/>
                    <a:pt x="207" y="217"/>
                    <a:pt x="207" y="223"/>
                  </a:cubicBezTo>
                  <a:cubicBezTo>
                    <a:pt x="208" y="229"/>
                    <a:pt x="208" y="234"/>
                    <a:pt x="207" y="241"/>
                  </a:cubicBezTo>
                  <a:cubicBezTo>
                    <a:pt x="206" y="247"/>
                    <a:pt x="204" y="253"/>
                    <a:pt x="202" y="260"/>
                  </a:cubicBezTo>
                  <a:cubicBezTo>
                    <a:pt x="200" y="267"/>
                    <a:pt x="197" y="275"/>
                    <a:pt x="194" y="283"/>
                  </a:cubicBezTo>
                  <a:lnTo>
                    <a:pt x="164" y="354"/>
                  </a:lnTo>
                  <a:cubicBezTo>
                    <a:pt x="161" y="360"/>
                    <a:pt x="159" y="364"/>
                    <a:pt x="158" y="366"/>
                  </a:cubicBezTo>
                  <a:cubicBezTo>
                    <a:pt x="157" y="368"/>
                    <a:pt x="156" y="370"/>
                    <a:pt x="155" y="371"/>
                  </a:cubicBezTo>
                  <a:close/>
                  <a:moveTo>
                    <a:pt x="270" y="164"/>
                  </a:moveTo>
                  <a:cubicBezTo>
                    <a:pt x="278" y="155"/>
                    <a:pt x="284" y="146"/>
                    <a:pt x="286" y="135"/>
                  </a:cubicBezTo>
                  <a:cubicBezTo>
                    <a:pt x="288" y="125"/>
                    <a:pt x="286" y="114"/>
                    <a:pt x="279" y="102"/>
                  </a:cubicBezTo>
                  <a:cubicBezTo>
                    <a:pt x="277" y="98"/>
                    <a:pt x="275" y="94"/>
                    <a:pt x="271" y="90"/>
                  </a:cubicBezTo>
                  <a:cubicBezTo>
                    <a:pt x="268" y="86"/>
                    <a:pt x="263" y="81"/>
                    <a:pt x="257" y="75"/>
                  </a:cubicBezTo>
                  <a:lnTo>
                    <a:pt x="232" y="49"/>
                  </a:lnTo>
                  <a:lnTo>
                    <a:pt x="154" y="126"/>
                  </a:lnTo>
                  <a:lnTo>
                    <a:pt x="184" y="156"/>
                  </a:lnTo>
                  <a:cubicBezTo>
                    <a:pt x="192" y="164"/>
                    <a:pt x="200" y="170"/>
                    <a:pt x="208" y="174"/>
                  </a:cubicBezTo>
                  <a:cubicBezTo>
                    <a:pt x="216" y="178"/>
                    <a:pt x="223" y="180"/>
                    <a:pt x="231" y="180"/>
                  </a:cubicBezTo>
                  <a:cubicBezTo>
                    <a:pt x="238" y="181"/>
                    <a:pt x="245" y="180"/>
                    <a:pt x="251" y="177"/>
                  </a:cubicBezTo>
                  <a:cubicBezTo>
                    <a:pt x="258" y="174"/>
                    <a:pt x="264" y="170"/>
                    <a:pt x="270" y="164"/>
                  </a:cubicBezTo>
                  <a:close/>
                  <a:moveTo>
                    <a:pt x="300" y="501"/>
                  </a:moveTo>
                  <a:cubicBezTo>
                    <a:pt x="298" y="503"/>
                    <a:pt x="296" y="505"/>
                    <a:pt x="294" y="506"/>
                  </a:cubicBezTo>
                  <a:cubicBezTo>
                    <a:pt x="292" y="507"/>
                    <a:pt x="290" y="508"/>
                    <a:pt x="289" y="509"/>
                  </a:cubicBezTo>
                  <a:cubicBezTo>
                    <a:pt x="287" y="509"/>
                    <a:pt x="286" y="509"/>
                    <a:pt x="285" y="509"/>
                  </a:cubicBezTo>
                  <a:cubicBezTo>
                    <a:pt x="284" y="508"/>
                    <a:pt x="282" y="508"/>
                    <a:pt x="282" y="507"/>
                  </a:cubicBezTo>
                  <a:lnTo>
                    <a:pt x="184" y="409"/>
                  </a:lnTo>
                  <a:cubicBezTo>
                    <a:pt x="181" y="406"/>
                    <a:pt x="180" y="403"/>
                    <a:pt x="180" y="400"/>
                  </a:cubicBezTo>
                  <a:cubicBezTo>
                    <a:pt x="180" y="397"/>
                    <a:pt x="182" y="393"/>
                    <a:pt x="186" y="390"/>
                  </a:cubicBezTo>
                  <a:lnTo>
                    <a:pt x="192" y="384"/>
                  </a:lnTo>
                  <a:cubicBezTo>
                    <a:pt x="194" y="382"/>
                    <a:pt x="195" y="381"/>
                    <a:pt x="197" y="379"/>
                  </a:cubicBezTo>
                  <a:cubicBezTo>
                    <a:pt x="198" y="378"/>
                    <a:pt x="200" y="377"/>
                    <a:pt x="202" y="377"/>
                  </a:cubicBezTo>
                  <a:cubicBezTo>
                    <a:pt x="203" y="376"/>
                    <a:pt x="205" y="375"/>
                    <a:pt x="208" y="374"/>
                  </a:cubicBezTo>
                  <a:cubicBezTo>
                    <a:pt x="210" y="374"/>
                    <a:pt x="213" y="373"/>
                    <a:pt x="216" y="372"/>
                  </a:cubicBezTo>
                  <a:lnTo>
                    <a:pt x="395" y="333"/>
                  </a:lnTo>
                  <a:lnTo>
                    <a:pt x="327" y="265"/>
                  </a:lnTo>
                  <a:cubicBezTo>
                    <a:pt x="325" y="263"/>
                    <a:pt x="325" y="261"/>
                    <a:pt x="326" y="258"/>
                  </a:cubicBezTo>
                  <a:cubicBezTo>
                    <a:pt x="326" y="255"/>
                    <a:pt x="329" y="251"/>
                    <a:pt x="333" y="247"/>
                  </a:cubicBezTo>
                  <a:cubicBezTo>
                    <a:pt x="335" y="245"/>
                    <a:pt x="337" y="243"/>
                    <a:pt x="339" y="241"/>
                  </a:cubicBezTo>
                  <a:cubicBezTo>
                    <a:pt x="341" y="240"/>
                    <a:pt x="343" y="239"/>
                    <a:pt x="344" y="239"/>
                  </a:cubicBezTo>
                  <a:cubicBezTo>
                    <a:pt x="346" y="238"/>
                    <a:pt x="347" y="238"/>
                    <a:pt x="348" y="239"/>
                  </a:cubicBezTo>
                  <a:cubicBezTo>
                    <a:pt x="350" y="239"/>
                    <a:pt x="351" y="240"/>
                    <a:pt x="352" y="241"/>
                  </a:cubicBezTo>
                  <a:lnTo>
                    <a:pt x="443" y="332"/>
                  </a:lnTo>
                  <a:cubicBezTo>
                    <a:pt x="444" y="333"/>
                    <a:pt x="445" y="335"/>
                    <a:pt x="446" y="336"/>
                  </a:cubicBezTo>
                  <a:cubicBezTo>
                    <a:pt x="447" y="337"/>
                    <a:pt x="447" y="339"/>
                    <a:pt x="447" y="340"/>
                  </a:cubicBezTo>
                  <a:cubicBezTo>
                    <a:pt x="447" y="342"/>
                    <a:pt x="446" y="343"/>
                    <a:pt x="445" y="345"/>
                  </a:cubicBezTo>
                  <a:cubicBezTo>
                    <a:pt x="444" y="347"/>
                    <a:pt x="443" y="349"/>
                    <a:pt x="441" y="351"/>
                  </a:cubicBezTo>
                  <a:lnTo>
                    <a:pt x="435" y="356"/>
                  </a:lnTo>
                  <a:cubicBezTo>
                    <a:pt x="434" y="358"/>
                    <a:pt x="432" y="359"/>
                    <a:pt x="430" y="361"/>
                  </a:cubicBezTo>
                  <a:cubicBezTo>
                    <a:pt x="429" y="362"/>
                    <a:pt x="427" y="363"/>
                    <a:pt x="425" y="364"/>
                  </a:cubicBezTo>
                  <a:cubicBezTo>
                    <a:pt x="423" y="365"/>
                    <a:pt x="421" y="365"/>
                    <a:pt x="419" y="366"/>
                  </a:cubicBezTo>
                  <a:cubicBezTo>
                    <a:pt x="416" y="367"/>
                    <a:pt x="414" y="367"/>
                    <a:pt x="411" y="368"/>
                  </a:cubicBezTo>
                  <a:lnTo>
                    <a:pt x="232" y="408"/>
                  </a:lnTo>
                  <a:lnTo>
                    <a:pt x="306" y="482"/>
                  </a:lnTo>
                  <a:cubicBezTo>
                    <a:pt x="307" y="483"/>
                    <a:pt x="308" y="484"/>
                    <a:pt x="308" y="485"/>
                  </a:cubicBezTo>
                  <a:cubicBezTo>
                    <a:pt x="308" y="487"/>
                    <a:pt x="308" y="488"/>
                    <a:pt x="308" y="489"/>
                  </a:cubicBezTo>
                  <a:cubicBezTo>
                    <a:pt x="308" y="491"/>
                    <a:pt x="307" y="492"/>
                    <a:pt x="305" y="494"/>
                  </a:cubicBezTo>
                  <a:cubicBezTo>
                    <a:pt x="304" y="496"/>
                    <a:pt x="303" y="498"/>
                    <a:pt x="300" y="501"/>
                  </a:cubicBezTo>
                  <a:close/>
                  <a:moveTo>
                    <a:pt x="560" y="604"/>
                  </a:moveTo>
                  <a:cubicBezTo>
                    <a:pt x="556" y="608"/>
                    <a:pt x="551" y="610"/>
                    <a:pt x="547" y="610"/>
                  </a:cubicBezTo>
                  <a:cubicBezTo>
                    <a:pt x="543" y="610"/>
                    <a:pt x="539" y="608"/>
                    <a:pt x="536" y="605"/>
                  </a:cubicBezTo>
                  <a:lnTo>
                    <a:pt x="431" y="500"/>
                  </a:lnTo>
                  <a:cubicBezTo>
                    <a:pt x="422" y="509"/>
                    <a:pt x="415" y="518"/>
                    <a:pt x="410" y="527"/>
                  </a:cubicBezTo>
                  <a:cubicBezTo>
                    <a:pt x="405" y="536"/>
                    <a:pt x="402" y="545"/>
                    <a:pt x="401" y="554"/>
                  </a:cubicBezTo>
                  <a:cubicBezTo>
                    <a:pt x="400" y="563"/>
                    <a:pt x="401" y="572"/>
                    <a:pt x="405" y="582"/>
                  </a:cubicBezTo>
                  <a:cubicBezTo>
                    <a:pt x="409" y="591"/>
                    <a:pt x="416" y="600"/>
                    <a:pt x="426" y="610"/>
                  </a:cubicBezTo>
                  <a:cubicBezTo>
                    <a:pt x="433" y="618"/>
                    <a:pt x="440" y="624"/>
                    <a:pt x="448" y="628"/>
                  </a:cubicBezTo>
                  <a:cubicBezTo>
                    <a:pt x="455" y="633"/>
                    <a:pt x="461" y="637"/>
                    <a:pt x="467" y="640"/>
                  </a:cubicBezTo>
                  <a:cubicBezTo>
                    <a:pt x="473" y="642"/>
                    <a:pt x="478" y="645"/>
                    <a:pt x="482" y="646"/>
                  </a:cubicBezTo>
                  <a:cubicBezTo>
                    <a:pt x="486" y="648"/>
                    <a:pt x="489" y="649"/>
                    <a:pt x="490" y="651"/>
                  </a:cubicBezTo>
                  <a:cubicBezTo>
                    <a:pt x="491" y="651"/>
                    <a:pt x="491" y="652"/>
                    <a:pt x="492" y="653"/>
                  </a:cubicBezTo>
                  <a:cubicBezTo>
                    <a:pt x="492" y="655"/>
                    <a:pt x="492" y="656"/>
                    <a:pt x="491" y="657"/>
                  </a:cubicBezTo>
                  <a:cubicBezTo>
                    <a:pt x="491" y="658"/>
                    <a:pt x="490" y="659"/>
                    <a:pt x="489" y="661"/>
                  </a:cubicBezTo>
                  <a:cubicBezTo>
                    <a:pt x="487" y="663"/>
                    <a:pt x="486" y="665"/>
                    <a:pt x="484" y="667"/>
                  </a:cubicBezTo>
                  <a:cubicBezTo>
                    <a:pt x="482" y="668"/>
                    <a:pt x="481" y="670"/>
                    <a:pt x="479" y="671"/>
                  </a:cubicBezTo>
                  <a:cubicBezTo>
                    <a:pt x="478" y="672"/>
                    <a:pt x="477" y="672"/>
                    <a:pt x="476" y="673"/>
                  </a:cubicBezTo>
                  <a:cubicBezTo>
                    <a:pt x="475" y="674"/>
                    <a:pt x="474" y="674"/>
                    <a:pt x="473" y="675"/>
                  </a:cubicBezTo>
                  <a:cubicBezTo>
                    <a:pt x="472" y="675"/>
                    <a:pt x="470" y="675"/>
                    <a:pt x="469" y="675"/>
                  </a:cubicBezTo>
                  <a:cubicBezTo>
                    <a:pt x="468" y="675"/>
                    <a:pt x="465" y="674"/>
                    <a:pt x="460" y="672"/>
                  </a:cubicBezTo>
                  <a:cubicBezTo>
                    <a:pt x="456" y="671"/>
                    <a:pt x="450" y="668"/>
                    <a:pt x="443" y="664"/>
                  </a:cubicBezTo>
                  <a:cubicBezTo>
                    <a:pt x="437" y="661"/>
                    <a:pt x="430" y="656"/>
                    <a:pt x="422" y="651"/>
                  </a:cubicBezTo>
                  <a:cubicBezTo>
                    <a:pt x="414" y="645"/>
                    <a:pt x="407" y="639"/>
                    <a:pt x="399" y="631"/>
                  </a:cubicBezTo>
                  <a:cubicBezTo>
                    <a:pt x="386" y="618"/>
                    <a:pt x="376" y="605"/>
                    <a:pt x="370" y="591"/>
                  </a:cubicBezTo>
                  <a:cubicBezTo>
                    <a:pt x="364" y="578"/>
                    <a:pt x="361" y="564"/>
                    <a:pt x="362" y="550"/>
                  </a:cubicBezTo>
                  <a:cubicBezTo>
                    <a:pt x="362" y="536"/>
                    <a:pt x="366" y="522"/>
                    <a:pt x="373" y="508"/>
                  </a:cubicBezTo>
                  <a:cubicBezTo>
                    <a:pt x="381" y="494"/>
                    <a:pt x="392" y="479"/>
                    <a:pt x="406" y="465"/>
                  </a:cubicBezTo>
                  <a:cubicBezTo>
                    <a:pt x="420" y="451"/>
                    <a:pt x="434" y="441"/>
                    <a:pt x="448" y="433"/>
                  </a:cubicBezTo>
                  <a:cubicBezTo>
                    <a:pt x="463" y="426"/>
                    <a:pt x="477" y="422"/>
                    <a:pt x="491" y="421"/>
                  </a:cubicBezTo>
                  <a:cubicBezTo>
                    <a:pt x="506" y="420"/>
                    <a:pt x="520" y="422"/>
                    <a:pt x="533" y="427"/>
                  </a:cubicBezTo>
                  <a:cubicBezTo>
                    <a:pt x="547" y="433"/>
                    <a:pt x="559" y="441"/>
                    <a:pt x="571" y="453"/>
                  </a:cubicBezTo>
                  <a:cubicBezTo>
                    <a:pt x="583" y="465"/>
                    <a:pt x="592" y="478"/>
                    <a:pt x="597" y="491"/>
                  </a:cubicBezTo>
                  <a:cubicBezTo>
                    <a:pt x="601" y="504"/>
                    <a:pt x="603" y="516"/>
                    <a:pt x="602" y="529"/>
                  </a:cubicBezTo>
                  <a:cubicBezTo>
                    <a:pt x="601" y="541"/>
                    <a:pt x="597" y="553"/>
                    <a:pt x="591" y="565"/>
                  </a:cubicBezTo>
                  <a:cubicBezTo>
                    <a:pt x="584" y="577"/>
                    <a:pt x="576" y="588"/>
                    <a:pt x="565" y="598"/>
                  </a:cubicBezTo>
                  <a:lnTo>
                    <a:pt x="560" y="604"/>
                  </a:lnTo>
                  <a:close/>
                  <a:moveTo>
                    <a:pt x="539" y="566"/>
                  </a:moveTo>
                  <a:cubicBezTo>
                    <a:pt x="555" y="551"/>
                    <a:pt x="564" y="535"/>
                    <a:pt x="565" y="519"/>
                  </a:cubicBezTo>
                  <a:cubicBezTo>
                    <a:pt x="567" y="503"/>
                    <a:pt x="561" y="488"/>
                    <a:pt x="546" y="474"/>
                  </a:cubicBezTo>
                  <a:cubicBezTo>
                    <a:pt x="539" y="467"/>
                    <a:pt x="532" y="462"/>
                    <a:pt x="523" y="459"/>
                  </a:cubicBezTo>
                  <a:cubicBezTo>
                    <a:pt x="515" y="457"/>
                    <a:pt x="507" y="456"/>
                    <a:pt x="499" y="456"/>
                  </a:cubicBezTo>
                  <a:cubicBezTo>
                    <a:pt x="491" y="457"/>
                    <a:pt x="483" y="460"/>
                    <a:pt x="475" y="464"/>
                  </a:cubicBezTo>
                  <a:cubicBezTo>
                    <a:pt x="467" y="467"/>
                    <a:pt x="459" y="473"/>
                    <a:pt x="453" y="479"/>
                  </a:cubicBezTo>
                  <a:lnTo>
                    <a:pt x="539" y="566"/>
                  </a:lnTo>
                  <a:close/>
                  <a:moveTo>
                    <a:pt x="747" y="800"/>
                  </a:moveTo>
                  <a:cubicBezTo>
                    <a:pt x="733" y="814"/>
                    <a:pt x="719" y="825"/>
                    <a:pt x="705" y="833"/>
                  </a:cubicBezTo>
                  <a:cubicBezTo>
                    <a:pt x="691" y="841"/>
                    <a:pt x="677" y="846"/>
                    <a:pt x="664" y="848"/>
                  </a:cubicBezTo>
                  <a:cubicBezTo>
                    <a:pt x="650" y="849"/>
                    <a:pt x="637" y="848"/>
                    <a:pt x="624" y="844"/>
                  </a:cubicBezTo>
                  <a:cubicBezTo>
                    <a:pt x="612" y="839"/>
                    <a:pt x="600" y="832"/>
                    <a:pt x="589" y="821"/>
                  </a:cubicBezTo>
                  <a:cubicBezTo>
                    <a:pt x="584" y="816"/>
                    <a:pt x="580" y="811"/>
                    <a:pt x="577" y="806"/>
                  </a:cubicBezTo>
                  <a:cubicBezTo>
                    <a:pt x="574" y="801"/>
                    <a:pt x="571" y="796"/>
                    <a:pt x="570" y="790"/>
                  </a:cubicBezTo>
                  <a:cubicBezTo>
                    <a:pt x="568" y="784"/>
                    <a:pt x="567" y="778"/>
                    <a:pt x="566" y="771"/>
                  </a:cubicBezTo>
                  <a:cubicBezTo>
                    <a:pt x="565" y="764"/>
                    <a:pt x="565" y="756"/>
                    <a:pt x="565" y="748"/>
                  </a:cubicBezTo>
                  <a:lnTo>
                    <a:pt x="485" y="828"/>
                  </a:lnTo>
                  <a:cubicBezTo>
                    <a:pt x="484" y="829"/>
                    <a:pt x="483" y="829"/>
                    <a:pt x="482" y="829"/>
                  </a:cubicBezTo>
                  <a:cubicBezTo>
                    <a:pt x="481" y="830"/>
                    <a:pt x="479" y="829"/>
                    <a:pt x="478" y="829"/>
                  </a:cubicBezTo>
                  <a:cubicBezTo>
                    <a:pt x="476" y="828"/>
                    <a:pt x="474" y="827"/>
                    <a:pt x="472" y="825"/>
                  </a:cubicBezTo>
                  <a:cubicBezTo>
                    <a:pt x="470" y="824"/>
                    <a:pt x="468" y="822"/>
                    <a:pt x="465" y="819"/>
                  </a:cubicBezTo>
                  <a:cubicBezTo>
                    <a:pt x="462" y="816"/>
                    <a:pt x="460" y="813"/>
                    <a:pt x="458" y="811"/>
                  </a:cubicBezTo>
                  <a:cubicBezTo>
                    <a:pt x="456" y="809"/>
                    <a:pt x="455" y="807"/>
                    <a:pt x="455" y="806"/>
                  </a:cubicBezTo>
                  <a:cubicBezTo>
                    <a:pt x="454" y="804"/>
                    <a:pt x="454" y="803"/>
                    <a:pt x="454" y="802"/>
                  </a:cubicBezTo>
                  <a:cubicBezTo>
                    <a:pt x="454" y="800"/>
                    <a:pt x="455" y="799"/>
                    <a:pt x="456" y="798"/>
                  </a:cubicBezTo>
                  <a:lnTo>
                    <a:pt x="678" y="576"/>
                  </a:lnTo>
                  <a:cubicBezTo>
                    <a:pt x="679" y="575"/>
                    <a:pt x="680" y="574"/>
                    <a:pt x="681" y="574"/>
                  </a:cubicBezTo>
                  <a:cubicBezTo>
                    <a:pt x="682" y="574"/>
                    <a:pt x="683" y="574"/>
                    <a:pt x="685" y="575"/>
                  </a:cubicBezTo>
                  <a:cubicBezTo>
                    <a:pt x="686" y="575"/>
                    <a:pt x="688" y="576"/>
                    <a:pt x="690" y="578"/>
                  </a:cubicBezTo>
                  <a:cubicBezTo>
                    <a:pt x="692" y="579"/>
                    <a:pt x="694" y="581"/>
                    <a:pt x="696" y="583"/>
                  </a:cubicBezTo>
                  <a:cubicBezTo>
                    <a:pt x="699" y="586"/>
                    <a:pt x="701" y="588"/>
                    <a:pt x="702" y="590"/>
                  </a:cubicBezTo>
                  <a:cubicBezTo>
                    <a:pt x="704" y="592"/>
                    <a:pt x="705" y="593"/>
                    <a:pt x="705" y="595"/>
                  </a:cubicBezTo>
                  <a:cubicBezTo>
                    <a:pt x="706" y="596"/>
                    <a:pt x="706" y="598"/>
                    <a:pt x="706" y="599"/>
                  </a:cubicBezTo>
                  <a:cubicBezTo>
                    <a:pt x="705" y="600"/>
                    <a:pt x="705" y="601"/>
                    <a:pt x="704" y="602"/>
                  </a:cubicBezTo>
                  <a:lnTo>
                    <a:pt x="682" y="623"/>
                  </a:lnTo>
                  <a:cubicBezTo>
                    <a:pt x="692" y="623"/>
                    <a:pt x="701" y="623"/>
                    <a:pt x="709" y="624"/>
                  </a:cubicBezTo>
                  <a:cubicBezTo>
                    <a:pt x="717" y="625"/>
                    <a:pt x="725" y="627"/>
                    <a:pt x="732" y="629"/>
                  </a:cubicBezTo>
                  <a:cubicBezTo>
                    <a:pt x="739" y="631"/>
                    <a:pt x="745" y="634"/>
                    <a:pt x="751" y="637"/>
                  </a:cubicBezTo>
                  <a:cubicBezTo>
                    <a:pt x="757" y="641"/>
                    <a:pt x="763" y="645"/>
                    <a:pt x="768" y="650"/>
                  </a:cubicBezTo>
                  <a:cubicBezTo>
                    <a:pt x="780" y="662"/>
                    <a:pt x="787" y="674"/>
                    <a:pt x="791" y="687"/>
                  </a:cubicBezTo>
                  <a:cubicBezTo>
                    <a:pt x="795" y="699"/>
                    <a:pt x="795" y="712"/>
                    <a:pt x="793" y="725"/>
                  </a:cubicBezTo>
                  <a:cubicBezTo>
                    <a:pt x="790" y="738"/>
                    <a:pt x="785" y="751"/>
                    <a:pt x="777" y="763"/>
                  </a:cubicBezTo>
                  <a:cubicBezTo>
                    <a:pt x="769" y="776"/>
                    <a:pt x="759" y="788"/>
                    <a:pt x="747" y="800"/>
                  </a:cubicBezTo>
                  <a:close/>
                  <a:moveTo>
                    <a:pt x="714" y="773"/>
                  </a:moveTo>
                  <a:cubicBezTo>
                    <a:pt x="722" y="765"/>
                    <a:pt x="729" y="756"/>
                    <a:pt x="735" y="747"/>
                  </a:cubicBezTo>
                  <a:cubicBezTo>
                    <a:pt x="742" y="738"/>
                    <a:pt x="746" y="730"/>
                    <a:pt x="749" y="721"/>
                  </a:cubicBezTo>
                  <a:cubicBezTo>
                    <a:pt x="752" y="712"/>
                    <a:pt x="753" y="703"/>
                    <a:pt x="751" y="694"/>
                  </a:cubicBezTo>
                  <a:cubicBezTo>
                    <a:pt x="750" y="686"/>
                    <a:pt x="745" y="678"/>
                    <a:pt x="738" y="670"/>
                  </a:cubicBezTo>
                  <a:cubicBezTo>
                    <a:pt x="734" y="666"/>
                    <a:pt x="729" y="663"/>
                    <a:pt x="725" y="660"/>
                  </a:cubicBezTo>
                  <a:cubicBezTo>
                    <a:pt x="720" y="658"/>
                    <a:pt x="714" y="656"/>
                    <a:pt x="708" y="655"/>
                  </a:cubicBezTo>
                  <a:cubicBezTo>
                    <a:pt x="702" y="653"/>
                    <a:pt x="695" y="652"/>
                    <a:pt x="687" y="652"/>
                  </a:cubicBezTo>
                  <a:cubicBezTo>
                    <a:pt x="679" y="652"/>
                    <a:pt x="669" y="652"/>
                    <a:pt x="659" y="654"/>
                  </a:cubicBezTo>
                  <a:lnTo>
                    <a:pt x="596" y="717"/>
                  </a:lnTo>
                  <a:cubicBezTo>
                    <a:pt x="594" y="735"/>
                    <a:pt x="594" y="750"/>
                    <a:pt x="596" y="762"/>
                  </a:cubicBezTo>
                  <a:cubicBezTo>
                    <a:pt x="598" y="775"/>
                    <a:pt x="603" y="785"/>
                    <a:pt x="611" y="793"/>
                  </a:cubicBezTo>
                  <a:cubicBezTo>
                    <a:pt x="619" y="800"/>
                    <a:pt x="627" y="805"/>
                    <a:pt x="635" y="806"/>
                  </a:cubicBezTo>
                  <a:cubicBezTo>
                    <a:pt x="644" y="808"/>
                    <a:pt x="653" y="808"/>
                    <a:pt x="662" y="805"/>
                  </a:cubicBezTo>
                  <a:cubicBezTo>
                    <a:pt x="672" y="803"/>
                    <a:pt x="681" y="798"/>
                    <a:pt x="689" y="793"/>
                  </a:cubicBezTo>
                  <a:cubicBezTo>
                    <a:pt x="698" y="787"/>
                    <a:pt x="706" y="780"/>
                    <a:pt x="714" y="773"/>
                  </a:cubicBezTo>
                  <a:close/>
                  <a:moveTo>
                    <a:pt x="740" y="957"/>
                  </a:moveTo>
                  <a:cubicBezTo>
                    <a:pt x="740" y="958"/>
                    <a:pt x="738" y="958"/>
                    <a:pt x="737" y="958"/>
                  </a:cubicBezTo>
                  <a:cubicBezTo>
                    <a:pt x="736" y="959"/>
                    <a:pt x="735" y="958"/>
                    <a:pt x="733" y="958"/>
                  </a:cubicBezTo>
                  <a:cubicBezTo>
                    <a:pt x="732" y="957"/>
                    <a:pt x="730" y="956"/>
                    <a:pt x="728" y="955"/>
                  </a:cubicBezTo>
                  <a:cubicBezTo>
                    <a:pt x="726" y="953"/>
                    <a:pt x="723" y="951"/>
                    <a:pt x="720" y="948"/>
                  </a:cubicBezTo>
                  <a:cubicBezTo>
                    <a:pt x="717" y="945"/>
                    <a:pt x="715" y="942"/>
                    <a:pt x="714" y="940"/>
                  </a:cubicBezTo>
                  <a:cubicBezTo>
                    <a:pt x="712" y="938"/>
                    <a:pt x="711" y="936"/>
                    <a:pt x="710" y="935"/>
                  </a:cubicBezTo>
                  <a:cubicBezTo>
                    <a:pt x="709" y="933"/>
                    <a:pt x="709" y="932"/>
                    <a:pt x="710" y="931"/>
                  </a:cubicBezTo>
                  <a:cubicBezTo>
                    <a:pt x="710" y="930"/>
                    <a:pt x="710" y="929"/>
                    <a:pt x="711" y="928"/>
                  </a:cubicBezTo>
                  <a:lnTo>
                    <a:pt x="870" y="769"/>
                  </a:lnTo>
                  <a:cubicBezTo>
                    <a:pt x="871" y="768"/>
                    <a:pt x="872" y="767"/>
                    <a:pt x="873" y="767"/>
                  </a:cubicBezTo>
                  <a:cubicBezTo>
                    <a:pt x="874" y="767"/>
                    <a:pt x="876" y="767"/>
                    <a:pt x="877" y="767"/>
                  </a:cubicBezTo>
                  <a:cubicBezTo>
                    <a:pt x="879" y="768"/>
                    <a:pt x="881" y="769"/>
                    <a:pt x="883" y="771"/>
                  </a:cubicBezTo>
                  <a:cubicBezTo>
                    <a:pt x="885" y="772"/>
                    <a:pt x="888" y="775"/>
                    <a:pt x="890" y="778"/>
                  </a:cubicBezTo>
                  <a:cubicBezTo>
                    <a:pt x="893" y="780"/>
                    <a:pt x="896" y="783"/>
                    <a:pt x="897" y="785"/>
                  </a:cubicBezTo>
                  <a:cubicBezTo>
                    <a:pt x="899" y="787"/>
                    <a:pt x="900" y="789"/>
                    <a:pt x="901" y="791"/>
                  </a:cubicBezTo>
                  <a:cubicBezTo>
                    <a:pt x="901" y="792"/>
                    <a:pt x="901" y="794"/>
                    <a:pt x="901" y="795"/>
                  </a:cubicBezTo>
                  <a:cubicBezTo>
                    <a:pt x="901" y="796"/>
                    <a:pt x="900" y="797"/>
                    <a:pt x="900" y="798"/>
                  </a:cubicBezTo>
                  <a:lnTo>
                    <a:pt x="740" y="957"/>
                  </a:lnTo>
                  <a:close/>
                  <a:moveTo>
                    <a:pt x="957" y="747"/>
                  </a:moveTo>
                  <a:cubicBezTo>
                    <a:pt x="950" y="754"/>
                    <a:pt x="944" y="758"/>
                    <a:pt x="939" y="757"/>
                  </a:cubicBezTo>
                  <a:cubicBezTo>
                    <a:pt x="934" y="757"/>
                    <a:pt x="928" y="754"/>
                    <a:pt x="921" y="747"/>
                  </a:cubicBezTo>
                  <a:cubicBezTo>
                    <a:pt x="914" y="740"/>
                    <a:pt x="910" y="734"/>
                    <a:pt x="910" y="729"/>
                  </a:cubicBezTo>
                  <a:cubicBezTo>
                    <a:pt x="910" y="724"/>
                    <a:pt x="914" y="718"/>
                    <a:pt x="920" y="712"/>
                  </a:cubicBezTo>
                  <a:cubicBezTo>
                    <a:pt x="927" y="705"/>
                    <a:pt x="933" y="701"/>
                    <a:pt x="938" y="702"/>
                  </a:cubicBezTo>
                  <a:cubicBezTo>
                    <a:pt x="943" y="702"/>
                    <a:pt x="949" y="705"/>
                    <a:pt x="956" y="712"/>
                  </a:cubicBezTo>
                  <a:cubicBezTo>
                    <a:pt x="963" y="719"/>
                    <a:pt x="966" y="725"/>
                    <a:pt x="967" y="730"/>
                  </a:cubicBezTo>
                  <a:cubicBezTo>
                    <a:pt x="967" y="735"/>
                    <a:pt x="963" y="741"/>
                    <a:pt x="957" y="747"/>
                  </a:cubicBezTo>
                  <a:close/>
                  <a:moveTo>
                    <a:pt x="927" y="1144"/>
                  </a:moveTo>
                  <a:cubicBezTo>
                    <a:pt x="927" y="1145"/>
                    <a:pt x="926" y="1145"/>
                    <a:pt x="924" y="1146"/>
                  </a:cubicBezTo>
                  <a:cubicBezTo>
                    <a:pt x="923" y="1146"/>
                    <a:pt x="922" y="1145"/>
                    <a:pt x="920" y="1145"/>
                  </a:cubicBezTo>
                  <a:cubicBezTo>
                    <a:pt x="919" y="1144"/>
                    <a:pt x="917" y="1143"/>
                    <a:pt x="915" y="1142"/>
                  </a:cubicBezTo>
                  <a:cubicBezTo>
                    <a:pt x="913" y="1140"/>
                    <a:pt x="910" y="1138"/>
                    <a:pt x="908" y="1135"/>
                  </a:cubicBezTo>
                  <a:cubicBezTo>
                    <a:pt x="905" y="1132"/>
                    <a:pt x="902" y="1129"/>
                    <a:pt x="901" y="1127"/>
                  </a:cubicBezTo>
                  <a:cubicBezTo>
                    <a:pt x="899" y="1125"/>
                    <a:pt x="898" y="1123"/>
                    <a:pt x="897" y="1122"/>
                  </a:cubicBezTo>
                  <a:cubicBezTo>
                    <a:pt x="897" y="1120"/>
                    <a:pt x="896" y="1119"/>
                    <a:pt x="897" y="1118"/>
                  </a:cubicBezTo>
                  <a:cubicBezTo>
                    <a:pt x="897" y="1117"/>
                    <a:pt x="897" y="1116"/>
                    <a:pt x="898" y="1115"/>
                  </a:cubicBezTo>
                  <a:lnTo>
                    <a:pt x="991" y="1022"/>
                  </a:lnTo>
                  <a:cubicBezTo>
                    <a:pt x="1001" y="1012"/>
                    <a:pt x="1007" y="1004"/>
                    <a:pt x="1011" y="997"/>
                  </a:cubicBezTo>
                  <a:cubicBezTo>
                    <a:pt x="1015" y="991"/>
                    <a:pt x="1018" y="984"/>
                    <a:pt x="1019" y="977"/>
                  </a:cubicBezTo>
                  <a:cubicBezTo>
                    <a:pt x="1021" y="970"/>
                    <a:pt x="1020" y="964"/>
                    <a:pt x="1018" y="957"/>
                  </a:cubicBezTo>
                  <a:cubicBezTo>
                    <a:pt x="1016" y="951"/>
                    <a:pt x="1012" y="945"/>
                    <a:pt x="1006" y="939"/>
                  </a:cubicBezTo>
                  <a:cubicBezTo>
                    <a:pt x="999" y="932"/>
                    <a:pt x="989" y="927"/>
                    <a:pt x="977" y="925"/>
                  </a:cubicBezTo>
                  <a:cubicBezTo>
                    <a:pt x="964" y="923"/>
                    <a:pt x="949" y="923"/>
                    <a:pt x="931" y="925"/>
                  </a:cubicBezTo>
                  <a:lnTo>
                    <a:pt x="820" y="1036"/>
                  </a:lnTo>
                  <a:cubicBezTo>
                    <a:pt x="819" y="1037"/>
                    <a:pt x="818" y="1038"/>
                    <a:pt x="817" y="1038"/>
                  </a:cubicBezTo>
                  <a:cubicBezTo>
                    <a:pt x="815" y="1038"/>
                    <a:pt x="814" y="1038"/>
                    <a:pt x="813" y="1037"/>
                  </a:cubicBezTo>
                  <a:cubicBezTo>
                    <a:pt x="811" y="1036"/>
                    <a:pt x="809" y="1035"/>
                    <a:pt x="807" y="1034"/>
                  </a:cubicBezTo>
                  <a:cubicBezTo>
                    <a:pt x="805" y="1032"/>
                    <a:pt x="802" y="1030"/>
                    <a:pt x="800" y="1027"/>
                  </a:cubicBezTo>
                  <a:cubicBezTo>
                    <a:pt x="797" y="1024"/>
                    <a:pt x="794" y="1022"/>
                    <a:pt x="793" y="1019"/>
                  </a:cubicBezTo>
                  <a:cubicBezTo>
                    <a:pt x="791" y="1017"/>
                    <a:pt x="790" y="1015"/>
                    <a:pt x="789" y="1014"/>
                  </a:cubicBezTo>
                  <a:cubicBezTo>
                    <a:pt x="789" y="1012"/>
                    <a:pt x="788" y="1011"/>
                    <a:pt x="789" y="1010"/>
                  </a:cubicBezTo>
                  <a:cubicBezTo>
                    <a:pt x="789" y="1009"/>
                    <a:pt x="790" y="1008"/>
                    <a:pt x="790" y="1007"/>
                  </a:cubicBezTo>
                  <a:lnTo>
                    <a:pt x="950" y="848"/>
                  </a:lnTo>
                  <a:cubicBezTo>
                    <a:pt x="951" y="847"/>
                    <a:pt x="951" y="846"/>
                    <a:pt x="953" y="846"/>
                  </a:cubicBezTo>
                  <a:cubicBezTo>
                    <a:pt x="954" y="846"/>
                    <a:pt x="955" y="846"/>
                    <a:pt x="956" y="846"/>
                  </a:cubicBezTo>
                  <a:cubicBezTo>
                    <a:pt x="958" y="847"/>
                    <a:pt x="960" y="848"/>
                    <a:pt x="962" y="849"/>
                  </a:cubicBezTo>
                  <a:cubicBezTo>
                    <a:pt x="963" y="851"/>
                    <a:pt x="966" y="853"/>
                    <a:pt x="968" y="856"/>
                  </a:cubicBezTo>
                  <a:cubicBezTo>
                    <a:pt x="971" y="858"/>
                    <a:pt x="973" y="860"/>
                    <a:pt x="975" y="862"/>
                  </a:cubicBezTo>
                  <a:cubicBezTo>
                    <a:pt x="976" y="864"/>
                    <a:pt x="977" y="866"/>
                    <a:pt x="977" y="867"/>
                  </a:cubicBezTo>
                  <a:cubicBezTo>
                    <a:pt x="978" y="869"/>
                    <a:pt x="978" y="870"/>
                    <a:pt x="978" y="871"/>
                  </a:cubicBezTo>
                  <a:cubicBezTo>
                    <a:pt x="977" y="872"/>
                    <a:pt x="977" y="873"/>
                    <a:pt x="976" y="874"/>
                  </a:cubicBezTo>
                  <a:lnTo>
                    <a:pt x="955" y="895"/>
                  </a:lnTo>
                  <a:cubicBezTo>
                    <a:pt x="974" y="894"/>
                    <a:pt x="990" y="896"/>
                    <a:pt x="1004" y="900"/>
                  </a:cubicBezTo>
                  <a:cubicBezTo>
                    <a:pt x="1017" y="904"/>
                    <a:pt x="1029" y="911"/>
                    <a:pt x="1038" y="920"/>
                  </a:cubicBezTo>
                  <a:cubicBezTo>
                    <a:pt x="1048" y="930"/>
                    <a:pt x="1055" y="941"/>
                    <a:pt x="1059" y="952"/>
                  </a:cubicBezTo>
                  <a:cubicBezTo>
                    <a:pt x="1063" y="963"/>
                    <a:pt x="1064" y="974"/>
                    <a:pt x="1062" y="984"/>
                  </a:cubicBezTo>
                  <a:cubicBezTo>
                    <a:pt x="1061" y="995"/>
                    <a:pt x="1057" y="1005"/>
                    <a:pt x="1051" y="1015"/>
                  </a:cubicBezTo>
                  <a:cubicBezTo>
                    <a:pt x="1045" y="1025"/>
                    <a:pt x="1036" y="1035"/>
                    <a:pt x="1025" y="1047"/>
                  </a:cubicBezTo>
                  <a:lnTo>
                    <a:pt x="927" y="1144"/>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76" name="Freeform 123"/>
            <p:cNvSpPr>
              <a:spLocks noEditPoints="1"/>
            </p:cNvSpPr>
            <p:nvPr/>
          </p:nvSpPr>
          <p:spPr bwMode="auto">
            <a:xfrm>
              <a:off x="887" y="1635"/>
              <a:ext cx="276" cy="286"/>
            </a:xfrm>
            <a:custGeom>
              <a:avLst/>
              <a:gdLst>
                <a:gd name="T0" fmla="*/ 4 w 2620"/>
                <a:gd name="T1" fmla="*/ 231 h 2702"/>
                <a:gd name="T2" fmla="*/ 319 w 2620"/>
                <a:gd name="T3" fmla="*/ 174 h 2702"/>
                <a:gd name="T4" fmla="*/ 243 w 2620"/>
                <a:gd name="T5" fmla="*/ 188 h 2702"/>
                <a:gd name="T6" fmla="*/ 342 w 2620"/>
                <a:gd name="T7" fmla="*/ 274 h 2702"/>
                <a:gd name="T8" fmla="*/ 375 w 2620"/>
                <a:gd name="T9" fmla="*/ 316 h 2702"/>
                <a:gd name="T10" fmla="*/ 481 w 2620"/>
                <a:gd name="T11" fmla="*/ 682 h 2702"/>
                <a:gd name="T12" fmla="*/ 396 w 2620"/>
                <a:gd name="T13" fmla="*/ 554 h 2702"/>
                <a:gd name="T14" fmla="*/ 626 w 2620"/>
                <a:gd name="T15" fmla="*/ 526 h 2702"/>
                <a:gd name="T16" fmla="*/ 481 w 2620"/>
                <a:gd name="T17" fmla="*/ 682 h 2702"/>
                <a:gd name="T18" fmla="*/ 747 w 2620"/>
                <a:gd name="T19" fmla="*/ 706 h 2702"/>
                <a:gd name="T20" fmla="*/ 517 w 2620"/>
                <a:gd name="T21" fmla="*/ 738 h 2702"/>
                <a:gd name="T22" fmla="*/ 732 w 2620"/>
                <a:gd name="T23" fmla="*/ 628 h 2702"/>
                <a:gd name="T24" fmla="*/ 803 w 2620"/>
                <a:gd name="T25" fmla="*/ 1027 h 2702"/>
                <a:gd name="T26" fmla="*/ 873 w 2620"/>
                <a:gd name="T27" fmla="*/ 903 h 2702"/>
                <a:gd name="T28" fmla="*/ 839 w 2620"/>
                <a:gd name="T29" fmla="*/ 796 h 2702"/>
                <a:gd name="T30" fmla="*/ 938 w 2620"/>
                <a:gd name="T31" fmla="*/ 940 h 2702"/>
                <a:gd name="T32" fmla="*/ 874 w 2620"/>
                <a:gd name="T33" fmla="*/ 946 h 2702"/>
                <a:gd name="T34" fmla="*/ 1109 w 2620"/>
                <a:gd name="T35" fmla="*/ 1068 h 2702"/>
                <a:gd name="T36" fmla="*/ 879 w 2620"/>
                <a:gd name="T37" fmla="*/ 1100 h 2702"/>
                <a:gd name="T38" fmla="*/ 1094 w 2620"/>
                <a:gd name="T39" fmla="*/ 991 h 2702"/>
                <a:gd name="T40" fmla="*/ 1235 w 2620"/>
                <a:gd name="T41" fmla="*/ 966 h 2702"/>
                <a:gd name="T42" fmla="*/ 1136 w 2620"/>
                <a:gd name="T43" fmla="*/ 961 h 2702"/>
                <a:gd name="T44" fmla="*/ 1162 w 2620"/>
                <a:gd name="T45" fmla="*/ 1330 h 2702"/>
                <a:gd name="T46" fmla="*/ 1303 w 2620"/>
                <a:gd name="T47" fmla="*/ 1407 h 2702"/>
                <a:gd name="T48" fmla="*/ 1440 w 2620"/>
                <a:gd name="T49" fmla="*/ 1202 h 2702"/>
                <a:gd name="T50" fmla="*/ 1447 w 2620"/>
                <a:gd name="T51" fmla="*/ 1291 h 2702"/>
                <a:gd name="T52" fmla="*/ 1349 w 2620"/>
                <a:gd name="T53" fmla="*/ 1320 h 2702"/>
                <a:gd name="T54" fmla="*/ 1350 w 2620"/>
                <a:gd name="T55" fmla="*/ 1575 h 2702"/>
                <a:gd name="T56" fmla="*/ 1492 w 2620"/>
                <a:gd name="T57" fmla="*/ 1382 h 2702"/>
                <a:gd name="T58" fmla="*/ 1564 w 2620"/>
                <a:gd name="T59" fmla="*/ 1455 h 2702"/>
                <a:gd name="T60" fmla="*/ 1419 w 2620"/>
                <a:gd name="T61" fmla="*/ 1593 h 2702"/>
                <a:gd name="T62" fmla="*/ 1541 w 2620"/>
                <a:gd name="T63" fmla="*/ 1758 h 2702"/>
                <a:gd name="T64" fmla="*/ 1631 w 2620"/>
                <a:gd name="T65" fmla="*/ 1660 h 2702"/>
                <a:gd name="T66" fmla="*/ 1577 w 2620"/>
                <a:gd name="T67" fmla="*/ 1527 h 2702"/>
                <a:gd name="T68" fmla="*/ 1566 w 2620"/>
                <a:gd name="T69" fmla="*/ 1783 h 2702"/>
                <a:gd name="T70" fmla="*/ 1858 w 2620"/>
                <a:gd name="T71" fmla="*/ 1777 h 2702"/>
                <a:gd name="T72" fmla="*/ 1750 w 2620"/>
                <a:gd name="T73" fmla="*/ 1757 h 2702"/>
                <a:gd name="T74" fmla="*/ 1782 w 2620"/>
                <a:gd name="T75" fmla="*/ 1672 h 2702"/>
                <a:gd name="T76" fmla="*/ 1858 w 2620"/>
                <a:gd name="T77" fmla="*/ 1741 h 2702"/>
                <a:gd name="T78" fmla="*/ 1799 w 2620"/>
                <a:gd name="T79" fmla="*/ 2032 h 2702"/>
                <a:gd name="T80" fmla="*/ 1970 w 2620"/>
                <a:gd name="T81" fmla="*/ 2024 h 2702"/>
                <a:gd name="T82" fmla="*/ 1807 w 2620"/>
                <a:gd name="T83" fmla="*/ 1980 h 2702"/>
                <a:gd name="T84" fmla="*/ 1965 w 2620"/>
                <a:gd name="T85" fmla="*/ 2182 h 2702"/>
                <a:gd name="T86" fmla="*/ 2028 w 2620"/>
                <a:gd name="T87" fmla="*/ 2010 h 2702"/>
                <a:gd name="T88" fmla="*/ 2202 w 2620"/>
                <a:gd name="T89" fmla="*/ 1939 h 2702"/>
                <a:gd name="T90" fmla="*/ 2086 w 2620"/>
                <a:gd name="T91" fmla="*/ 2240 h 2702"/>
                <a:gd name="T92" fmla="*/ 2158 w 2620"/>
                <a:gd name="T93" fmla="*/ 2362 h 2702"/>
                <a:gd name="T94" fmla="*/ 2090 w 2620"/>
                <a:gd name="T95" fmla="*/ 2432 h 2702"/>
                <a:gd name="T96" fmla="*/ 2095 w 2620"/>
                <a:gd name="T97" fmla="*/ 2326 h 2702"/>
                <a:gd name="T98" fmla="*/ 2276 w 2620"/>
                <a:gd name="T99" fmla="*/ 2251 h 2702"/>
                <a:gd name="T100" fmla="*/ 2332 w 2620"/>
                <a:gd name="T101" fmla="*/ 2553 h 2702"/>
                <a:gd name="T102" fmla="*/ 2221 w 2620"/>
                <a:gd name="T103" fmla="*/ 2448 h 2702"/>
                <a:gd name="T104" fmla="*/ 2471 w 2620"/>
                <a:gd name="T105" fmla="*/ 2207 h 2702"/>
                <a:gd name="T106" fmla="*/ 2488 w 2620"/>
                <a:gd name="T107" fmla="*/ 2386 h 2702"/>
                <a:gd name="T108" fmla="*/ 2455 w 2620"/>
                <a:gd name="T109" fmla="*/ 2679 h 2702"/>
                <a:gd name="T110" fmla="*/ 2525 w 2620"/>
                <a:gd name="T111" fmla="*/ 2555 h 2702"/>
                <a:gd name="T112" fmla="*/ 2491 w 2620"/>
                <a:gd name="T113" fmla="*/ 2448 h 2702"/>
                <a:gd name="T114" fmla="*/ 2590 w 2620"/>
                <a:gd name="T115" fmla="*/ 2592 h 2702"/>
                <a:gd name="T116" fmla="*/ 2526 w 2620"/>
                <a:gd name="T117" fmla="*/ 2598 h 2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20" h="2702">
                  <a:moveTo>
                    <a:pt x="299" y="202"/>
                  </a:moveTo>
                  <a:cubicBezTo>
                    <a:pt x="288" y="213"/>
                    <a:pt x="276" y="221"/>
                    <a:pt x="263" y="227"/>
                  </a:cubicBezTo>
                  <a:cubicBezTo>
                    <a:pt x="250" y="232"/>
                    <a:pt x="236" y="235"/>
                    <a:pt x="223" y="234"/>
                  </a:cubicBezTo>
                  <a:cubicBezTo>
                    <a:pt x="209" y="234"/>
                    <a:pt x="196" y="230"/>
                    <a:pt x="182" y="223"/>
                  </a:cubicBezTo>
                  <a:cubicBezTo>
                    <a:pt x="168" y="217"/>
                    <a:pt x="154" y="206"/>
                    <a:pt x="140" y="192"/>
                  </a:cubicBezTo>
                  <a:lnTo>
                    <a:pt x="114" y="166"/>
                  </a:lnTo>
                  <a:lnTo>
                    <a:pt x="32" y="249"/>
                  </a:lnTo>
                  <a:cubicBezTo>
                    <a:pt x="31" y="250"/>
                    <a:pt x="30" y="250"/>
                    <a:pt x="29" y="250"/>
                  </a:cubicBezTo>
                  <a:cubicBezTo>
                    <a:pt x="27" y="250"/>
                    <a:pt x="26" y="250"/>
                    <a:pt x="25" y="249"/>
                  </a:cubicBezTo>
                  <a:cubicBezTo>
                    <a:pt x="23" y="249"/>
                    <a:pt x="21" y="248"/>
                    <a:pt x="19" y="246"/>
                  </a:cubicBezTo>
                  <a:cubicBezTo>
                    <a:pt x="17" y="244"/>
                    <a:pt x="14" y="242"/>
                    <a:pt x="11" y="239"/>
                  </a:cubicBezTo>
                  <a:cubicBezTo>
                    <a:pt x="8" y="236"/>
                    <a:pt x="6" y="233"/>
                    <a:pt x="4" y="231"/>
                  </a:cubicBezTo>
                  <a:cubicBezTo>
                    <a:pt x="3" y="229"/>
                    <a:pt x="1" y="227"/>
                    <a:pt x="1" y="226"/>
                  </a:cubicBezTo>
                  <a:cubicBezTo>
                    <a:pt x="0" y="224"/>
                    <a:pt x="0" y="223"/>
                    <a:pt x="0" y="221"/>
                  </a:cubicBezTo>
                  <a:cubicBezTo>
                    <a:pt x="0" y="220"/>
                    <a:pt x="1" y="219"/>
                    <a:pt x="2" y="218"/>
                  </a:cubicBezTo>
                  <a:lnTo>
                    <a:pt x="213" y="7"/>
                  </a:lnTo>
                  <a:cubicBezTo>
                    <a:pt x="217" y="2"/>
                    <a:pt x="222" y="0"/>
                    <a:pt x="226" y="1"/>
                  </a:cubicBezTo>
                  <a:cubicBezTo>
                    <a:pt x="231" y="1"/>
                    <a:pt x="235" y="3"/>
                    <a:pt x="238" y="6"/>
                  </a:cubicBezTo>
                  <a:lnTo>
                    <a:pt x="287" y="55"/>
                  </a:lnTo>
                  <a:cubicBezTo>
                    <a:pt x="292" y="60"/>
                    <a:pt x="296" y="65"/>
                    <a:pt x="300" y="70"/>
                  </a:cubicBezTo>
                  <a:cubicBezTo>
                    <a:pt x="304" y="75"/>
                    <a:pt x="309" y="81"/>
                    <a:pt x="314" y="89"/>
                  </a:cubicBezTo>
                  <a:cubicBezTo>
                    <a:pt x="319" y="96"/>
                    <a:pt x="322" y="105"/>
                    <a:pt x="325" y="115"/>
                  </a:cubicBezTo>
                  <a:cubicBezTo>
                    <a:pt x="328" y="125"/>
                    <a:pt x="329" y="135"/>
                    <a:pt x="328" y="145"/>
                  </a:cubicBezTo>
                  <a:cubicBezTo>
                    <a:pt x="327" y="155"/>
                    <a:pt x="324" y="165"/>
                    <a:pt x="319" y="174"/>
                  </a:cubicBezTo>
                  <a:cubicBezTo>
                    <a:pt x="315" y="184"/>
                    <a:pt x="308" y="193"/>
                    <a:pt x="299" y="202"/>
                  </a:cubicBezTo>
                  <a:close/>
                  <a:moveTo>
                    <a:pt x="265" y="172"/>
                  </a:moveTo>
                  <a:cubicBezTo>
                    <a:pt x="274" y="163"/>
                    <a:pt x="280" y="153"/>
                    <a:pt x="283" y="143"/>
                  </a:cubicBezTo>
                  <a:cubicBezTo>
                    <a:pt x="286" y="134"/>
                    <a:pt x="286" y="125"/>
                    <a:pt x="284" y="117"/>
                  </a:cubicBezTo>
                  <a:cubicBezTo>
                    <a:pt x="282" y="108"/>
                    <a:pt x="279" y="101"/>
                    <a:pt x="274" y="95"/>
                  </a:cubicBezTo>
                  <a:cubicBezTo>
                    <a:pt x="269" y="89"/>
                    <a:pt x="264" y="83"/>
                    <a:pt x="259" y="78"/>
                  </a:cubicBezTo>
                  <a:lnTo>
                    <a:pt x="231" y="50"/>
                  </a:lnTo>
                  <a:lnTo>
                    <a:pt x="139" y="141"/>
                  </a:lnTo>
                  <a:lnTo>
                    <a:pt x="167" y="169"/>
                  </a:lnTo>
                  <a:cubicBezTo>
                    <a:pt x="176" y="178"/>
                    <a:pt x="185" y="184"/>
                    <a:pt x="193" y="188"/>
                  </a:cubicBezTo>
                  <a:cubicBezTo>
                    <a:pt x="202" y="192"/>
                    <a:pt x="210" y="194"/>
                    <a:pt x="218" y="194"/>
                  </a:cubicBezTo>
                  <a:cubicBezTo>
                    <a:pt x="227" y="193"/>
                    <a:pt x="235" y="192"/>
                    <a:pt x="243" y="188"/>
                  </a:cubicBezTo>
                  <a:cubicBezTo>
                    <a:pt x="251" y="184"/>
                    <a:pt x="258" y="179"/>
                    <a:pt x="265" y="172"/>
                  </a:cubicBezTo>
                  <a:close/>
                  <a:moveTo>
                    <a:pt x="420" y="474"/>
                  </a:moveTo>
                  <a:cubicBezTo>
                    <a:pt x="407" y="487"/>
                    <a:pt x="393" y="497"/>
                    <a:pt x="379" y="505"/>
                  </a:cubicBezTo>
                  <a:cubicBezTo>
                    <a:pt x="364" y="512"/>
                    <a:pt x="350" y="516"/>
                    <a:pt x="335" y="518"/>
                  </a:cubicBezTo>
                  <a:cubicBezTo>
                    <a:pt x="321" y="519"/>
                    <a:pt x="306" y="516"/>
                    <a:pt x="291" y="511"/>
                  </a:cubicBezTo>
                  <a:cubicBezTo>
                    <a:pt x="277" y="505"/>
                    <a:pt x="263" y="495"/>
                    <a:pt x="249" y="482"/>
                  </a:cubicBezTo>
                  <a:cubicBezTo>
                    <a:pt x="236" y="469"/>
                    <a:pt x="227" y="455"/>
                    <a:pt x="221" y="442"/>
                  </a:cubicBezTo>
                  <a:cubicBezTo>
                    <a:pt x="215" y="428"/>
                    <a:pt x="213" y="414"/>
                    <a:pt x="214" y="400"/>
                  </a:cubicBezTo>
                  <a:cubicBezTo>
                    <a:pt x="214" y="387"/>
                    <a:pt x="219" y="373"/>
                    <a:pt x="226" y="359"/>
                  </a:cubicBezTo>
                  <a:cubicBezTo>
                    <a:pt x="233" y="345"/>
                    <a:pt x="244" y="331"/>
                    <a:pt x="257" y="318"/>
                  </a:cubicBezTo>
                  <a:cubicBezTo>
                    <a:pt x="270" y="305"/>
                    <a:pt x="284" y="295"/>
                    <a:pt x="298" y="287"/>
                  </a:cubicBezTo>
                  <a:cubicBezTo>
                    <a:pt x="312" y="280"/>
                    <a:pt x="327" y="275"/>
                    <a:pt x="342" y="274"/>
                  </a:cubicBezTo>
                  <a:cubicBezTo>
                    <a:pt x="356" y="273"/>
                    <a:pt x="371" y="276"/>
                    <a:pt x="385" y="281"/>
                  </a:cubicBezTo>
                  <a:cubicBezTo>
                    <a:pt x="400" y="287"/>
                    <a:pt x="414" y="297"/>
                    <a:pt x="427" y="310"/>
                  </a:cubicBezTo>
                  <a:cubicBezTo>
                    <a:pt x="440" y="323"/>
                    <a:pt x="450" y="337"/>
                    <a:pt x="456" y="350"/>
                  </a:cubicBezTo>
                  <a:cubicBezTo>
                    <a:pt x="462" y="364"/>
                    <a:pt x="464" y="378"/>
                    <a:pt x="463" y="392"/>
                  </a:cubicBezTo>
                  <a:cubicBezTo>
                    <a:pt x="462" y="405"/>
                    <a:pt x="458" y="419"/>
                    <a:pt x="451" y="433"/>
                  </a:cubicBezTo>
                  <a:cubicBezTo>
                    <a:pt x="443" y="447"/>
                    <a:pt x="433" y="461"/>
                    <a:pt x="420" y="474"/>
                  </a:cubicBezTo>
                  <a:close/>
                  <a:moveTo>
                    <a:pt x="387" y="446"/>
                  </a:moveTo>
                  <a:cubicBezTo>
                    <a:pt x="396" y="437"/>
                    <a:pt x="403" y="428"/>
                    <a:pt x="409" y="419"/>
                  </a:cubicBezTo>
                  <a:cubicBezTo>
                    <a:pt x="416" y="410"/>
                    <a:pt x="420" y="400"/>
                    <a:pt x="422" y="391"/>
                  </a:cubicBezTo>
                  <a:cubicBezTo>
                    <a:pt x="424" y="381"/>
                    <a:pt x="423" y="372"/>
                    <a:pt x="420" y="362"/>
                  </a:cubicBezTo>
                  <a:cubicBezTo>
                    <a:pt x="417" y="352"/>
                    <a:pt x="411" y="343"/>
                    <a:pt x="402" y="334"/>
                  </a:cubicBezTo>
                  <a:cubicBezTo>
                    <a:pt x="393" y="325"/>
                    <a:pt x="384" y="319"/>
                    <a:pt x="375" y="316"/>
                  </a:cubicBezTo>
                  <a:cubicBezTo>
                    <a:pt x="366" y="313"/>
                    <a:pt x="356" y="312"/>
                    <a:pt x="346" y="313"/>
                  </a:cubicBezTo>
                  <a:cubicBezTo>
                    <a:pt x="337" y="315"/>
                    <a:pt x="327" y="318"/>
                    <a:pt x="318" y="324"/>
                  </a:cubicBezTo>
                  <a:cubicBezTo>
                    <a:pt x="308" y="330"/>
                    <a:pt x="299" y="337"/>
                    <a:pt x="290" y="346"/>
                  </a:cubicBezTo>
                  <a:cubicBezTo>
                    <a:pt x="281" y="355"/>
                    <a:pt x="273" y="364"/>
                    <a:pt x="267" y="373"/>
                  </a:cubicBezTo>
                  <a:cubicBezTo>
                    <a:pt x="261" y="383"/>
                    <a:pt x="257" y="392"/>
                    <a:pt x="255" y="401"/>
                  </a:cubicBezTo>
                  <a:cubicBezTo>
                    <a:pt x="253" y="411"/>
                    <a:pt x="254" y="420"/>
                    <a:pt x="257" y="430"/>
                  </a:cubicBezTo>
                  <a:cubicBezTo>
                    <a:pt x="260" y="440"/>
                    <a:pt x="266" y="449"/>
                    <a:pt x="275" y="459"/>
                  </a:cubicBezTo>
                  <a:cubicBezTo>
                    <a:pt x="284" y="467"/>
                    <a:pt x="293" y="473"/>
                    <a:pt x="302" y="476"/>
                  </a:cubicBezTo>
                  <a:cubicBezTo>
                    <a:pt x="312" y="480"/>
                    <a:pt x="321" y="480"/>
                    <a:pt x="331" y="479"/>
                  </a:cubicBezTo>
                  <a:cubicBezTo>
                    <a:pt x="340" y="477"/>
                    <a:pt x="350" y="474"/>
                    <a:pt x="359" y="468"/>
                  </a:cubicBezTo>
                  <a:cubicBezTo>
                    <a:pt x="369" y="462"/>
                    <a:pt x="378" y="455"/>
                    <a:pt x="387" y="446"/>
                  </a:cubicBezTo>
                  <a:close/>
                  <a:moveTo>
                    <a:pt x="481" y="682"/>
                  </a:moveTo>
                  <a:cubicBezTo>
                    <a:pt x="479" y="684"/>
                    <a:pt x="476" y="686"/>
                    <a:pt x="475" y="687"/>
                  </a:cubicBezTo>
                  <a:cubicBezTo>
                    <a:pt x="473" y="688"/>
                    <a:pt x="471" y="689"/>
                    <a:pt x="469" y="690"/>
                  </a:cubicBezTo>
                  <a:cubicBezTo>
                    <a:pt x="468" y="690"/>
                    <a:pt x="467" y="690"/>
                    <a:pt x="465" y="690"/>
                  </a:cubicBezTo>
                  <a:cubicBezTo>
                    <a:pt x="464" y="689"/>
                    <a:pt x="463" y="689"/>
                    <a:pt x="462" y="688"/>
                  </a:cubicBezTo>
                  <a:lnTo>
                    <a:pt x="364" y="590"/>
                  </a:lnTo>
                  <a:cubicBezTo>
                    <a:pt x="362" y="587"/>
                    <a:pt x="360" y="585"/>
                    <a:pt x="361" y="581"/>
                  </a:cubicBezTo>
                  <a:cubicBezTo>
                    <a:pt x="361" y="578"/>
                    <a:pt x="363" y="575"/>
                    <a:pt x="366" y="571"/>
                  </a:cubicBezTo>
                  <a:lnTo>
                    <a:pt x="372" y="565"/>
                  </a:lnTo>
                  <a:cubicBezTo>
                    <a:pt x="374" y="563"/>
                    <a:pt x="376" y="562"/>
                    <a:pt x="377" y="561"/>
                  </a:cubicBezTo>
                  <a:cubicBezTo>
                    <a:pt x="379" y="560"/>
                    <a:pt x="380" y="559"/>
                    <a:pt x="382" y="558"/>
                  </a:cubicBezTo>
                  <a:cubicBezTo>
                    <a:pt x="384" y="557"/>
                    <a:pt x="386" y="556"/>
                    <a:pt x="388" y="556"/>
                  </a:cubicBezTo>
                  <a:cubicBezTo>
                    <a:pt x="391" y="555"/>
                    <a:pt x="393" y="554"/>
                    <a:pt x="396" y="554"/>
                  </a:cubicBezTo>
                  <a:lnTo>
                    <a:pt x="576" y="514"/>
                  </a:lnTo>
                  <a:lnTo>
                    <a:pt x="508" y="446"/>
                  </a:lnTo>
                  <a:cubicBezTo>
                    <a:pt x="506" y="445"/>
                    <a:pt x="505" y="442"/>
                    <a:pt x="506" y="439"/>
                  </a:cubicBezTo>
                  <a:cubicBezTo>
                    <a:pt x="507" y="436"/>
                    <a:pt x="510" y="432"/>
                    <a:pt x="514" y="428"/>
                  </a:cubicBezTo>
                  <a:cubicBezTo>
                    <a:pt x="516" y="426"/>
                    <a:pt x="518" y="424"/>
                    <a:pt x="520" y="423"/>
                  </a:cubicBezTo>
                  <a:cubicBezTo>
                    <a:pt x="522" y="421"/>
                    <a:pt x="523" y="420"/>
                    <a:pt x="525" y="420"/>
                  </a:cubicBezTo>
                  <a:cubicBezTo>
                    <a:pt x="526" y="419"/>
                    <a:pt x="528" y="419"/>
                    <a:pt x="529" y="420"/>
                  </a:cubicBezTo>
                  <a:cubicBezTo>
                    <a:pt x="530" y="420"/>
                    <a:pt x="531" y="421"/>
                    <a:pt x="532" y="422"/>
                  </a:cubicBezTo>
                  <a:lnTo>
                    <a:pt x="623" y="513"/>
                  </a:lnTo>
                  <a:cubicBezTo>
                    <a:pt x="625" y="514"/>
                    <a:pt x="626" y="516"/>
                    <a:pt x="626" y="517"/>
                  </a:cubicBezTo>
                  <a:cubicBezTo>
                    <a:pt x="627" y="518"/>
                    <a:pt x="627" y="520"/>
                    <a:pt x="627" y="521"/>
                  </a:cubicBezTo>
                  <a:cubicBezTo>
                    <a:pt x="627" y="523"/>
                    <a:pt x="627" y="524"/>
                    <a:pt x="626" y="526"/>
                  </a:cubicBezTo>
                  <a:cubicBezTo>
                    <a:pt x="625" y="528"/>
                    <a:pt x="623" y="530"/>
                    <a:pt x="621" y="532"/>
                  </a:cubicBezTo>
                  <a:lnTo>
                    <a:pt x="616" y="537"/>
                  </a:lnTo>
                  <a:cubicBezTo>
                    <a:pt x="614" y="539"/>
                    <a:pt x="612" y="540"/>
                    <a:pt x="611" y="542"/>
                  </a:cubicBezTo>
                  <a:cubicBezTo>
                    <a:pt x="609" y="543"/>
                    <a:pt x="607" y="544"/>
                    <a:pt x="606" y="545"/>
                  </a:cubicBezTo>
                  <a:cubicBezTo>
                    <a:pt x="604" y="546"/>
                    <a:pt x="602" y="546"/>
                    <a:pt x="599" y="547"/>
                  </a:cubicBezTo>
                  <a:cubicBezTo>
                    <a:pt x="597" y="548"/>
                    <a:pt x="594" y="549"/>
                    <a:pt x="591" y="549"/>
                  </a:cubicBezTo>
                  <a:lnTo>
                    <a:pt x="412" y="589"/>
                  </a:lnTo>
                  <a:lnTo>
                    <a:pt x="487" y="663"/>
                  </a:lnTo>
                  <a:cubicBezTo>
                    <a:pt x="488" y="664"/>
                    <a:pt x="488" y="665"/>
                    <a:pt x="489" y="666"/>
                  </a:cubicBezTo>
                  <a:cubicBezTo>
                    <a:pt x="489" y="668"/>
                    <a:pt x="489" y="669"/>
                    <a:pt x="488" y="670"/>
                  </a:cubicBezTo>
                  <a:cubicBezTo>
                    <a:pt x="488" y="672"/>
                    <a:pt x="487" y="674"/>
                    <a:pt x="486" y="676"/>
                  </a:cubicBezTo>
                  <a:cubicBezTo>
                    <a:pt x="485" y="678"/>
                    <a:pt x="483" y="680"/>
                    <a:pt x="481" y="682"/>
                  </a:cubicBezTo>
                  <a:close/>
                  <a:moveTo>
                    <a:pt x="655" y="872"/>
                  </a:moveTo>
                  <a:cubicBezTo>
                    <a:pt x="655" y="873"/>
                    <a:pt x="653" y="874"/>
                    <a:pt x="652" y="874"/>
                  </a:cubicBezTo>
                  <a:cubicBezTo>
                    <a:pt x="651" y="874"/>
                    <a:pt x="650" y="874"/>
                    <a:pt x="648" y="873"/>
                  </a:cubicBezTo>
                  <a:cubicBezTo>
                    <a:pt x="647" y="873"/>
                    <a:pt x="645" y="872"/>
                    <a:pt x="643" y="870"/>
                  </a:cubicBezTo>
                  <a:cubicBezTo>
                    <a:pt x="641" y="868"/>
                    <a:pt x="638" y="866"/>
                    <a:pt x="635" y="863"/>
                  </a:cubicBezTo>
                  <a:cubicBezTo>
                    <a:pt x="633" y="860"/>
                    <a:pt x="630" y="858"/>
                    <a:pt x="629" y="856"/>
                  </a:cubicBezTo>
                  <a:cubicBezTo>
                    <a:pt x="627" y="854"/>
                    <a:pt x="626" y="852"/>
                    <a:pt x="625" y="850"/>
                  </a:cubicBezTo>
                  <a:cubicBezTo>
                    <a:pt x="625" y="849"/>
                    <a:pt x="624" y="847"/>
                    <a:pt x="625" y="846"/>
                  </a:cubicBezTo>
                  <a:cubicBezTo>
                    <a:pt x="625" y="845"/>
                    <a:pt x="625" y="844"/>
                    <a:pt x="626" y="843"/>
                  </a:cubicBezTo>
                  <a:lnTo>
                    <a:pt x="719" y="750"/>
                  </a:lnTo>
                  <a:cubicBezTo>
                    <a:pt x="729" y="741"/>
                    <a:pt x="735" y="733"/>
                    <a:pt x="739" y="726"/>
                  </a:cubicBezTo>
                  <a:cubicBezTo>
                    <a:pt x="743" y="719"/>
                    <a:pt x="746" y="712"/>
                    <a:pt x="747" y="706"/>
                  </a:cubicBezTo>
                  <a:cubicBezTo>
                    <a:pt x="749" y="699"/>
                    <a:pt x="748" y="692"/>
                    <a:pt x="746" y="686"/>
                  </a:cubicBezTo>
                  <a:cubicBezTo>
                    <a:pt x="744" y="679"/>
                    <a:pt x="740" y="673"/>
                    <a:pt x="734" y="668"/>
                  </a:cubicBezTo>
                  <a:cubicBezTo>
                    <a:pt x="727" y="660"/>
                    <a:pt x="717" y="656"/>
                    <a:pt x="705" y="654"/>
                  </a:cubicBezTo>
                  <a:cubicBezTo>
                    <a:pt x="692" y="651"/>
                    <a:pt x="677" y="651"/>
                    <a:pt x="659" y="653"/>
                  </a:cubicBezTo>
                  <a:lnTo>
                    <a:pt x="548" y="765"/>
                  </a:lnTo>
                  <a:cubicBezTo>
                    <a:pt x="547" y="766"/>
                    <a:pt x="546" y="766"/>
                    <a:pt x="545" y="766"/>
                  </a:cubicBezTo>
                  <a:cubicBezTo>
                    <a:pt x="543" y="766"/>
                    <a:pt x="542" y="766"/>
                    <a:pt x="541" y="766"/>
                  </a:cubicBezTo>
                  <a:cubicBezTo>
                    <a:pt x="539" y="765"/>
                    <a:pt x="537" y="764"/>
                    <a:pt x="535" y="762"/>
                  </a:cubicBezTo>
                  <a:cubicBezTo>
                    <a:pt x="533" y="761"/>
                    <a:pt x="530" y="758"/>
                    <a:pt x="527" y="755"/>
                  </a:cubicBezTo>
                  <a:cubicBezTo>
                    <a:pt x="525" y="753"/>
                    <a:pt x="522" y="750"/>
                    <a:pt x="521" y="748"/>
                  </a:cubicBezTo>
                  <a:cubicBezTo>
                    <a:pt x="519" y="746"/>
                    <a:pt x="518" y="744"/>
                    <a:pt x="517" y="742"/>
                  </a:cubicBezTo>
                  <a:cubicBezTo>
                    <a:pt x="517" y="741"/>
                    <a:pt x="516" y="739"/>
                    <a:pt x="517" y="738"/>
                  </a:cubicBezTo>
                  <a:cubicBezTo>
                    <a:pt x="517" y="737"/>
                    <a:pt x="518" y="736"/>
                    <a:pt x="518" y="735"/>
                  </a:cubicBezTo>
                  <a:lnTo>
                    <a:pt x="678" y="576"/>
                  </a:lnTo>
                  <a:cubicBezTo>
                    <a:pt x="678" y="575"/>
                    <a:pt x="679" y="575"/>
                    <a:pt x="680" y="574"/>
                  </a:cubicBezTo>
                  <a:cubicBezTo>
                    <a:pt x="681" y="574"/>
                    <a:pt x="683" y="574"/>
                    <a:pt x="684" y="575"/>
                  </a:cubicBezTo>
                  <a:cubicBezTo>
                    <a:pt x="686" y="575"/>
                    <a:pt x="688" y="576"/>
                    <a:pt x="689" y="578"/>
                  </a:cubicBezTo>
                  <a:cubicBezTo>
                    <a:pt x="691" y="579"/>
                    <a:pt x="694" y="581"/>
                    <a:pt x="696" y="584"/>
                  </a:cubicBezTo>
                  <a:cubicBezTo>
                    <a:pt x="699" y="587"/>
                    <a:pt x="701" y="589"/>
                    <a:pt x="702" y="591"/>
                  </a:cubicBezTo>
                  <a:cubicBezTo>
                    <a:pt x="704" y="593"/>
                    <a:pt x="705" y="594"/>
                    <a:pt x="705" y="596"/>
                  </a:cubicBezTo>
                  <a:cubicBezTo>
                    <a:pt x="706" y="597"/>
                    <a:pt x="706" y="599"/>
                    <a:pt x="706" y="600"/>
                  </a:cubicBezTo>
                  <a:cubicBezTo>
                    <a:pt x="705" y="601"/>
                    <a:pt x="705" y="602"/>
                    <a:pt x="704" y="603"/>
                  </a:cubicBezTo>
                  <a:lnTo>
                    <a:pt x="683" y="624"/>
                  </a:lnTo>
                  <a:cubicBezTo>
                    <a:pt x="702" y="623"/>
                    <a:pt x="718" y="624"/>
                    <a:pt x="732" y="628"/>
                  </a:cubicBezTo>
                  <a:cubicBezTo>
                    <a:pt x="745" y="633"/>
                    <a:pt x="757" y="639"/>
                    <a:pt x="766" y="648"/>
                  </a:cubicBezTo>
                  <a:cubicBezTo>
                    <a:pt x="776" y="659"/>
                    <a:pt x="783" y="670"/>
                    <a:pt x="787" y="681"/>
                  </a:cubicBezTo>
                  <a:cubicBezTo>
                    <a:pt x="791" y="691"/>
                    <a:pt x="792" y="702"/>
                    <a:pt x="790" y="713"/>
                  </a:cubicBezTo>
                  <a:cubicBezTo>
                    <a:pt x="789" y="723"/>
                    <a:pt x="785" y="733"/>
                    <a:pt x="779" y="743"/>
                  </a:cubicBezTo>
                  <a:cubicBezTo>
                    <a:pt x="773" y="753"/>
                    <a:pt x="764" y="764"/>
                    <a:pt x="753" y="775"/>
                  </a:cubicBezTo>
                  <a:lnTo>
                    <a:pt x="655" y="872"/>
                  </a:lnTo>
                  <a:close/>
                  <a:moveTo>
                    <a:pt x="830" y="1048"/>
                  </a:moveTo>
                  <a:cubicBezTo>
                    <a:pt x="829" y="1049"/>
                    <a:pt x="828" y="1050"/>
                    <a:pt x="826" y="1050"/>
                  </a:cubicBezTo>
                  <a:cubicBezTo>
                    <a:pt x="824" y="1049"/>
                    <a:pt x="822" y="1049"/>
                    <a:pt x="820" y="1047"/>
                  </a:cubicBezTo>
                  <a:cubicBezTo>
                    <a:pt x="818" y="1046"/>
                    <a:pt x="816" y="1044"/>
                    <a:pt x="813" y="1041"/>
                  </a:cubicBezTo>
                  <a:cubicBezTo>
                    <a:pt x="810" y="1037"/>
                    <a:pt x="807" y="1035"/>
                    <a:pt x="806" y="1033"/>
                  </a:cubicBezTo>
                  <a:cubicBezTo>
                    <a:pt x="804" y="1030"/>
                    <a:pt x="804" y="1029"/>
                    <a:pt x="803" y="1027"/>
                  </a:cubicBezTo>
                  <a:cubicBezTo>
                    <a:pt x="803" y="1026"/>
                    <a:pt x="804" y="1024"/>
                    <a:pt x="805" y="1023"/>
                  </a:cubicBezTo>
                  <a:lnTo>
                    <a:pt x="821" y="1007"/>
                  </a:lnTo>
                  <a:cubicBezTo>
                    <a:pt x="807" y="1007"/>
                    <a:pt x="793" y="1005"/>
                    <a:pt x="781" y="1001"/>
                  </a:cubicBezTo>
                  <a:cubicBezTo>
                    <a:pt x="768" y="996"/>
                    <a:pt x="757" y="989"/>
                    <a:pt x="747" y="980"/>
                  </a:cubicBezTo>
                  <a:cubicBezTo>
                    <a:pt x="739" y="972"/>
                    <a:pt x="733" y="963"/>
                    <a:pt x="728" y="954"/>
                  </a:cubicBezTo>
                  <a:cubicBezTo>
                    <a:pt x="723" y="945"/>
                    <a:pt x="721" y="936"/>
                    <a:pt x="720" y="927"/>
                  </a:cubicBezTo>
                  <a:cubicBezTo>
                    <a:pt x="719" y="918"/>
                    <a:pt x="721" y="909"/>
                    <a:pt x="724" y="901"/>
                  </a:cubicBezTo>
                  <a:cubicBezTo>
                    <a:pt x="727" y="892"/>
                    <a:pt x="733" y="884"/>
                    <a:pt x="741" y="876"/>
                  </a:cubicBezTo>
                  <a:cubicBezTo>
                    <a:pt x="750" y="867"/>
                    <a:pt x="759" y="861"/>
                    <a:pt x="769" y="858"/>
                  </a:cubicBezTo>
                  <a:cubicBezTo>
                    <a:pt x="780" y="856"/>
                    <a:pt x="790" y="855"/>
                    <a:pt x="802" y="858"/>
                  </a:cubicBezTo>
                  <a:cubicBezTo>
                    <a:pt x="813" y="860"/>
                    <a:pt x="824" y="865"/>
                    <a:pt x="837" y="873"/>
                  </a:cubicBezTo>
                  <a:cubicBezTo>
                    <a:pt x="849" y="881"/>
                    <a:pt x="861" y="891"/>
                    <a:pt x="873" y="903"/>
                  </a:cubicBezTo>
                  <a:lnTo>
                    <a:pt x="895" y="925"/>
                  </a:lnTo>
                  <a:lnTo>
                    <a:pt x="908" y="913"/>
                  </a:lnTo>
                  <a:cubicBezTo>
                    <a:pt x="914" y="907"/>
                    <a:pt x="918" y="901"/>
                    <a:pt x="922" y="895"/>
                  </a:cubicBezTo>
                  <a:cubicBezTo>
                    <a:pt x="925" y="889"/>
                    <a:pt x="927" y="882"/>
                    <a:pt x="927" y="876"/>
                  </a:cubicBezTo>
                  <a:cubicBezTo>
                    <a:pt x="928" y="870"/>
                    <a:pt x="926" y="864"/>
                    <a:pt x="923" y="858"/>
                  </a:cubicBezTo>
                  <a:cubicBezTo>
                    <a:pt x="920" y="852"/>
                    <a:pt x="915" y="846"/>
                    <a:pt x="909" y="839"/>
                  </a:cubicBezTo>
                  <a:cubicBezTo>
                    <a:pt x="901" y="832"/>
                    <a:pt x="894" y="826"/>
                    <a:pt x="887" y="822"/>
                  </a:cubicBezTo>
                  <a:cubicBezTo>
                    <a:pt x="879" y="818"/>
                    <a:pt x="872" y="815"/>
                    <a:pt x="866" y="813"/>
                  </a:cubicBezTo>
                  <a:cubicBezTo>
                    <a:pt x="860" y="810"/>
                    <a:pt x="854" y="809"/>
                    <a:pt x="850" y="808"/>
                  </a:cubicBezTo>
                  <a:cubicBezTo>
                    <a:pt x="845" y="806"/>
                    <a:pt x="842" y="805"/>
                    <a:pt x="841" y="804"/>
                  </a:cubicBezTo>
                  <a:cubicBezTo>
                    <a:pt x="840" y="803"/>
                    <a:pt x="839" y="802"/>
                    <a:pt x="839" y="800"/>
                  </a:cubicBezTo>
                  <a:cubicBezTo>
                    <a:pt x="839" y="799"/>
                    <a:pt x="839" y="798"/>
                    <a:pt x="839" y="796"/>
                  </a:cubicBezTo>
                  <a:cubicBezTo>
                    <a:pt x="839" y="795"/>
                    <a:pt x="840" y="793"/>
                    <a:pt x="842" y="792"/>
                  </a:cubicBezTo>
                  <a:cubicBezTo>
                    <a:pt x="843" y="790"/>
                    <a:pt x="844" y="788"/>
                    <a:pt x="846" y="787"/>
                  </a:cubicBezTo>
                  <a:cubicBezTo>
                    <a:pt x="849" y="784"/>
                    <a:pt x="852" y="781"/>
                    <a:pt x="854" y="780"/>
                  </a:cubicBezTo>
                  <a:cubicBezTo>
                    <a:pt x="856" y="779"/>
                    <a:pt x="858" y="778"/>
                    <a:pt x="861" y="778"/>
                  </a:cubicBezTo>
                  <a:cubicBezTo>
                    <a:pt x="865" y="778"/>
                    <a:pt x="869" y="779"/>
                    <a:pt x="875" y="781"/>
                  </a:cubicBezTo>
                  <a:cubicBezTo>
                    <a:pt x="881" y="783"/>
                    <a:pt x="887" y="786"/>
                    <a:pt x="894" y="789"/>
                  </a:cubicBezTo>
                  <a:cubicBezTo>
                    <a:pt x="901" y="792"/>
                    <a:pt x="908" y="796"/>
                    <a:pt x="915" y="801"/>
                  </a:cubicBezTo>
                  <a:cubicBezTo>
                    <a:pt x="922" y="806"/>
                    <a:pt x="929" y="812"/>
                    <a:pt x="935" y="818"/>
                  </a:cubicBezTo>
                  <a:cubicBezTo>
                    <a:pt x="946" y="829"/>
                    <a:pt x="955" y="840"/>
                    <a:pt x="960" y="851"/>
                  </a:cubicBezTo>
                  <a:cubicBezTo>
                    <a:pt x="966" y="861"/>
                    <a:pt x="968" y="872"/>
                    <a:pt x="968" y="882"/>
                  </a:cubicBezTo>
                  <a:cubicBezTo>
                    <a:pt x="968" y="892"/>
                    <a:pt x="966" y="901"/>
                    <a:pt x="960" y="911"/>
                  </a:cubicBezTo>
                  <a:cubicBezTo>
                    <a:pt x="955" y="921"/>
                    <a:pt x="948" y="931"/>
                    <a:pt x="938" y="940"/>
                  </a:cubicBezTo>
                  <a:lnTo>
                    <a:pt x="830" y="1048"/>
                  </a:lnTo>
                  <a:close/>
                  <a:moveTo>
                    <a:pt x="874" y="946"/>
                  </a:moveTo>
                  <a:lnTo>
                    <a:pt x="849" y="921"/>
                  </a:lnTo>
                  <a:cubicBezTo>
                    <a:pt x="841" y="913"/>
                    <a:pt x="834" y="907"/>
                    <a:pt x="826" y="902"/>
                  </a:cubicBezTo>
                  <a:cubicBezTo>
                    <a:pt x="819" y="898"/>
                    <a:pt x="812" y="895"/>
                    <a:pt x="806" y="894"/>
                  </a:cubicBezTo>
                  <a:cubicBezTo>
                    <a:pt x="799" y="892"/>
                    <a:pt x="793" y="893"/>
                    <a:pt x="788" y="895"/>
                  </a:cubicBezTo>
                  <a:cubicBezTo>
                    <a:pt x="782" y="897"/>
                    <a:pt x="777" y="900"/>
                    <a:pt x="772" y="905"/>
                  </a:cubicBezTo>
                  <a:cubicBezTo>
                    <a:pt x="764" y="913"/>
                    <a:pt x="760" y="922"/>
                    <a:pt x="760" y="932"/>
                  </a:cubicBezTo>
                  <a:cubicBezTo>
                    <a:pt x="760" y="942"/>
                    <a:pt x="765" y="952"/>
                    <a:pt x="775" y="962"/>
                  </a:cubicBezTo>
                  <a:cubicBezTo>
                    <a:pt x="782" y="969"/>
                    <a:pt x="791" y="975"/>
                    <a:pt x="802" y="977"/>
                  </a:cubicBezTo>
                  <a:cubicBezTo>
                    <a:pt x="812" y="980"/>
                    <a:pt x="825" y="981"/>
                    <a:pt x="840" y="980"/>
                  </a:cubicBezTo>
                  <a:lnTo>
                    <a:pt x="874" y="946"/>
                  </a:lnTo>
                  <a:close/>
                  <a:moveTo>
                    <a:pt x="1017" y="1234"/>
                  </a:moveTo>
                  <a:cubicBezTo>
                    <a:pt x="1017" y="1235"/>
                    <a:pt x="1016" y="1236"/>
                    <a:pt x="1014" y="1236"/>
                  </a:cubicBezTo>
                  <a:cubicBezTo>
                    <a:pt x="1013" y="1236"/>
                    <a:pt x="1012" y="1236"/>
                    <a:pt x="1010" y="1236"/>
                  </a:cubicBezTo>
                  <a:cubicBezTo>
                    <a:pt x="1009" y="1235"/>
                    <a:pt x="1007" y="1234"/>
                    <a:pt x="1005" y="1232"/>
                  </a:cubicBezTo>
                  <a:cubicBezTo>
                    <a:pt x="1003" y="1231"/>
                    <a:pt x="1000" y="1228"/>
                    <a:pt x="998" y="1225"/>
                  </a:cubicBezTo>
                  <a:cubicBezTo>
                    <a:pt x="995" y="1222"/>
                    <a:pt x="992" y="1220"/>
                    <a:pt x="991" y="1218"/>
                  </a:cubicBezTo>
                  <a:cubicBezTo>
                    <a:pt x="989" y="1216"/>
                    <a:pt x="988" y="1214"/>
                    <a:pt x="987" y="1212"/>
                  </a:cubicBezTo>
                  <a:cubicBezTo>
                    <a:pt x="987" y="1211"/>
                    <a:pt x="986" y="1210"/>
                    <a:pt x="987" y="1208"/>
                  </a:cubicBezTo>
                  <a:cubicBezTo>
                    <a:pt x="987" y="1207"/>
                    <a:pt x="987" y="1206"/>
                    <a:pt x="988" y="1205"/>
                  </a:cubicBezTo>
                  <a:lnTo>
                    <a:pt x="1081" y="1112"/>
                  </a:lnTo>
                  <a:cubicBezTo>
                    <a:pt x="1091" y="1103"/>
                    <a:pt x="1097" y="1095"/>
                    <a:pt x="1101" y="1088"/>
                  </a:cubicBezTo>
                  <a:cubicBezTo>
                    <a:pt x="1105" y="1081"/>
                    <a:pt x="1108" y="1074"/>
                    <a:pt x="1109" y="1068"/>
                  </a:cubicBezTo>
                  <a:cubicBezTo>
                    <a:pt x="1111" y="1061"/>
                    <a:pt x="1110" y="1054"/>
                    <a:pt x="1108" y="1048"/>
                  </a:cubicBezTo>
                  <a:cubicBezTo>
                    <a:pt x="1106" y="1041"/>
                    <a:pt x="1102" y="1035"/>
                    <a:pt x="1096" y="1030"/>
                  </a:cubicBezTo>
                  <a:cubicBezTo>
                    <a:pt x="1089" y="1022"/>
                    <a:pt x="1079" y="1018"/>
                    <a:pt x="1067" y="1016"/>
                  </a:cubicBezTo>
                  <a:cubicBezTo>
                    <a:pt x="1054" y="1013"/>
                    <a:pt x="1039" y="1013"/>
                    <a:pt x="1021" y="1015"/>
                  </a:cubicBezTo>
                  <a:lnTo>
                    <a:pt x="910" y="1127"/>
                  </a:lnTo>
                  <a:cubicBezTo>
                    <a:pt x="909" y="1128"/>
                    <a:pt x="908" y="1128"/>
                    <a:pt x="907" y="1128"/>
                  </a:cubicBezTo>
                  <a:cubicBezTo>
                    <a:pt x="905" y="1128"/>
                    <a:pt x="904" y="1128"/>
                    <a:pt x="903" y="1128"/>
                  </a:cubicBezTo>
                  <a:cubicBezTo>
                    <a:pt x="901" y="1127"/>
                    <a:pt x="899" y="1126"/>
                    <a:pt x="897" y="1124"/>
                  </a:cubicBezTo>
                  <a:cubicBezTo>
                    <a:pt x="895" y="1123"/>
                    <a:pt x="892" y="1120"/>
                    <a:pt x="890" y="1117"/>
                  </a:cubicBezTo>
                  <a:cubicBezTo>
                    <a:pt x="887" y="1115"/>
                    <a:pt x="884" y="1112"/>
                    <a:pt x="883" y="1110"/>
                  </a:cubicBezTo>
                  <a:cubicBezTo>
                    <a:pt x="881" y="1108"/>
                    <a:pt x="880" y="1106"/>
                    <a:pt x="879" y="1104"/>
                  </a:cubicBezTo>
                  <a:cubicBezTo>
                    <a:pt x="879" y="1103"/>
                    <a:pt x="878" y="1102"/>
                    <a:pt x="879" y="1100"/>
                  </a:cubicBezTo>
                  <a:cubicBezTo>
                    <a:pt x="879" y="1099"/>
                    <a:pt x="880" y="1098"/>
                    <a:pt x="880" y="1097"/>
                  </a:cubicBezTo>
                  <a:lnTo>
                    <a:pt x="1040" y="938"/>
                  </a:lnTo>
                  <a:cubicBezTo>
                    <a:pt x="1041" y="937"/>
                    <a:pt x="1042" y="937"/>
                    <a:pt x="1043" y="937"/>
                  </a:cubicBezTo>
                  <a:cubicBezTo>
                    <a:pt x="1044" y="936"/>
                    <a:pt x="1045" y="936"/>
                    <a:pt x="1046" y="937"/>
                  </a:cubicBezTo>
                  <a:cubicBezTo>
                    <a:pt x="1048" y="937"/>
                    <a:pt x="1050" y="938"/>
                    <a:pt x="1052" y="940"/>
                  </a:cubicBezTo>
                  <a:cubicBezTo>
                    <a:pt x="1053" y="941"/>
                    <a:pt x="1056" y="943"/>
                    <a:pt x="1058" y="946"/>
                  </a:cubicBezTo>
                  <a:cubicBezTo>
                    <a:pt x="1061" y="949"/>
                    <a:pt x="1063" y="951"/>
                    <a:pt x="1065" y="953"/>
                  </a:cubicBezTo>
                  <a:cubicBezTo>
                    <a:pt x="1066" y="955"/>
                    <a:pt x="1067" y="956"/>
                    <a:pt x="1067" y="958"/>
                  </a:cubicBezTo>
                  <a:cubicBezTo>
                    <a:pt x="1068" y="959"/>
                    <a:pt x="1068" y="961"/>
                    <a:pt x="1068" y="962"/>
                  </a:cubicBezTo>
                  <a:cubicBezTo>
                    <a:pt x="1067" y="963"/>
                    <a:pt x="1067" y="964"/>
                    <a:pt x="1066" y="965"/>
                  </a:cubicBezTo>
                  <a:lnTo>
                    <a:pt x="1045" y="986"/>
                  </a:lnTo>
                  <a:cubicBezTo>
                    <a:pt x="1064" y="985"/>
                    <a:pt x="1080" y="986"/>
                    <a:pt x="1094" y="991"/>
                  </a:cubicBezTo>
                  <a:cubicBezTo>
                    <a:pt x="1107" y="995"/>
                    <a:pt x="1119" y="1001"/>
                    <a:pt x="1128" y="1010"/>
                  </a:cubicBezTo>
                  <a:cubicBezTo>
                    <a:pt x="1138" y="1021"/>
                    <a:pt x="1145" y="1032"/>
                    <a:pt x="1149" y="1043"/>
                  </a:cubicBezTo>
                  <a:cubicBezTo>
                    <a:pt x="1153" y="1053"/>
                    <a:pt x="1154" y="1064"/>
                    <a:pt x="1152" y="1075"/>
                  </a:cubicBezTo>
                  <a:cubicBezTo>
                    <a:pt x="1151" y="1085"/>
                    <a:pt x="1147" y="1095"/>
                    <a:pt x="1141" y="1105"/>
                  </a:cubicBezTo>
                  <a:cubicBezTo>
                    <a:pt x="1135" y="1115"/>
                    <a:pt x="1126" y="1126"/>
                    <a:pt x="1115" y="1137"/>
                  </a:cubicBezTo>
                  <a:lnTo>
                    <a:pt x="1017" y="1234"/>
                  </a:lnTo>
                  <a:close/>
                  <a:moveTo>
                    <a:pt x="1203" y="946"/>
                  </a:moveTo>
                  <a:cubicBezTo>
                    <a:pt x="1205" y="945"/>
                    <a:pt x="1207" y="945"/>
                    <a:pt x="1208" y="945"/>
                  </a:cubicBezTo>
                  <a:cubicBezTo>
                    <a:pt x="1210" y="945"/>
                    <a:pt x="1212" y="946"/>
                    <a:pt x="1214" y="947"/>
                  </a:cubicBezTo>
                  <a:cubicBezTo>
                    <a:pt x="1216" y="948"/>
                    <a:pt x="1218" y="949"/>
                    <a:pt x="1220" y="951"/>
                  </a:cubicBezTo>
                  <a:cubicBezTo>
                    <a:pt x="1222" y="953"/>
                    <a:pt x="1225" y="955"/>
                    <a:pt x="1228" y="958"/>
                  </a:cubicBezTo>
                  <a:cubicBezTo>
                    <a:pt x="1231" y="961"/>
                    <a:pt x="1233" y="964"/>
                    <a:pt x="1235" y="966"/>
                  </a:cubicBezTo>
                  <a:cubicBezTo>
                    <a:pt x="1237" y="969"/>
                    <a:pt x="1237" y="971"/>
                    <a:pt x="1237" y="972"/>
                  </a:cubicBezTo>
                  <a:cubicBezTo>
                    <a:pt x="1238" y="974"/>
                    <a:pt x="1237" y="975"/>
                    <a:pt x="1236" y="976"/>
                  </a:cubicBezTo>
                  <a:cubicBezTo>
                    <a:pt x="1235" y="977"/>
                    <a:pt x="1233" y="977"/>
                    <a:pt x="1231" y="978"/>
                  </a:cubicBezTo>
                  <a:lnTo>
                    <a:pt x="1158" y="987"/>
                  </a:lnTo>
                  <a:cubicBezTo>
                    <a:pt x="1156" y="987"/>
                    <a:pt x="1154" y="987"/>
                    <a:pt x="1153" y="987"/>
                  </a:cubicBezTo>
                  <a:cubicBezTo>
                    <a:pt x="1151" y="987"/>
                    <a:pt x="1150" y="987"/>
                    <a:pt x="1148" y="986"/>
                  </a:cubicBezTo>
                  <a:cubicBezTo>
                    <a:pt x="1147" y="985"/>
                    <a:pt x="1145" y="984"/>
                    <a:pt x="1144" y="983"/>
                  </a:cubicBezTo>
                  <a:cubicBezTo>
                    <a:pt x="1142" y="982"/>
                    <a:pt x="1140" y="980"/>
                    <a:pt x="1137" y="977"/>
                  </a:cubicBezTo>
                  <a:cubicBezTo>
                    <a:pt x="1135" y="975"/>
                    <a:pt x="1133" y="973"/>
                    <a:pt x="1132" y="971"/>
                  </a:cubicBezTo>
                  <a:cubicBezTo>
                    <a:pt x="1131" y="969"/>
                    <a:pt x="1130" y="967"/>
                    <a:pt x="1130" y="966"/>
                  </a:cubicBezTo>
                  <a:cubicBezTo>
                    <a:pt x="1130" y="965"/>
                    <a:pt x="1130" y="964"/>
                    <a:pt x="1131" y="963"/>
                  </a:cubicBezTo>
                  <a:cubicBezTo>
                    <a:pt x="1133" y="962"/>
                    <a:pt x="1134" y="962"/>
                    <a:pt x="1136" y="961"/>
                  </a:cubicBezTo>
                  <a:lnTo>
                    <a:pt x="1203" y="946"/>
                  </a:lnTo>
                  <a:close/>
                  <a:moveTo>
                    <a:pt x="1338" y="1435"/>
                  </a:moveTo>
                  <a:cubicBezTo>
                    <a:pt x="1327" y="1446"/>
                    <a:pt x="1316" y="1454"/>
                    <a:pt x="1303" y="1458"/>
                  </a:cubicBezTo>
                  <a:cubicBezTo>
                    <a:pt x="1291" y="1463"/>
                    <a:pt x="1279" y="1464"/>
                    <a:pt x="1266" y="1463"/>
                  </a:cubicBezTo>
                  <a:cubicBezTo>
                    <a:pt x="1253" y="1462"/>
                    <a:pt x="1240" y="1458"/>
                    <a:pt x="1228" y="1451"/>
                  </a:cubicBezTo>
                  <a:cubicBezTo>
                    <a:pt x="1215" y="1445"/>
                    <a:pt x="1204" y="1436"/>
                    <a:pt x="1193" y="1425"/>
                  </a:cubicBezTo>
                  <a:cubicBezTo>
                    <a:pt x="1185" y="1418"/>
                    <a:pt x="1179" y="1410"/>
                    <a:pt x="1173" y="1402"/>
                  </a:cubicBezTo>
                  <a:cubicBezTo>
                    <a:pt x="1168" y="1394"/>
                    <a:pt x="1164" y="1387"/>
                    <a:pt x="1161" y="1380"/>
                  </a:cubicBezTo>
                  <a:cubicBezTo>
                    <a:pt x="1157" y="1373"/>
                    <a:pt x="1155" y="1366"/>
                    <a:pt x="1154" y="1361"/>
                  </a:cubicBezTo>
                  <a:cubicBezTo>
                    <a:pt x="1152" y="1355"/>
                    <a:pt x="1151" y="1351"/>
                    <a:pt x="1151" y="1349"/>
                  </a:cubicBezTo>
                  <a:cubicBezTo>
                    <a:pt x="1151" y="1346"/>
                    <a:pt x="1152" y="1343"/>
                    <a:pt x="1154" y="1340"/>
                  </a:cubicBezTo>
                  <a:cubicBezTo>
                    <a:pt x="1155" y="1337"/>
                    <a:pt x="1158" y="1334"/>
                    <a:pt x="1162" y="1330"/>
                  </a:cubicBezTo>
                  <a:cubicBezTo>
                    <a:pt x="1164" y="1328"/>
                    <a:pt x="1166" y="1326"/>
                    <a:pt x="1168" y="1324"/>
                  </a:cubicBezTo>
                  <a:cubicBezTo>
                    <a:pt x="1170" y="1323"/>
                    <a:pt x="1172" y="1322"/>
                    <a:pt x="1174" y="1321"/>
                  </a:cubicBezTo>
                  <a:cubicBezTo>
                    <a:pt x="1175" y="1321"/>
                    <a:pt x="1176" y="1321"/>
                    <a:pt x="1178" y="1321"/>
                  </a:cubicBezTo>
                  <a:cubicBezTo>
                    <a:pt x="1179" y="1321"/>
                    <a:pt x="1180" y="1322"/>
                    <a:pt x="1181" y="1323"/>
                  </a:cubicBezTo>
                  <a:cubicBezTo>
                    <a:pt x="1182" y="1324"/>
                    <a:pt x="1184" y="1328"/>
                    <a:pt x="1185" y="1333"/>
                  </a:cubicBezTo>
                  <a:cubicBezTo>
                    <a:pt x="1186" y="1338"/>
                    <a:pt x="1187" y="1344"/>
                    <a:pt x="1190" y="1351"/>
                  </a:cubicBezTo>
                  <a:cubicBezTo>
                    <a:pt x="1192" y="1358"/>
                    <a:pt x="1196" y="1366"/>
                    <a:pt x="1200" y="1374"/>
                  </a:cubicBezTo>
                  <a:cubicBezTo>
                    <a:pt x="1205" y="1383"/>
                    <a:pt x="1211" y="1392"/>
                    <a:pt x="1220" y="1401"/>
                  </a:cubicBezTo>
                  <a:cubicBezTo>
                    <a:pt x="1227" y="1407"/>
                    <a:pt x="1234" y="1412"/>
                    <a:pt x="1241" y="1416"/>
                  </a:cubicBezTo>
                  <a:cubicBezTo>
                    <a:pt x="1248" y="1420"/>
                    <a:pt x="1255" y="1422"/>
                    <a:pt x="1263" y="1423"/>
                  </a:cubicBezTo>
                  <a:cubicBezTo>
                    <a:pt x="1270" y="1423"/>
                    <a:pt x="1277" y="1422"/>
                    <a:pt x="1284" y="1420"/>
                  </a:cubicBezTo>
                  <a:cubicBezTo>
                    <a:pt x="1290" y="1417"/>
                    <a:pt x="1297" y="1413"/>
                    <a:pt x="1303" y="1407"/>
                  </a:cubicBezTo>
                  <a:cubicBezTo>
                    <a:pt x="1309" y="1401"/>
                    <a:pt x="1313" y="1393"/>
                    <a:pt x="1315" y="1386"/>
                  </a:cubicBezTo>
                  <a:cubicBezTo>
                    <a:pt x="1317" y="1378"/>
                    <a:pt x="1317" y="1370"/>
                    <a:pt x="1315" y="1362"/>
                  </a:cubicBezTo>
                  <a:cubicBezTo>
                    <a:pt x="1314" y="1354"/>
                    <a:pt x="1312" y="1345"/>
                    <a:pt x="1308" y="1336"/>
                  </a:cubicBezTo>
                  <a:cubicBezTo>
                    <a:pt x="1305" y="1327"/>
                    <a:pt x="1302" y="1318"/>
                    <a:pt x="1298" y="1308"/>
                  </a:cubicBezTo>
                  <a:cubicBezTo>
                    <a:pt x="1295" y="1299"/>
                    <a:pt x="1292" y="1289"/>
                    <a:pt x="1289" y="1279"/>
                  </a:cubicBezTo>
                  <a:cubicBezTo>
                    <a:pt x="1287" y="1270"/>
                    <a:pt x="1286" y="1260"/>
                    <a:pt x="1286" y="1250"/>
                  </a:cubicBezTo>
                  <a:cubicBezTo>
                    <a:pt x="1286" y="1240"/>
                    <a:pt x="1288" y="1231"/>
                    <a:pt x="1292" y="1221"/>
                  </a:cubicBezTo>
                  <a:cubicBezTo>
                    <a:pt x="1295" y="1211"/>
                    <a:pt x="1302" y="1202"/>
                    <a:pt x="1311" y="1192"/>
                  </a:cubicBezTo>
                  <a:cubicBezTo>
                    <a:pt x="1320" y="1183"/>
                    <a:pt x="1331" y="1176"/>
                    <a:pt x="1342" y="1172"/>
                  </a:cubicBezTo>
                  <a:cubicBezTo>
                    <a:pt x="1353" y="1168"/>
                    <a:pt x="1364" y="1167"/>
                    <a:pt x="1375" y="1168"/>
                  </a:cubicBezTo>
                  <a:cubicBezTo>
                    <a:pt x="1386" y="1169"/>
                    <a:pt x="1398" y="1172"/>
                    <a:pt x="1409" y="1178"/>
                  </a:cubicBezTo>
                  <a:cubicBezTo>
                    <a:pt x="1420" y="1184"/>
                    <a:pt x="1430" y="1192"/>
                    <a:pt x="1440" y="1202"/>
                  </a:cubicBezTo>
                  <a:cubicBezTo>
                    <a:pt x="1445" y="1207"/>
                    <a:pt x="1450" y="1213"/>
                    <a:pt x="1454" y="1219"/>
                  </a:cubicBezTo>
                  <a:cubicBezTo>
                    <a:pt x="1459" y="1225"/>
                    <a:pt x="1462" y="1231"/>
                    <a:pt x="1465" y="1237"/>
                  </a:cubicBezTo>
                  <a:cubicBezTo>
                    <a:pt x="1468" y="1243"/>
                    <a:pt x="1471" y="1248"/>
                    <a:pt x="1472" y="1254"/>
                  </a:cubicBezTo>
                  <a:cubicBezTo>
                    <a:pt x="1474" y="1259"/>
                    <a:pt x="1475" y="1263"/>
                    <a:pt x="1475" y="1265"/>
                  </a:cubicBezTo>
                  <a:cubicBezTo>
                    <a:pt x="1475" y="1267"/>
                    <a:pt x="1475" y="1269"/>
                    <a:pt x="1475" y="1270"/>
                  </a:cubicBezTo>
                  <a:cubicBezTo>
                    <a:pt x="1474" y="1271"/>
                    <a:pt x="1474" y="1272"/>
                    <a:pt x="1473" y="1273"/>
                  </a:cubicBezTo>
                  <a:cubicBezTo>
                    <a:pt x="1472" y="1274"/>
                    <a:pt x="1471" y="1276"/>
                    <a:pt x="1470" y="1277"/>
                  </a:cubicBezTo>
                  <a:cubicBezTo>
                    <a:pt x="1469" y="1279"/>
                    <a:pt x="1467" y="1281"/>
                    <a:pt x="1465" y="1283"/>
                  </a:cubicBezTo>
                  <a:cubicBezTo>
                    <a:pt x="1462" y="1285"/>
                    <a:pt x="1460" y="1287"/>
                    <a:pt x="1459" y="1288"/>
                  </a:cubicBezTo>
                  <a:cubicBezTo>
                    <a:pt x="1457" y="1290"/>
                    <a:pt x="1455" y="1291"/>
                    <a:pt x="1454" y="1292"/>
                  </a:cubicBezTo>
                  <a:cubicBezTo>
                    <a:pt x="1452" y="1293"/>
                    <a:pt x="1451" y="1293"/>
                    <a:pt x="1450" y="1293"/>
                  </a:cubicBezTo>
                  <a:cubicBezTo>
                    <a:pt x="1449" y="1293"/>
                    <a:pt x="1448" y="1292"/>
                    <a:pt x="1447" y="1291"/>
                  </a:cubicBezTo>
                  <a:cubicBezTo>
                    <a:pt x="1445" y="1290"/>
                    <a:pt x="1444" y="1287"/>
                    <a:pt x="1443" y="1283"/>
                  </a:cubicBezTo>
                  <a:cubicBezTo>
                    <a:pt x="1442" y="1278"/>
                    <a:pt x="1440" y="1273"/>
                    <a:pt x="1438" y="1267"/>
                  </a:cubicBezTo>
                  <a:cubicBezTo>
                    <a:pt x="1437" y="1261"/>
                    <a:pt x="1434" y="1254"/>
                    <a:pt x="1430" y="1247"/>
                  </a:cubicBezTo>
                  <a:cubicBezTo>
                    <a:pt x="1426" y="1240"/>
                    <a:pt x="1421" y="1233"/>
                    <a:pt x="1414" y="1226"/>
                  </a:cubicBezTo>
                  <a:cubicBezTo>
                    <a:pt x="1408" y="1220"/>
                    <a:pt x="1401" y="1215"/>
                    <a:pt x="1395" y="1212"/>
                  </a:cubicBezTo>
                  <a:cubicBezTo>
                    <a:pt x="1388" y="1209"/>
                    <a:pt x="1382" y="1207"/>
                    <a:pt x="1376" y="1207"/>
                  </a:cubicBezTo>
                  <a:cubicBezTo>
                    <a:pt x="1370" y="1207"/>
                    <a:pt x="1365" y="1208"/>
                    <a:pt x="1359" y="1210"/>
                  </a:cubicBezTo>
                  <a:cubicBezTo>
                    <a:pt x="1354" y="1213"/>
                    <a:pt x="1349" y="1216"/>
                    <a:pt x="1345" y="1220"/>
                  </a:cubicBezTo>
                  <a:cubicBezTo>
                    <a:pt x="1338" y="1227"/>
                    <a:pt x="1334" y="1234"/>
                    <a:pt x="1333" y="1241"/>
                  </a:cubicBezTo>
                  <a:cubicBezTo>
                    <a:pt x="1331" y="1249"/>
                    <a:pt x="1331" y="1257"/>
                    <a:pt x="1332" y="1265"/>
                  </a:cubicBezTo>
                  <a:cubicBezTo>
                    <a:pt x="1334" y="1274"/>
                    <a:pt x="1336" y="1283"/>
                    <a:pt x="1339" y="1292"/>
                  </a:cubicBezTo>
                  <a:cubicBezTo>
                    <a:pt x="1343" y="1301"/>
                    <a:pt x="1346" y="1310"/>
                    <a:pt x="1349" y="1320"/>
                  </a:cubicBezTo>
                  <a:cubicBezTo>
                    <a:pt x="1353" y="1329"/>
                    <a:pt x="1356" y="1339"/>
                    <a:pt x="1359" y="1349"/>
                  </a:cubicBezTo>
                  <a:cubicBezTo>
                    <a:pt x="1361" y="1359"/>
                    <a:pt x="1363" y="1368"/>
                    <a:pt x="1363" y="1378"/>
                  </a:cubicBezTo>
                  <a:cubicBezTo>
                    <a:pt x="1363" y="1388"/>
                    <a:pt x="1361" y="1398"/>
                    <a:pt x="1357" y="1407"/>
                  </a:cubicBezTo>
                  <a:cubicBezTo>
                    <a:pt x="1353" y="1417"/>
                    <a:pt x="1347" y="1426"/>
                    <a:pt x="1338" y="1435"/>
                  </a:cubicBezTo>
                  <a:close/>
                  <a:moveTo>
                    <a:pt x="1416" y="1610"/>
                  </a:moveTo>
                  <a:cubicBezTo>
                    <a:pt x="1413" y="1613"/>
                    <a:pt x="1410" y="1616"/>
                    <a:pt x="1407" y="1617"/>
                  </a:cubicBezTo>
                  <a:cubicBezTo>
                    <a:pt x="1405" y="1619"/>
                    <a:pt x="1403" y="1619"/>
                    <a:pt x="1401" y="1619"/>
                  </a:cubicBezTo>
                  <a:cubicBezTo>
                    <a:pt x="1399" y="1619"/>
                    <a:pt x="1397" y="1619"/>
                    <a:pt x="1394" y="1618"/>
                  </a:cubicBezTo>
                  <a:cubicBezTo>
                    <a:pt x="1391" y="1617"/>
                    <a:pt x="1388" y="1615"/>
                    <a:pt x="1385" y="1613"/>
                  </a:cubicBezTo>
                  <a:cubicBezTo>
                    <a:pt x="1382" y="1612"/>
                    <a:pt x="1379" y="1609"/>
                    <a:pt x="1376" y="1607"/>
                  </a:cubicBezTo>
                  <a:cubicBezTo>
                    <a:pt x="1373" y="1605"/>
                    <a:pt x="1370" y="1602"/>
                    <a:pt x="1368" y="1600"/>
                  </a:cubicBezTo>
                  <a:cubicBezTo>
                    <a:pt x="1359" y="1591"/>
                    <a:pt x="1353" y="1583"/>
                    <a:pt x="1350" y="1575"/>
                  </a:cubicBezTo>
                  <a:cubicBezTo>
                    <a:pt x="1346" y="1567"/>
                    <a:pt x="1345" y="1559"/>
                    <a:pt x="1345" y="1551"/>
                  </a:cubicBezTo>
                  <a:cubicBezTo>
                    <a:pt x="1346" y="1542"/>
                    <a:pt x="1349" y="1534"/>
                    <a:pt x="1354" y="1526"/>
                  </a:cubicBezTo>
                  <a:cubicBezTo>
                    <a:pt x="1359" y="1517"/>
                    <a:pt x="1366" y="1508"/>
                    <a:pt x="1375" y="1499"/>
                  </a:cubicBezTo>
                  <a:lnTo>
                    <a:pt x="1468" y="1406"/>
                  </a:lnTo>
                  <a:lnTo>
                    <a:pt x="1446" y="1384"/>
                  </a:lnTo>
                  <a:cubicBezTo>
                    <a:pt x="1444" y="1382"/>
                    <a:pt x="1444" y="1380"/>
                    <a:pt x="1444" y="1377"/>
                  </a:cubicBezTo>
                  <a:cubicBezTo>
                    <a:pt x="1445" y="1374"/>
                    <a:pt x="1448" y="1370"/>
                    <a:pt x="1452" y="1366"/>
                  </a:cubicBezTo>
                  <a:cubicBezTo>
                    <a:pt x="1454" y="1364"/>
                    <a:pt x="1456" y="1362"/>
                    <a:pt x="1458" y="1361"/>
                  </a:cubicBezTo>
                  <a:cubicBezTo>
                    <a:pt x="1460" y="1360"/>
                    <a:pt x="1462" y="1359"/>
                    <a:pt x="1463" y="1358"/>
                  </a:cubicBezTo>
                  <a:cubicBezTo>
                    <a:pt x="1465" y="1358"/>
                    <a:pt x="1466" y="1357"/>
                    <a:pt x="1467" y="1358"/>
                  </a:cubicBezTo>
                  <a:cubicBezTo>
                    <a:pt x="1468" y="1358"/>
                    <a:pt x="1469" y="1359"/>
                    <a:pt x="1470" y="1360"/>
                  </a:cubicBezTo>
                  <a:lnTo>
                    <a:pt x="1492" y="1382"/>
                  </a:lnTo>
                  <a:lnTo>
                    <a:pt x="1530" y="1344"/>
                  </a:lnTo>
                  <a:cubicBezTo>
                    <a:pt x="1531" y="1343"/>
                    <a:pt x="1532" y="1343"/>
                    <a:pt x="1533" y="1342"/>
                  </a:cubicBezTo>
                  <a:cubicBezTo>
                    <a:pt x="1534" y="1342"/>
                    <a:pt x="1536" y="1342"/>
                    <a:pt x="1537" y="1343"/>
                  </a:cubicBezTo>
                  <a:cubicBezTo>
                    <a:pt x="1539" y="1343"/>
                    <a:pt x="1541" y="1345"/>
                    <a:pt x="1543" y="1346"/>
                  </a:cubicBezTo>
                  <a:cubicBezTo>
                    <a:pt x="1545" y="1348"/>
                    <a:pt x="1547" y="1350"/>
                    <a:pt x="1550" y="1353"/>
                  </a:cubicBezTo>
                  <a:cubicBezTo>
                    <a:pt x="1553" y="1356"/>
                    <a:pt x="1556" y="1358"/>
                    <a:pt x="1557" y="1361"/>
                  </a:cubicBezTo>
                  <a:cubicBezTo>
                    <a:pt x="1559" y="1363"/>
                    <a:pt x="1560" y="1364"/>
                    <a:pt x="1560" y="1366"/>
                  </a:cubicBezTo>
                  <a:cubicBezTo>
                    <a:pt x="1561" y="1368"/>
                    <a:pt x="1561" y="1369"/>
                    <a:pt x="1561" y="1370"/>
                  </a:cubicBezTo>
                  <a:cubicBezTo>
                    <a:pt x="1561" y="1371"/>
                    <a:pt x="1560" y="1372"/>
                    <a:pt x="1559" y="1373"/>
                  </a:cubicBezTo>
                  <a:lnTo>
                    <a:pt x="1521" y="1411"/>
                  </a:lnTo>
                  <a:lnTo>
                    <a:pt x="1562" y="1452"/>
                  </a:lnTo>
                  <a:cubicBezTo>
                    <a:pt x="1563" y="1453"/>
                    <a:pt x="1564" y="1454"/>
                    <a:pt x="1564" y="1455"/>
                  </a:cubicBezTo>
                  <a:cubicBezTo>
                    <a:pt x="1564" y="1456"/>
                    <a:pt x="1564" y="1457"/>
                    <a:pt x="1564" y="1459"/>
                  </a:cubicBezTo>
                  <a:cubicBezTo>
                    <a:pt x="1563" y="1460"/>
                    <a:pt x="1563" y="1462"/>
                    <a:pt x="1561" y="1464"/>
                  </a:cubicBezTo>
                  <a:cubicBezTo>
                    <a:pt x="1560" y="1466"/>
                    <a:pt x="1558" y="1468"/>
                    <a:pt x="1556" y="1470"/>
                  </a:cubicBezTo>
                  <a:cubicBezTo>
                    <a:pt x="1552" y="1474"/>
                    <a:pt x="1548" y="1477"/>
                    <a:pt x="1545" y="1478"/>
                  </a:cubicBezTo>
                  <a:cubicBezTo>
                    <a:pt x="1542" y="1478"/>
                    <a:pt x="1540" y="1478"/>
                    <a:pt x="1538" y="1476"/>
                  </a:cubicBezTo>
                  <a:lnTo>
                    <a:pt x="1497" y="1435"/>
                  </a:lnTo>
                  <a:lnTo>
                    <a:pt x="1409" y="1524"/>
                  </a:lnTo>
                  <a:cubicBezTo>
                    <a:pt x="1398" y="1535"/>
                    <a:pt x="1391" y="1545"/>
                    <a:pt x="1389" y="1554"/>
                  </a:cubicBezTo>
                  <a:cubicBezTo>
                    <a:pt x="1386" y="1563"/>
                    <a:pt x="1389" y="1571"/>
                    <a:pt x="1398" y="1580"/>
                  </a:cubicBezTo>
                  <a:cubicBezTo>
                    <a:pt x="1400" y="1582"/>
                    <a:pt x="1403" y="1584"/>
                    <a:pt x="1406" y="1586"/>
                  </a:cubicBezTo>
                  <a:cubicBezTo>
                    <a:pt x="1408" y="1588"/>
                    <a:pt x="1411" y="1589"/>
                    <a:pt x="1413" y="1590"/>
                  </a:cubicBezTo>
                  <a:cubicBezTo>
                    <a:pt x="1415" y="1591"/>
                    <a:pt x="1417" y="1592"/>
                    <a:pt x="1419" y="1593"/>
                  </a:cubicBezTo>
                  <a:cubicBezTo>
                    <a:pt x="1421" y="1593"/>
                    <a:pt x="1422" y="1594"/>
                    <a:pt x="1423" y="1595"/>
                  </a:cubicBezTo>
                  <a:cubicBezTo>
                    <a:pt x="1423" y="1595"/>
                    <a:pt x="1424" y="1596"/>
                    <a:pt x="1424" y="1597"/>
                  </a:cubicBezTo>
                  <a:cubicBezTo>
                    <a:pt x="1424" y="1598"/>
                    <a:pt x="1424" y="1599"/>
                    <a:pt x="1424" y="1600"/>
                  </a:cubicBezTo>
                  <a:cubicBezTo>
                    <a:pt x="1423" y="1601"/>
                    <a:pt x="1422" y="1602"/>
                    <a:pt x="1421" y="1604"/>
                  </a:cubicBezTo>
                  <a:cubicBezTo>
                    <a:pt x="1420" y="1606"/>
                    <a:pt x="1418" y="1608"/>
                    <a:pt x="1416" y="1610"/>
                  </a:cubicBezTo>
                  <a:close/>
                  <a:moveTo>
                    <a:pt x="1566" y="1783"/>
                  </a:moveTo>
                  <a:cubicBezTo>
                    <a:pt x="1564" y="1785"/>
                    <a:pt x="1563" y="1785"/>
                    <a:pt x="1561" y="1785"/>
                  </a:cubicBezTo>
                  <a:cubicBezTo>
                    <a:pt x="1560" y="1785"/>
                    <a:pt x="1558" y="1784"/>
                    <a:pt x="1556" y="1783"/>
                  </a:cubicBezTo>
                  <a:cubicBezTo>
                    <a:pt x="1554" y="1781"/>
                    <a:pt x="1551" y="1779"/>
                    <a:pt x="1548" y="1776"/>
                  </a:cubicBezTo>
                  <a:cubicBezTo>
                    <a:pt x="1545" y="1773"/>
                    <a:pt x="1543" y="1770"/>
                    <a:pt x="1541" y="1768"/>
                  </a:cubicBezTo>
                  <a:cubicBezTo>
                    <a:pt x="1540" y="1766"/>
                    <a:pt x="1539" y="1764"/>
                    <a:pt x="1539" y="1762"/>
                  </a:cubicBezTo>
                  <a:cubicBezTo>
                    <a:pt x="1539" y="1761"/>
                    <a:pt x="1539" y="1759"/>
                    <a:pt x="1541" y="1758"/>
                  </a:cubicBezTo>
                  <a:lnTo>
                    <a:pt x="1557" y="1742"/>
                  </a:lnTo>
                  <a:cubicBezTo>
                    <a:pt x="1542" y="1743"/>
                    <a:pt x="1529" y="1741"/>
                    <a:pt x="1516" y="1736"/>
                  </a:cubicBezTo>
                  <a:cubicBezTo>
                    <a:pt x="1503" y="1732"/>
                    <a:pt x="1492" y="1725"/>
                    <a:pt x="1483" y="1715"/>
                  </a:cubicBezTo>
                  <a:cubicBezTo>
                    <a:pt x="1474" y="1707"/>
                    <a:pt x="1468" y="1698"/>
                    <a:pt x="1463" y="1689"/>
                  </a:cubicBezTo>
                  <a:cubicBezTo>
                    <a:pt x="1459" y="1680"/>
                    <a:pt x="1456" y="1671"/>
                    <a:pt x="1455" y="1663"/>
                  </a:cubicBezTo>
                  <a:cubicBezTo>
                    <a:pt x="1455" y="1654"/>
                    <a:pt x="1456" y="1645"/>
                    <a:pt x="1460" y="1636"/>
                  </a:cubicBezTo>
                  <a:cubicBezTo>
                    <a:pt x="1463" y="1628"/>
                    <a:pt x="1468" y="1619"/>
                    <a:pt x="1476" y="1612"/>
                  </a:cubicBezTo>
                  <a:cubicBezTo>
                    <a:pt x="1485" y="1603"/>
                    <a:pt x="1495" y="1597"/>
                    <a:pt x="1505" y="1594"/>
                  </a:cubicBezTo>
                  <a:cubicBezTo>
                    <a:pt x="1515" y="1591"/>
                    <a:pt x="1526" y="1591"/>
                    <a:pt x="1537" y="1593"/>
                  </a:cubicBezTo>
                  <a:cubicBezTo>
                    <a:pt x="1548" y="1596"/>
                    <a:pt x="1560" y="1601"/>
                    <a:pt x="1572" y="1608"/>
                  </a:cubicBezTo>
                  <a:cubicBezTo>
                    <a:pt x="1584" y="1616"/>
                    <a:pt x="1596" y="1626"/>
                    <a:pt x="1609" y="1639"/>
                  </a:cubicBezTo>
                  <a:lnTo>
                    <a:pt x="1631" y="1660"/>
                  </a:lnTo>
                  <a:lnTo>
                    <a:pt x="1643" y="1648"/>
                  </a:lnTo>
                  <a:cubicBezTo>
                    <a:pt x="1649" y="1642"/>
                    <a:pt x="1654" y="1636"/>
                    <a:pt x="1657" y="1630"/>
                  </a:cubicBezTo>
                  <a:cubicBezTo>
                    <a:pt x="1661" y="1624"/>
                    <a:pt x="1662" y="1618"/>
                    <a:pt x="1663" y="1612"/>
                  </a:cubicBezTo>
                  <a:cubicBezTo>
                    <a:pt x="1663" y="1606"/>
                    <a:pt x="1662" y="1600"/>
                    <a:pt x="1659" y="1594"/>
                  </a:cubicBezTo>
                  <a:cubicBezTo>
                    <a:pt x="1656" y="1587"/>
                    <a:pt x="1651" y="1581"/>
                    <a:pt x="1644" y="1574"/>
                  </a:cubicBezTo>
                  <a:cubicBezTo>
                    <a:pt x="1637" y="1567"/>
                    <a:pt x="1629" y="1561"/>
                    <a:pt x="1622" y="1557"/>
                  </a:cubicBezTo>
                  <a:cubicBezTo>
                    <a:pt x="1615" y="1553"/>
                    <a:pt x="1608" y="1550"/>
                    <a:pt x="1601" y="1548"/>
                  </a:cubicBezTo>
                  <a:cubicBezTo>
                    <a:pt x="1595" y="1546"/>
                    <a:pt x="1590" y="1544"/>
                    <a:pt x="1585" y="1543"/>
                  </a:cubicBezTo>
                  <a:cubicBezTo>
                    <a:pt x="1580" y="1542"/>
                    <a:pt x="1577" y="1540"/>
                    <a:pt x="1576" y="1539"/>
                  </a:cubicBezTo>
                  <a:cubicBezTo>
                    <a:pt x="1575" y="1538"/>
                    <a:pt x="1574" y="1537"/>
                    <a:pt x="1574" y="1536"/>
                  </a:cubicBezTo>
                  <a:cubicBezTo>
                    <a:pt x="1574" y="1535"/>
                    <a:pt x="1574" y="1533"/>
                    <a:pt x="1574" y="1532"/>
                  </a:cubicBezTo>
                  <a:cubicBezTo>
                    <a:pt x="1575" y="1530"/>
                    <a:pt x="1576" y="1529"/>
                    <a:pt x="1577" y="1527"/>
                  </a:cubicBezTo>
                  <a:cubicBezTo>
                    <a:pt x="1578" y="1525"/>
                    <a:pt x="1580" y="1524"/>
                    <a:pt x="1581" y="1522"/>
                  </a:cubicBezTo>
                  <a:cubicBezTo>
                    <a:pt x="1584" y="1519"/>
                    <a:pt x="1587" y="1517"/>
                    <a:pt x="1589" y="1516"/>
                  </a:cubicBezTo>
                  <a:cubicBezTo>
                    <a:pt x="1591" y="1514"/>
                    <a:pt x="1594" y="1514"/>
                    <a:pt x="1597" y="1514"/>
                  </a:cubicBezTo>
                  <a:cubicBezTo>
                    <a:pt x="1600" y="1514"/>
                    <a:pt x="1605" y="1515"/>
                    <a:pt x="1610" y="1517"/>
                  </a:cubicBezTo>
                  <a:cubicBezTo>
                    <a:pt x="1616" y="1518"/>
                    <a:pt x="1623" y="1521"/>
                    <a:pt x="1630" y="1524"/>
                  </a:cubicBezTo>
                  <a:cubicBezTo>
                    <a:pt x="1636" y="1528"/>
                    <a:pt x="1643" y="1532"/>
                    <a:pt x="1650" y="1537"/>
                  </a:cubicBezTo>
                  <a:cubicBezTo>
                    <a:pt x="1658" y="1542"/>
                    <a:pt x="1664" y="1547"/>
                    <a:pt x="1670" y="1553"/>
                  </a:cubicBezTo>
                  <a:cubicBezTo>
                    <a:pt x="1682" y="1565"/>
                    <a:pt x="1690" y="1576"/>
                    <a:pt x="1696" y="1586"/>
                  </a:cubicBezTo>
                  <a:cubicBezTo>
                    <a:pt x="1701" y="1597"/>
                    <a:pt x="1704" y="1607"/>
                    <a:pt x="1704" y="1617"/>
                  </a:cubicBezTo>
                  <a:cubicBezTo>
                    <a:pt x="1704" y="1627"/>
                    <a:pt x="1701" y="1637"/>
                    <a:pt x="1696" y="1647"/>
                  </a:cubicBezTo>
                  <a:cubicBezTo>
                    <a:pt x="1691" y="1656"/>
                    <a:pt x="1683" y="1666"/>
                    <a:pt x="1673" y="1676"/>
                  </a:cubicBezTo>
                  <a:lnTo>
                    <a:pt x="1566" y="1783"/>
                  </a:lnTo>
                  <a:close/>
                  <a:moveTo>
                    <a:pt x="1610" y="1682"/>
                  </a:moveTo>
                  <a:lnTo>
                    <a:pt x="1585" y="1657"/>
                  </a:lnTo>
                  <a:cubicBezTo>
                    <a:pt x="1577" y="1649"/>
                    <a:pt x="1569" y="1642"/>
                    <a:pt x="1562" y="1638"/>
                  </a:cubicBezTo>
                  <a:cubicBezTo>
                    <a:pt x="1554" y="1633"/>
                    <a:pt x="1548" y="1630"/>
                    <a:pt x="1541" y="1629"/>
                  </a:cubicBezTo>
                  <a:cubicBezTo>
                    <a:pt x="1534" y="1628"/>
                    <a:pt x="1528" y="1628"/>
                    <a:pt x="1523" y="1630"/>
                  </a:cubicBezTo>
                  <a:cubicBezTo>
                    <a:pt x="1517" y="1632"/>
                    <a:pt x="1512" y="1635"/>
                    <a:pt x="1507" y="1640"/>
                  </a:cubicBezTo>
                  <a:cubicBezTo>
                    <a:pt x="1499" y="1648"/>
                    <a:pt x="1495" y="1658"/>
                    <a:pt x="1496" y="1668"/>
                  </a:cubicBezTo>
                  <a:cubicBezTo>
                    <a:pt x="1496" y="1678"/>
                    <a:pt x="1501" y="1688"/>
                    <a:pt x="1510" y="1697"/>
                  </a:cubicBezTo>
                  <a:cubicBezTo>
                    <a:pt x="1518" y="1705"/>
                    <a:pt x="1527" y="1710"/>
                    <a:pt x="1537" y="1713"/>
                  </a:cubicBezTo>
                  <a:cubicBezTo>
                    <a:pt x="1548" y="1715"/>
                    <a:pt x="1561" y="1716"/>
                    <a:pt x="1576" y="1715"/>
                  </a:cubicBezTo>
                  <a:lnTo>
                    <a:pt x="1610" y="1682"/>
                  </a:lnTo>
                  <a:close/>
                  <a:moveTo>
                    <a:pt x="1858" y="1777"/>
                  </a:moveTo>
                  <a:cubicBezTo>
                    <a:pt x="1855" y="1780"/>
                    <a:pt x="1853" y="1782"/>
                    <a:pt x="1851" y="1784"/>
                  </a:cubicBezTo>
                  <a:cubicBezTo>
                    <a:pt x="1849" y="1785"/>
                    <a:pt x="1847" y="1786"/>
                    <a:pt x="1846" y="1787"/>
                  </a:cubicBezTo>
                  <a:cubicBezTo>
                    <a:pt x="1845" y="1788"/>
                    <a:pt x="1843" y="1788"/>
                    <a:pt x="1842" y="1788"/>
                  </a:cubicBezTo>
                  <a:cubicBezTo>
                    <a:pt x="1841" y="1788"/>
                    <a:pt x="1840" y="1787"/>
                    <a:pt x="1839" y="1787"/>
                  </a:cubicBezTo>
                  <a:cubicBezTo>
                    <a:pt x="1838" y="1786"/>
                    <a:pt x="1838" y="1784"/>
                    <a:pt x="1837" y="1782"/>
                  </a:cubicBezTo>
                  <a:cubicBezTo>
                    <a:pt x="1836" y="1780"/>
                    <a:pt x="1835" y="1778"/>
                    <a:pt x="1834" y="1776"/>
                  </a:cubicBezTo>
                  <a:cubicBezTo>
                    <a:pt x="1832" y="1774"/>
                    <a:pt x="1831" y="1771"/>
                    <a:pt x="1829" y="1769"/>
                  </a:cubicBezTo>
                  <a:cubicBezTo>
                    <a:pt x="1828" y="1766"/>
                    <a:pt x="1826" y="1764"/>
                    <a:pt x="1823" y="1761"/>
                  </a:cubicBezTo>
                  <a:cubicBezTo>
                    <a:pt x="1820" y="1758"/>
                    <a:pt x="1817" y="1756"/>
                    <a:pt x="1813" y="1754"/>
                  </a:cubicBezTo>
                  <a:cubicBezTo>
                    <a:pt x="1809" y="1753"/>
                    <a:pt x="1804" y="1752"/>
                    <a:pt x="1798" y="1751"/>
                  </a:cubicBezTo>
                  <a:cubicBezTo>
                    <a:pt x="1792" y="1751"/>
                    <a:pt x="1785" y="1751"/>
                    <a:pt x="1777" y="1752"/>
                  </a:cubicBezTo>
                  <a:cubicBezTo>
                    <a:pt x="1770" y="1753"/>
                    <a:pt x="1760" y="1755"/>
                    <a:pt x="1750" y="1757"/>
                  </a:cubicBezTo>
                  <a:lnTo>
                    <a:pt x="1645" y="1862"/>
                  </a:lnTo>
                  <a:cubicBezTo>
                    <a:pt x="1644" y="1863"/>
                    <a:pt x="1643" y="1864"/>
                    <a:pt x="1642" y="1864"/>
                  </a:cubicBezTo>
                  <a:cubicBezTo>
                    <a:pt x="1641" y="1864"/>
                    <a:pt x="1640" y="1864"/>
                    <a:pt x="1638" y="1863"/>
                  </a:cubicBezTo>
                  <a:cubicBezTo>
                    <a:pt x="1636" y="1862"/>
                    <a:pt x="1635" y="1861"/>
                    <a:pt x="1633" y="1860"/>
                  </a:cubicBezTo>
                  <a:cubicBezTo>
                    <a:pt x="1630" y="1858"/>
                    <a:pt x="1628" y="1856"/>
                    <a:pt x="1625" y="1853"/>
                  </a:cubicBezTo>
                  <a:cubicBezTo>
                    <a:pt x="1622" y="1850"/>
                    <a:pt x="1620" y="1848"/>
                    <a:pt x="1618" y="1845"/>
                  </a:cubicBezTo>
                  <a:cubicBezTo>
                    <a:pt x="1617" y="1843"/>
                    <a:pt x="1615" y="1841"/>
                    <a:pt x="1615" y="1840"/>
                  </a:cubicBezTo>
                  <a:cubicBezTo>
                    <a:pt x="1614" y="1838"/>
                    <a:pt x="1614" y="1837"/>
                    <a:pt x="1614" y="1836"/>
                  </a:cubicBezTo>
                  <a:cubicBezTo>
                    <a:pt x="1614" y="1835"/>
                    <a:pt x="1615" y="1834"/>
                    <a:pt x="1616" y="1833"/>
                  </a:cubicBezTo>
                  <a:lnTo>
                    <a:pt x="1775" y="1674"/>
                  </a:lnTo>
                  <a:cubicBezTo>
                    <a:pt x="1776" y="1673"/>
                    <a:pt x="1777" y="1672"/>
                    <a:pt x="1778" y="1672"/>
                  </a:cubicBezTo>
                  <a:cubicBezTo>
                    <a:pt x="1779" y="1672"/>
                    <a:pt x="1780" y="1672"/>
                    <a:pt x="1782" y="1672"/>
                  </a:cubicBezTo>
                  <a:cubicBezTo>
                    <a:pt x="1783" y="1673"/>
                    <a:pt x="1785" y="1674"/>
                    <a:pt x="1787" y="1675"/>
                  </a:cubicBezTo>
                  <a:cubicBezTo>
                    <a:pt x="1789" y="1677"/>
                    <a:pt x="1791" y="1679"/>
                    <a:pt x="1794" y="1682"/>
                  </a:cubicBezTo>
                  <a:cubicBezTo>
                    <a:pt x="1796" y="1684"/>
                    <a:pt x="1798" y="1686"/>
                    <a:pt x="1800" y="1688"/>
                  </a:cubicBezTo>
                  <a:cubicBezTo>
                    <a:pt x="1801" y="1690"/>
                    <a:pt x="1802" y="1692"/>
                    <a:pt x="1803" y="1693"/>
                  </a:cubicBezTo>
                  <a:cubicBezTo>
                    <a:pt x="1803" y="1695"/>
                    <a:pt x="1803" y="1696"/>
                    <a:pt x="1803" y="1697"/>
                  </a:cubicBezTo>
                  <a:cubicBezTo>
                    <a:pt x="1803" y="1698"/>
                    <a:pt x="1802" y="1699"/>
                    <a:pt x="1801" y="1700"/>
                  </a:cubicBezTo>
                  <a:lnTo>
                    <a:pt x="1778" y="1723"/>
                  </a:lnTo>
                  <a:cubicBezTo>
                    <a:pt x="1789" y="1721"/>
                    <a:pt x="1798" y="1720"/>
                    <a:pt x="1806" y="1720"/>
                  </a:cubicBezTo>
                  <a:cubicBezTo>
                    <a:pt x="1814" y="1720"/>
                    <a:pt x="1821" y="1720"/>
                    <a:pt x="1826" y="1721"/>
                  </a:cubicBezTo>
                  <a:cubicBezTo>
                    <a:pt x="1832" y="1723"/>
                    <a:pt x="1837" y="1724"/>
                    <a:pt x="1841" y="1727"/>
                  </a:cubicBezTo>
                  <a:cubicBezTo>
                    <a:pt x="1846" y="1729"/>
                    <a:pt x="1849" y="1732"/>
                    <a:pt x="1853" y="1736"/>
                  </a:cubicBezTo>
                  <a:cubicBezTo>
                    <a:pt x="1854" y="1737"/>
                    <a:pt x="1856" y="1739"/>
                    <a:pt x="1858" y="1741"/>
                  </a:cubicBezTo>
                  <a:cubicBezTo>
                    <a:pt x="1859" y="1743"/>
                    <a:pt x="1861" y="1746"/>
                    <a:pt x="1863" y="1748"/>
                  </a:cubicBezTo>
                  <a:cubicBezTo>
                    <a:pt x="1864" y="1751"/>
                    <a:pt x="1866" y="1753"/>
                    <a:pt x="1867" y="1756"/>
                  </a:cubicBezTo>
                  <a:cubicBezTo>
                    <a:pt x="1868" y="1758"/>
                    <a:pt x="1869" y="1760"/>
                    <a:pt x="1869" y="1761"/>
                  </a:cubicBezTo>
                  <a:cubicBezTo>
                    <a:pt x="1869" y="1762"/>
                    <a:pt x="1869" y="1763"/>
                    <a:pt x="1869" y="1764"/>
                  </a:cubicBezTo>
                  <a:cubicBezTo>
                    <a:pt x="1868" y="1765"/>
                    <a:pt x="1868" y="1766"/>
                    <a:pt x="1867" y="1767"/>
                  </a:cubicBezTo>
                  <a:cubicBezTo>
                    <a:pt x="1867" y="1768"/>
                    <a:pt x="1865" y="1769"/>
                    <a:pt x="1864" y="1771"/>
                  </a:cubicBezTo>
                  <a:cubicBezTo>
                    <a:pt x="1862" y="1772"/>
                    <a:pt x="1860" y="1774"/>
                    <a:pt x="1858" y="1777"/>
                  </a:cubicBezTo>
                  <a:close/>
                  <a:moveTo>
                    <a:pt x="1970" y="2024"/>
                  </a:moveTo>
                  <a:cubicBezTo>
                    <a:pt x="1957" y="2037"/>
                    <a:pt x="1943" y="2047"/>
                    <a:pt x="1929" y="2055"/>
                  </a:cubicBezTo>
                  <a:cubicBezTo>
                    <a:pt x="1914" y="2062"/>
                    <a:pt x="1900" y="2066"/>
                    <a:pt x="1885" y="2068"/>
                  </a:cubicBezTo>
                  <a:cubicBezTo>
                    <a:pt x="1871" y="2069"/>
                    <a:pt x="1856" y="2066"/>
                    <a:pt x="1841" y="2061"/>
                  </a:cubicBezTo>
                  <a:cubicBezTo>
                    <a:pt x="1827" y="2055"/>
                    <a:pt x="1813" y="2045"/>
                    <a:pt x="1799" y="2032"/>
                  </a:cubicBezTo>
                  <a:cubicBezTo>
                    <a:pt x="1786" y="2019"/>
                    <a:pt x="1777" y="2005"/>
                    <a:pt x="1771" y="1992"/>
                  </a:cubicBezTo>
                  <a:cubicBezTo>
                    <a:pt x="1765" y="1978"/>
                    <a:pt x="1763" y="1964"/>
                    <a:pt x="1763" y="1950"/>
                  </a:cubicBezTo>
                  <a:cubicBezTo>
                    <a:pt x="1764" y="1936"/>
                    <a:pt x="1769" y="1923"/>
                    <a:pt x="1776" y="1909"/>
                  </a:cubicBezTo>
                  <a:cubicBezTo>
                    <a:pt x="1783" y="1895"/>
                    <a:pt x="1794" y="1881"/>
                    <a:pt x="1807" y="1868"/>
                  </a:cubicBezTo>
                  <a:cubicBezTo>
                    <a:pt x="1820" y="1855"/>
                    <a:pt x="1834" y="1845"/>
                    <a:pt x="1848" y="1837"/>
                  </a:cubicBezTo>
                  <a:cubicBezTo>
                    <a:pt x="1862" y="1830"/>
                    <a:pt x="1877" y="1825"/>
                    <a:pt x="1892" y="1824"/>
                  </a:cubicBezTo>
                  <a:cubicBezTo>
                    <a:pt x="1906" y="1823"/>
                    <a:pt x="1921" y="1825"/>
                    <a:pt x="1935" y="1831"/>
                  </a:cubicBezTo>
                  <a:cubicBezTo>
                    <a:pt x="1950" y="1837"/>
                    <a:pt x="1964" y="1847"/>
                    <a:pt x="1977" y="1860"/>
                  </a:cubicBezTo>
                  <a:cubicBezTo>
                    <a:pt x="1990" y="1873"/>
                    <a:pt x="2000" y="1887"/>
                    <a:pt x="2006" y="1900"/>
                  </a:cubicBezTo>
                  <a:cubicBezTo>
                    <a:pt x="2012" y="1914"/>
                    <a:pt x="2014" y="1928"/>
                    <a:pt x="2013" y="1942"/>
                  </a:cubicBezTo>
                  <a:cubicBezTo>
                    <a:pt x="2012" y="1955"/>
                    <a:pt x="2008" y="1969"/>
                    <a:pt x="2001" y="1983"/>
                  </a:cubicBezTo>
                  <a:cubicBezTo>
                    <a:pt x="1993" y="1997"/>
                    <a:pt x="1983" y="2011"/>
                    <a:pt x="1970" y="2024"/>
                  </a:cubicBezTo>
                  <a:close/>
                  <a:moveTo>
                    <a:pt x="1937" y="1996"/>
                  </a:moveTo>
                  <a:cubicBezTo>
                    <a:pt x="1946" y="1987"/>
                    <a:pt x="1953" y="1978"/>
                    <a:pt x="1959" y="1969"/>
                  </a:cubicBezTo>
                  <a:cubicBezTo>
                    <a:pt x="1965" y="1960"/>
                    <a:pt x="1970" y="1950"/>
                    <a:pt x="1972" y="1941"/>
                  </a:cubicBezTo>
                  <a:cubicBezTo>
                    <a:pt x="1974" y="1931"/>
                    <a:pt x="1973" y="1922"/>
                    <a:pt x="1970" y="1912"/>
                  </a:cubicBezTo>
                  <a:cubicBezTo>
                    <a:pt x="1967" y="1902"/>
                    <a:pt x="1961" y="1893"/>
                    <a:pt x="1952" y="1883"/>
                  </a:cubicBezTo>
                  <a:cubicBezTo>
                    <a:pt x="1943" y="1875"/>
                    <a:pt x="1934" y="1869"/>
                    <a:pt x="1925" y="1866"/>
                  </a:cubicBezTo>
                  <a:cubicBezTo>
                    <a:pt x="1916" y="1863"/>
                    <a:pt x="1906" y="1862"/>
                    <a:pt x="1896" y="1863"/>
                  </a:cubicBezTo>
                  <a:cubicBezTo>
                    <a:pt x="1887" y="1865"/>
                    <a:pt x="1877" y="1868"/>
                    <a:pt x="1868" y="1874"/>
                  </a:cubicBezTo>
                  <a:cubicBezTo>
                    <a:pt x="1858" y="1880"/>
                    <a:pt x="1849" y="1887"/>
                    <a:pt x="1840" y="1896"/>
                  </a:cubicBezTo>
                  <a:cubicBezTo>
                    <a:pt x="1831" y="1905"/>
                    <a:pt x="1823" y="1914"/>
                    <a:pt x="1817" y="1923"/>
                  </a:cubicBezTo>
                  <a:cubicBezTo>
                    <a:pt x="1811" y="1933"/>
                    <a:pt x="1807" y="1942"/>
                    <a:pt x="1805" y="1951"/>
                  </a:cubicBezTo>
                  <a:cubicBezTo>
                    <a:pt x="1803" y="1961"/>
                    <a:pt x="1804" y="1970"/>
                    <a:pt x="1807" y="1980"/>
                  </a:cubicBezTo>
                  <a:cubicBezTo>
                    <a:pt x="1810" y="1990"/>
                    <a:pt x="1816" y="1999"/>
                    <a:pt x="1825" y="2009"/>
                  </a:cubicBezTo>
                  <a:cubicBezTo>
                    <a:pt x="1834" y="2017"/>
                    <a:pt x="1843" y="2023"/>
                    <a:pt x="1852" y="2026"/>
                  </a:cubicBezTo>
                  <a:cubicBezTo>
                    <a:pt x="1862" y="2030"/>
                    <a:pt x="1871" y="2030"/>
                    <a:pt x="1881" y="2029"/>
                  </a:cubicBezTo>
                  <a:cubicBezTo>
                    <a:pt x="1890" y="2027"/>
                    <a:pt x="1900" y="2024"/>
                    <a:pt x="1909" y="2018"/>
                  </a:cubicBezTo>
                  <a:cubicBezTo>
                    <a:pt x="1919" y="2012"/>
                    <a:pt x="1928" y="2005"/>
                    <a:pt x="1937" y="1996"/>
                  </a:cubicBezTo>
                  <a:close/>
                  <a:moveTo>
                    <a:pt x="2155" y="2043"/>
                  </a:moveTo>
                  <a:cubicBezTo>
                    <a:pt x="2153" y="2045"/>
                    <a:pt x="2151" y="2047"/>
                    <a:pt x="2149" y="2048"/>
                  </a:cubicBezTo>
                  <a:cubicBezTo>
                    <a:pt x="2148" y="2050"/>
                    <a:pt x="2146" y="2051"/>
                    <a:pt x="2144" y="2052"/>
                  </a:cubicBezTo>
                  <a:cubicBezTo>
                    <a:pt x="2143" y="2052"/>
                    <a:pt x="2141" y="2053"/>
                    <a:pt x="2140" y="2053"/>
                  </a:cubicBezTo>
                  <a:cubicBezTo>
                    <a:pt x="2138" y="2053"/>
                    <a:pt x="2137" y="2053"/>
                    <a:pt x="2135" y="2052"/>
                  </a:cubicBezTo>
                  <a:lnTo>
                    <a:pt x="2102" y="2045"/>
                  </a:lnTo>
                  <a:lnTo>
                    <a:pt x="1965" y="2182"/>
                  </a:lnTo>
                  <a:cubicBezTo>
                    <a:pt x="1964" y="2183"/>
                    <a:pt x="1963" y="2183"/>
                    <a:pt x="1962" y="2184"/>
                  </a:cubicBezTo>
                  <a:cubicBezTo>
                    <a:pt x="1961" y="2184"/>
                    <a:pt x="1959" y="2184"/>
                    <a:pt x="1958" y="2183"/>
                  </a:cubicBezTo>
                  <a:cubicBezTo>
                    <a:pt x="1956" y="2182"/>
                    <a:pt x="1955" y="2181"/>
                    <a:pt x="1952" y="2180"/>
                  </a:cubicBezTo>
                  <a:cubicBezTo>
                    <a:pt x="1950" y="2178"/>
                    <a:pt x="1948" y="2176"/>
                    <a:pt x="1945" y="2173"/>
                  </a:cubicBezTo>
                  <a:cubicBezTo>
                    <a:pt x="1942" y="2170"/>
                    <a:pt x="1940" y="2167"/>
                    <a:pt x="1938" y="2165"/>
                  </a:cubicBezTo>
                  <a:cubicBezTo>
                    <a:pt x="1937" y="2163"/>
                    <a:pt x="1935" y="2161"/>
                    <a:pt x="1935" y="2160"/>
                  </a:cubicBezTo>
                  <a:cubicBezTo>
                    <a:pt x="1934" y="2158"/>
                    <a:pt x="1934" y="2157"/>
                    <a:pt x="1934" y="2156"/>
                  </a:cubicBezTo>
                  <a:cubicBezTo>
                    <a:pt x="1934" y="2155"/>
                    <a:pt x="1935" y="2154"/>
                    <a:pt x="1936" y="2153"/>
                  </a:cubicBezTo>
                  <a:lnTo>
                    <a:pt x="2055" y="2034"/>
                  </a:lnTo>
                  <a:lnTo>
                    <a:pt x="2023" y="2027"/>
                  </a:lnTo>
                  <a:cubicBezTo>
                    <a:pt x="2020" y="2026"/>
                    <a:pt x="2019" y="2025"/>
                    <a:pt x="2019" y="2022"/>
                  </a:cubicBezTo>
                  <a:cubicBezTo>
                    <a:pt x="2020" y="2019"/>
                    <a:pt x="2023" y="2015"/>
                    <a:pt x="2028" y="2010"/>
                  </a:cubicBezTo>
                  <a:cubicBezTo>
                    <a:pt x="2030" y="2008"/>
                    <a:pt x="2032" y="2006"/>
                    <a:pt x="2033" y="2005"/>
                  </a:cubicBezTo>
                  <a:cubicBezTo>
                    <a:pt x="2035" y="2004"/>
                    <a:pt x="2037" y="2003"/>
                    <a:pt x="2038" y="2002"/>
                  </a:cubicBezTo>
                  <a:cubicBezTo>
                    <a:pt x="2040" y="2001"/>
                    <a:pt x="2041" y="2001"/>
                    <a:pt x="2043" y="2001"/>
                  </a:cubicBezTo>
                  <a:cubicBezTo>
                    <a:pt x="2044" y="2000"/>
                    <a:pt x="2046" y="2000"/>
                    <a:pt x="2047" y="2001"/>
                  </a:cubicBezTo>
                  <a:lnTo>
                    <a:pt x="2080" y="2008"/>
                  </a:lnTo>
                  <a:lnTo>
                    <a:pt x="2172" y="1917"/>
                  </a:lnTo>
                  <a:cubicBezTo>
                    <a:pt x="2173" y="1916"/>
                    <a:pt x="2174" y="1915"/>
                    <a:pt x="2175" y="1915"/>
                  </a:cubicBezTo>
                  <a:cubicBezTo>
                    <a:pt x="2176" y="1915"/>
                    <a:pt x="2178" y="1915"/>
                    <a:pt x="2179" y="1915"/>
                  </a:cubicBezTo>
                  <a:cubicBezTo>
                    <a:pt x="2181" y="1916"/>
                    <a:pt x="2183" y="1917"/>
                    <a:pt x="2185" y="1919"/>
                  </a:cubicBezTo>
                  <a:cubicBezTo>
                    <a:pt x="2187" y="1920"/>
                    <a:pt x="2189" y="1923"/>
                    <a:pt x="2192" y="1926"/>
                  </a:cubicBezTo>
                  <a:cubicBezTo>
                    <a:pt x="2195" y="1928"/>
                    <a:pt x="2197" y="1931"/>
                    <a:pt x="2199" y="1933"/>
                  </a:cubicBezTo>
                  <a:cubicBezTo>
                    <a:pt x="2201" y="1935"/>
                    <a:pt x="2202" y="1937"/>
                    <a:pt x="2202" y="1939"/>
                  </a:cubicBezTo>
                  <a:cubicBezTo>
                    <a:pt x="2203" y="1940"/>
                    <a:pt x="2203" y="1941"/>
                    <a:pt x="2203" y="1943"/>
                  </a:cubicBezTo>
                  <a:cubicBezTo>
                    <a:pt x="2203" y="1944"/>
                    <a:pt x="2202" y="1945"/>
                    <a:pt x="2201" y="1946"/>
                  </a:cubicBezTo>
                  <a:lnTo>
                    <a:pt x="2128" y="2019"/>
                  </a:lnTo>
                  <a:lnTo>
                    <a:pt x="2159" y="2026"/>
                  </a:lnTo>
                  <a:cubicBezTo>
                    <a:pt x="2162" y="2027"/>
                    <a:pt x="2164" y="2029"/>
                    <a:pt x="2163" y="2031"/>
                  </a:cubicBezTo>
                  <a:cubicBezTo>
                    <a:pt x="2163" y="2034"/>
                    <a:pt x="2160" y="2038"/>
                    <a:pt x="2155" y="2043"/>
                  </a:cubicBezTo>
                  <a:close/>
                  <a:moveTo>
                    <a:pt x="2245" y="2289"/>
                  </a:moveTo>
                  <a:cubicBezTo>
                    <a:pt x="2241" y="2294"/>
                    <a:pt x="2236" y="2296"/>
                    <a:pt x="2232" y="2296"/>
                  </a:cubicBezTo>
                  <a:cubicBezTo>
                    <a:pt x="2228" y="2295"/>
                    <a:pt x="2224" y="2294"/>
                    <a:pt x="2221" y="2291"/>
                  </a:cubicBezTo>
                  <a:lnTo>
                    <a:pt x="2117" y="2187"/>
                  </a:lnTo>
                  <a:cubicBezTo>
                    <a:pt x="2108" y="2195"/>
                    <a:pt x="2101" y="2204"/>
                    <a:pt x="2096" y="2213"/>
                  </a:cubicBezTo>
                  <a:cubicBezTo>
                    <a:pt x="2091" y="2222"/>
                    <a:pt x="2087" y="2231"/>
                    <a:pt x="2086" y="2240"/>
                  </a:cubicBezTo>
                  <a:cubicBezTo>
                    <a:pt x="2086" y="2249"/>
                    <a:pt x="2087" y="2259"/>
                    <a:pt x="2091" y="2268"/>
                  </a:cubicBezTo>
                  <a:cubicBezTo>
                    <a:pt x="2095" y="2277"/>
                    <a:pt x="2101" y="2287"/>
                    <a:pt x="2111" y="2296"/>
                  </a:cubicBezTo>
                  <a:cubicBezTo>
                    <a:pt x="2119" y="2304"/>
                    <a:pt x="2126" y="2310"/>
                    <a:pt x="2133" y="2314"/>
                  </a:cubicBezTo>
                  <a:cubicBezTo>
                    <a:pt x="2140" y="2319"/>
                    <a:pt x="2147" y="2323"/>
                    <a:pt x="2152" y="2326"/>
                  </a:cubicBezTo>
                  <a:cubicBezTo>
                    <a:pt x="2158" y="2328"/>
                    <a:pt x="2163" y="2331"/>
                    <a:pt x="2167" y="2332"/>
                  </a:cubicBezTo>
                  <a:cubicBezTo>
                    <a:pt x="2171" y="2334"/>
                    <a:pt x="2174" y="2335"/>
                    <a:pt x="2175" y="2336"/>
                  </a:cubicBezTo>
                  <a:cubicBezTo>
                    <a:pt x="2176" y="2337"/>
                    <a:pt x="2177" y="2338"/>
                    <a:pt x="2177" y="2339"/>
                  </a:cubicBezTo>
                  <a:cubicBezTo>
                    <a:pt x="2177" y="2340"/>
                    <a:pt x="2177" y="2341"/>
                    <a:pt x="2177" y="2343"/>
                  </a:cubicBezTo>
                  <a:cubicBezTo>
                    <a:pt x="2176" y="2344"/>
                    <a:pt x="2175" y="2345"/>
                    <a:pt x="2174" y="2347"/>
                  </a:cubicBezTo>
                  <a:cubicBezTo>
                    <a:pt x="2173" y="2349"/>
                    <a:pt x="2171" y="2350"/>
                    <a:pt x="2169" y="2353"/>
                  </a:cubicBezTo>
                  <a:cubicBezTo>
                    <a:pt x="2166" y="2355"/>
                    <a:pt x="2164" y="2357"/>
                    <a:pt x="2163" y="2358"/>
                  </a:cubicBezTo>
                  <a:cubicBezTo>
                    <a:pt x="2161" y="2360"/>
                    <a:pt x="2160" y="2361"/>
                    <a:pt x="2158" y="2362"/>
                  </a:cubicBezTo>
                  <a:cubicBezTo>
                    <a:pt x="2157" y="2363"/>
                    <a:pt x="2155" y="2364"/>
                    <a:pt x="2154" y="2364"/>
                  </a:cubicBezTo>
                  <a:cubicBezTo>
                    <a:pt x="2152" y="2364"/>
                    <a:pt x="2151" y="2364"/>
                    <a:pt x="2149" y="2364"/>
                  </a:cubicBezTo>
                  <a:lnTo>
                    <a:pt x="2100" y="2365"/>
                  </a:lnTo>
                  <a:cubicBezTo>
                    <a:pt x="2094" y="2365"/>
                    <a:pt x="2089" y="2365"/>
                    <a:pt x="2086" y="2367"/>
                  </a:cubicBezTo>
                  <a:cubicBezTo>
                    <a:pt x="2083" y="2368"/>
                    <a:pt x="2081" y="2369"/>
                    <a:pt x="2079" y="2371"/>
                  </a:cubicBezTo>
                  <a:cubicBezTo>
                    <a:pt x="2076" y="2374"/>
                    <a:pt x="2074" y="2378"/>
                    <a:pt x="2075" y="2381"/>
                  </a:cubicBezTo>
                  <a:cubicBezTo>
                    <a:pt x="2075" y="2385"/>
                    <a:pt x="2078" y="2389"/>
                    <a:pt x="2082" y="2394"/>
                  </a:cubicBezTo>
                  <a:lnTo>
                    <a:pt x="2102" y="2413"/>
                  </a:lnTo>
                  <a:cubicBezTo>
                    <a:pt x="2103" y="2415"/>
                    <a:pt x="2104" y="2416"/>
                    <a:pt x="2104" y="2418"/>
                  </a:cubicBezTo>
                  <a:cubicBezTo>
                    <a:pt x="2104" y="2420"/>
                    <a:pt x="2102" y="2422"/>
                    <a:pt x="2099" y="2426"/>
                  </a:cubicBezTo>
                  <a:cubicBezTo>
                    <a:pt x="2097" y="2428"/>
                    <a:pt x="2095" y="2429"/>
                    <a:pt x="2094" y="2430"/>
                  </a:cubicBezTo>
                  <a:cubicBezTo>
                    <a:pt x="2092" y="2431"/>
                    <a:pt x="2091" y="2432"/>
                    <a:pt x="2090" y="2432"/>
                  </a:cubicBezTo>
                  <a:cubicBezTo>
                    <a:pt x="2088" y="2433"/>
                    <a:pt x="2087" y="2433"/>
                    <a:pt x="2086" y="2432"/>
                  </a:cubicBezTo>
                  <a:cubicBezTo>
                    <a:pt x="2085" y="2432"/>
                    <a:pt x="2084" y="2431"/>
                    <a:pt x="2082" y="2431"/>
                  </a:cubicBezTo>
                  <a:cubicBezTo>
                    <a:pt x="2077" y="2428"/>
                    <a:pt x="2072" y="2425"/>
                    <a:pt x="2068" y="2421"/>
                  </a:cubicBezTo>
                  <a:cubicBezTo>
                    <a:pt x="2063" y="2418"/>
                    <a:pt x="2059" y="2414"/>
                    <a:pt x="2054" y="2409"/>
                  </a:cubicBezTo>
                  <a:cubicBezTo>
                    <a:pt x="2043" y="2398"/>
                    <a:pt x="2037" y="2387"/>
                    <a:pt x="2035" y="2377"/>
                  </a:cubicBezTo>
                  <a:cubicBezTo>
                    <a:pt x="2034" y="2366"/>
                    <a:pt x="2037" y="2356"/>
                    <a:pt x="2046" y="2348"/>
                  </a:cubicBezTo>
                  <a:cubicBezTo>
                    <a:pt x="2048" y="2345"/>
                    <a:pt x="2050" y="2343"/>
                    <a:pt x="2053" y="2342"/>
                  </a:cubicBezTo>
                  <a:cubicBezTo>
                    <a:pt x="2056" y="2340"/>
                    <a:pt x="2059" y="2339"/>
                    <a:pt x="2062" y="2338"/>
                  </a:cubicBezTo>
                  <a:cubicBezTo>
                    <a:pt x="2065" y="2337"/>
                    <a:pt x="2069" y="2336"/>
                    <a:pt x="2073" y="2335"/>
                  </a:cubicBezTo>
                  <a:cubicBezTo>
                    <a:pt x="2077" y="2334"/>
                    <a:pt x="2082" y="2334"/>
                    <a:pt x="2087" y="2334"/>
                  </a:cubicBezTo>
                  <a:lnTo>
                    <a:pt x="2106" y="2334"/>
                  </a:lnTo>
                  <a:cubicBezTo>
                    <a:pt x="2103" y="2332"/>
                    <a:pt x="2099" y="2329"/>
                    <a:pt x="2095" y="2326"/>
                  </a:cubicBezTo>
                  <a:cubicBezTo>
                    <a:pt x="2091" y="2323"/>
                    <a:pt x="2087" y="2319"/>
                    <a:pt x="2083" y="2315"/>
                  </a:cubicBezTo>
                  <a:cubicBezTo>
                    <a:pt x="2070" y="2302"/>
                    <a:pt x="2061" y="2289"/>
                    <a:pt x="2055" y="2276"/>
                  </a:cubicBezTo>
                  <a:cubicBezTo>
                    <a:pt x="2049" y="2263"/>
                    <a:pt x="2046" y="2249"/>
                    <a:pt x="2047" y="2235"/>
                  </a:cubicBezTo>
                  <a:cubicBezTo>
                    <a:pt x="2048" y="2222"/>
                    <a:pt x="2052" y="2208"/>
                    <a:pt x="2059" y="2193"/>
                  </a:cubicBezTo>
                  <a:cubicBezTo>
                    <a:pt x="2066" y="2179"/>
                    <a:pt x="2077" y="2165"/>
                    <a:pt x="2091" y="2151"/>
                  </a:cubicBezTo>
                  <a:cubicBezTo>
                    <a:pt x="2105" y="2137"/>
                    <a:pt x="2119" y="2127"/>
                    <a:pt x="2134" y="2119"/>
                  </a:cubicBezTo>
                  <a:cubicBezTo>
                    <a:pt x="2148" y="2112"/>
                    <a:pt x="2162" y="2108"/>
                    <a:pt x="2177" y="2107"/>
                  </a:cubicBezTo>
                  <a:cubicBezTo>
                    <a:pt x="2191" y="2106"/>
                    <a:pt x="2205" y="2108"/>
                    <a:pt x="2218" y="2113"/>
                  </a:cubicBezTo>
                  <a:cubicBezTo>
                    <a:pt x="2232" y="2119"/>
                    <a:pt x="2244" y="2127"/>
                    <a:pt x="2256" y="2139"/>
                  </a:cubicBezTo>
                  <a:cubicBezTo>
                    <a:pt x="2268" y="2151"/>
                    <a:pt x="2277" y="2164"/>
                    <a:pt x="2282" y="2177"/>
                  </a:cubicBezTo>
                  <a:cubicBezTo>
                    <a:pt x="2287" y="2190"/>
                    <a:pt x="2288" y="2202"/>
                    <a:pt x="2287" y="2215"/>
                  </a:cubicBezTo>
                  <a:cubicBezTo>
                    <a:pt x="2286" y="2227"/>
                    <a:pt x="2282" y="2239"/>
                    <a:pt x="2276" y="2251"/>
                  </a:cubicBezTo>
                  <a:cubicBezTo>
                    <a:pt x="2269" y="2263"/>
                    <a:pt x="2261" y="2274"/>
                    <a:pt x="2251" y="2284"/>
                  </a:cubicBezTo>
                  <a:lnTo>
                    <a:pt x="2245" y="2289"/>
                  </a:lnTo>
                  <a:close/>
                  <a:moveTo>
                    <a:pt x="2225" y="2251"/>
                  </a:moveTo>
                  <a:cubicBezTo>
                    <a:pt x="2240" y="2236"/>
                    <a:pt x="2249" y="2221"/>
                    <a:pt x="2251" y="2205"/>
                  </a:cubicBezTo>
                  <a:cubicBezTo>
                    <a:pt x="2252" y="2189"/>
                    <a:pt x="2246" y="2174"/>
                    <a:pt x="2232" y="2160"/>
                  </a:cubicBezTo>
                  <a:cubicBezTo>
                    <a:pt x="2225" y="2153"/>
                    <a:pt x="2217" y="2148"/>
                    <a:pt x="2209" y="2146"/>
                  </a:cubicBezTo>
                  <a:cubicBezTo>
                    <a:pt x="2201" y="2143"/>
                    <a:pt x="2193" y="2142"/>
                    <a:pt x="2185" y="2143"/>
                  </a:cubicBezTo>
                  <a:cubicBezTo>
                    <a:pt x="2176" y="2144"/>
                    <a:pt x="2168" y="2146"/>
                    <a:pt x="2160" y="2150"/>
                  </a:cubicBezTo>
                  <a:cubicBezTo>
                    <a:pt x="2152" y="2154"/>
                    <a:pt x="2145" y="2159"/>
                    <a:pt x="2138" y="2165"/>
                  </a:cubicBezTo>
                  <a:lnTo>
                    <a:pt x="2225" y="2251"/>
                  </a:lnTo>
                  <a:close/>
                  <a:moveTo>
                    <a:pt x="2335" y="2552"/>
                  </a:moveTo>
                  <a:cubicBezTo>
                    <a:pt x="2334" y="2553"/>
                    <a:pt x="2333" y="2553"/>
                    <a:pt x="2332" y="2553"/>
                  </a:cubicBezTo>
                  <a:cubicBezTo>
                    <a:pt x="2331" y="2554"/>
                    <a:pt x="2329" y="2553"/>
                    <a:pt x="2328" y="2553"/>
                  </a:cubicBezTo>
                  <a:cubicBezTo>
                    <a:pt x="2326" y="2552"/>
                    <a:pt x="2324" y="2551"/>
                    <a:pt x="2322" y="2549"/>
                  </a:cubicBezTo>
                  <a:cubicBezTo>
                    <a:pt x="2320" y="2547"/>
                    <a:pt x="2317" y="2545"/>
                    <a:pt x="2314" y="2542"/>
                  </a:cubicBezTo>
                  <a:cubicBezTo>
                    <a:pt x="2311" y="2539"/>
                    <a:pt x="2308" y="2536"/>
                    <a:pt x="2306" y="2534"/>
                  </a:cubicBezTo>
                  <a:cubicBezTo>
                    <a:pt x="2304" y="2532"/>
                    <a:pt x="2303" y="2529"/>
                    <a:pt x="2302" y="2528"/>
                  </a:cubicBezTo>
                  <a:cubicBezTo>
                    <a:pt x="2301" y="2526"/>
                    <a:pt x="2300" y="2524"/>
                    <a:pt x="2300" y="2522"/>
                  </a:cubicBezTo>
                  <a:cubicBezTo>
                    <a:pt x="2300" y="2521"/>
                    <a:pt x="2300" y="2519"/>
                    <a:pt x="2301" y="2517"/>
                  </a:cubicBezTo>
                  <a:lnTo>
                    <a:pt x="2322" y="2362"/>
                  </a:lnTo>
                  <a:lnTo>
                    <a:pt x="2233" y="2450"/>
                  </a:lnTo>
                  <a:cubicBezTo>
                    <a:pt x="2232" y="2451"/>
                    <a:pt x="2231" y="2452"/>
                    <a:pt x="2230" y="2452"/>
                  </a:cubicBezTo>
                  <a:cubicBezTo>
                    <a:pt x="2229" y="2452"/>
                    <a:pt x="2228" y="2452"/>
                    <a:pt x="2226" y="2451"/>
                  </a:cubicBezTo>
                  <a:cubicBezTo>
                    <a:pt x="2225" y="2451"/>
                    <a:pt x="2223" y="2450"/>
                    <a:pt x="2221" y="2448"/>
                  </a:cubicBezTo>
                  <a:cubicBezTo>
                    <a:pt x="2219" y="2446"/>
                    <a:pt x="2216" y="2444"/>
                    <a:pt x="2213" y="2441"/>
                  </a:cubicBezTo>
                  <a:cubicBezTo>
                    <a:pt x="2210" y="2438"/>
                    <a:pt x="2208" y="2436"/>
                    <a:pt x="2206" y="2434"/>
                  </a:cubicBezTo>
                  <a:cubicBezTo>
                    <a:pt x="2205" y="2432"/>
                    <a:pt x="2204" y="2430"/>
                    <a:pt x="2203" y="2428"/>
                  </a:cubicBezTo>
                  <a:cubicBezTo>
                    <a:pt x="2202" y="2427"/>
                    <a:pt x="2202" y="2425"/>
                    <a:pt x="2202" y="2424"/>
                  </a:cubicBezTo>
                  <a:cubicBezTo>
                    <a:pt x="2203" y="2423"/>
                    <a:pt x="2203" y="2422"/>
                    <a:pt x="2204" y="2421"/>
                  </a:cubicBezTo>
                  <a:lnTo>
                    <a:pt x="2440" y="2185"/>
                  </a:lnTo>
                  <a:cubicBezTo>
                    <a:pt x="2441" y="2184"/>
                    <a:pt x="2442" y="2183"/>
                    <a:pt x="2443" y="2183"/>
                  </a:cubicBezTo>
                  <a:cubicBezTo>
                    <a:pt x="2445" y="2183"/>
                    <a:pt x="2446" y="2183"/>
                    <a:pt x="2448" y="2184"/>
                  </a:cubicBezTo>
                  <a:cubicBezTo>
                    <a:pt x="2449" y="2184"/>
                    <a:pt x="2451" y="2185"/>
                    <a:pt x="2453" y="2187"/>
                  </a:cubicBezTo>
                  <a:cubicBezTo>
                    <a:pt x="2455" y="2189"/>
                    <a:pt x="2458" y="2191"/>
                    <a:pt x="2461" y="2194"/>
                  </a:cubicBezTo>
                  <a:cubicBezTo>
                    <a:pt x="2463" y="2197"/>
                    <a:pt x="2466" y="2199"/>
                    <a:pt x="2467" y="2201"/>
                  </a:cubicBezTo>
                  <a:cubicBezTo>
                    <a:pt x="2469" y="2204"/>
                    <a:pt x="2470" y="2205"/>
                    <a:pt x="2471" y="2207"/>
                  </a:cubicBezTo>
                  <a:cubicBezTo>
                    <a:pt x="2471" y="2208"/>
                    <a:pt x="2472" y="2210"/>
                    <a:pt x="2471" y="2211"/>
                  </a:cubicBezTo>
                  <a:cubicBezTo>
                    <a:pt x="2471" y="2212"/>
                    <a:pt x="2470" y="2213"/>
                    <a:pt x="2470" y="2214"/>
                  </a:cubicBezTo>
                  <a:lnTo>
                    <a:pt x="2326" y="2358"/>
                  </a:lnTo>
                  <a:lnTo>
                    <a:pt x="2452" y="2352"/>
                  </a:lnTo>
                  <a:cubicBezTo>
                    <a:pt x="2454" y="2352"/>
                    <a:pt x="2456" y="2352"/>
                    <a:pt x="2458" y="2352"/>
                  </a:cubicBezTo>
                  <a:cubicBezTo>
                    <a:pt x="2460" y="2352"/>
                    <a:pt x="2462" y="2353"/>
                    <a:pt x="2464" y="2354"/>
                  </a:cubicBezTo>
                  <a:cubicBezTo>
                    <a:pt x="2466" y="2355"/>
                    <a:pt x="2468" y="2356"/>
                    <a:pt x="2470" y="2358"/>
                  </a:cubicBezTo>
                  <a:cubicBezTo>
                    <a:pt x="2472" y="2360"/>
                    <a:pt x="2474" y="2362"/>
                    <a:pt x="2477" y="2365"/>
                  </a:cubicBezTo>
                  <a:cubicBezTo>
                    <a:pt x="2480" y="2368"/>
                    <a:pt x="2483" y="2371"/>
                    <a:pt x="2484" y="2373"/>
                  </a:cubicBezTo>
                  <a:cubicBezTo>
                    <a:pt x="2486" y="2375"/>
                    <a:pt x="2488" y="2377"/>
                    <a:pt x="2488" y="2379"/>
                  </a:cubicBezTo>
                  <a:cubicBezTo>
                    <a:pt x="2489" y="2380"/>
                    <a:pt x="2490" y="2382"/>
                    <a:pt x="2490" y="2383"/>
                  </a:cubicBezTo>
                  <a:cubicBezTo>
                    <a:pt x="2489" y="2384"/>
                    <a:pt x="2489" y="2385"/>
                    <a:pt x="2488" y="2386"/>
                  </a:cubicBezTo>
                  <a:cubicBezTo>
                    <a:pt x="2486" y="2388"/>
                    <a:pt x="2485" y="2389"/>
                    <a:pt x="2482" y="2389"/>
                  </a:cubicBezTo>
                  <a:cubicBezTo>
                    <a:pt x="2480" y="2390"/>
                    <a:pt x="2477" y="2390"/>
                    <a:pt x="2474" y="2390"/>
                  </a:cubicBezTo>
                  <a:lnTo>
                    <a:pt x="2358" y="2390"/>
                  </a:lnTo>
                  <a:lnTo>
                    <a:pt x="2339" y="2539"/>
                  </a:lnTo>
                  <a:cubicBezTo>
                    <a:pt x="2339" y="2543"/>
                    <a:pt x="2338" y="2545"/>
                    <a:pt x="2337" y="2547"/>
                  </a:cubicBezTo>
                  <a:cubicBezTo>
                    <a:pt x="2337" y="2549"/>
                    <a:pt x="2336" y="2551"/>
                    <a:pt x="2335" y="2552"/>
                  </a:cubicBezTo>
                  <a:close/>
                  <a:moveTo>
                    <a:pt x="2482" y="2700"/>
                  </a:moveTo>
                  <a:cubicBezTo>
                    <a:pt x="2481" y="2701"/>
                    <a:pt x="2479" y="2702"/>
                    <a:pt x="2478" y="2701"/>
                  </a:cubicBezTo>
                  <a:cubicBezTo>
                    <a:pt x="2476" y="2701"/>
                    <a:pt x="2474" y="2700"/>
                    <a:pt x="2472" y="2699"/>
                  </a:cubicBezTo>
                  <a:cubicBezTo>
                    <a:pt x="2470" y="2698"/>
                    <a:pt x="2468" y="2696"/>
                    <a:pt x="2464" y="2692"/>
                  </a:cubicBezTo>
                  <a:cubicBezTo>
                    <a:pt x="2461" y="2689"/>
                    <a:pt x="2459" y="2687"/>
                    <a:pt x="2458" y="2684"/>
                  </a:cubicBezTo>
                  <a:cubicBezTo>
                    <a:pt x="2456" y="2682"/>
                    <a:pt x="2455" y="2680"/>
                    <a:pt x="2455" y="2679"/>
                  </a:cubicBezTo>
                  <a:cubicBezTo>
                    <a:pt x="2455" y="2677"/>
                    <a:pt x="2456" y="2676"/>
                    <a:pt x="2457" y="2674"/>
                  </a:cubicBezTo>
                  <a:lnTo>
                    <a:pt x="2473" y="2659"/>
                  </a:lnTo>
                  <a:cubicBezTo>
                    <a:pt x="2459" y="2659"/>
                    <a:pt x="2445" y="2657"/>
                    <a:pt x="2433" y="2653"/>
                  </a:cubicBezTo>
                  <a:cubicBezTo>
                    <a:pt x="2420" y="2648"/>
                    <a:pt x="2409" y="2641"/>
                    <a:pt x="2399" y="2632"/>
                  </a:cubicBezTo>
                  <a:cubicBezTo>
                    <a:pt x="2391" y="2623"/>
                    <a:pt x="2384" y="2615"/>
                    <a:pt x="2380" y="2606"/>
                  </a:cubicBezTo>
                  <a:cubicBezTo>
                    <a:pt x="2375" y="2597"/>
                    <a:pt x="2373" y="2588"/>
                    <a:pt x="2372" y="2579"/>
                  </a:cubicBezTo>
                  <a:cubicBezTo>
                    <a:pt x="2371" y="2570"/>
                    <a:pt x="2373" y="2561"/>
                    <a:pt x="2376" y="2553"/>
                  </a:cubicBezTo>
                  <a:cubicBezTo>
                    <a:pt x="2379" y="2544"/>
                    <a:pt x="2385" y="2536"/>
                    <a:pt x="2392" y="2528"/>
                  </a:cubicBezTo>
                  <a:cubicBezTo>
                    <a:pt x="2401" y="2519"/>
                    <a:pt x="2411" y="2513"/>
                    <a:pt x="2421" y="2510"/>
                  </a:cubicBezTo>
                  <a:cubicBezTo>
                    <a:pt x="2432" y="2507"/>
                    <a:pt x="2442" y="2507"/>
                    <a:pt x="2453" y="2510"/>
                  </a:cubicBezTo>
                  <a:cubicBezTo>
                    <a:pt x="2465" y="2512"/>
                    <a:pt x="2476" y="2517"/>
                    <a:pt x="2488" y="2525"/>
                  </a:cubicBezTo>
                  <a:cubicBezTo>
                    <a:pt x="2500" y="2533"/>
                    <a:pt x="2513" y="2543"/>
                    <a:pt x="2525" y="2555"/>
                  </a:cubicBezTo>
                  <a:lnTo>
                    <a:pt x="2547" y="2577"/>
                  </a:lnTo>
                  <a:lnTo>
                    <a:pt x="2559" y="2565"/>
                  </a:lnTo>
                  <a:cubicBezTo>
                    <a:pt x="2565" y="2558"/>
                    <a:pt x="2570" y="2552"/>
                    <a:pt x="2574" y="2546"/>
                  </a:cubicBezTo>
                  <a:cubicBezTo>
                    <a:pt x="2577" y="2540"/>
                    <a:pt x="2579" y="2534"/>
                    <a:pt x="2579" y="2528"/>
                  </a:cubicBezTo>
                  <a:cubicBezTo>
                    <a:pt x="2579" y="2522"/>
                    <a:pt x="2578" y="2516"/>
                    <a:pt x="2575" y="2510"/>
                  </a:cubicBezTo>
                  <a:cubicBezTo>
                    <a:pt x="2572" y="2504"/>
                    <a:pt x="2567" y="2497"/>
                    <a:pt x="2560" y="2491"/>
                  </a:cubicBezTo>
                  <a:cubicBezTo>
                    <a:pt x="2553" y="2483"/>
                    <a:pt x="2546" y="2478"/>
                    <a:pt x="2538" y="2474"/>
                  </a:cubicBezTo>
                  <a:cubicBezTo>
                    <a:pt x="2531" y="2470"/>
                    <a:pt x="2524" y="2467"/>
                    <a:pt x="2518" y="2464"/>
                  </a:cubicBezTo>
                  <a:cubicBezTo>
                    <a:pt x="2511" y="2462"/>
                    <a:pt x="2506" y="2461"/>
                    <a:pt x="2501" y="2459"/>
                  </a:cubicBezTo>
                  <a:cubicBezTo>
                    <a:pt x="2497" y="2458"/>
                    <a:pt x="2494" y="2457"/>
                    <a:pt x="2492" y="2455"/>
                  </a:cubicBezTo>
                  <a:cubicBezTo>
                    <a:pt x="2491" y="2455"/>
                    <a:pt x="2491" y="2453"/>
                    <a:pt x="2491" y="2452"/>
                  </a:cubicBezTo>
                  <a:cubicBezTo>
                    <a:pt x="2490" y="2451"/>
                    <a:pt x="2490" y="2450"/>
                    <a:pt x="2491" y="2448"/>
                  </a:cubicBezTo>
                  <a:cubicBezTo>
                    <a:pt x="2491" y="2447"/>
                    <a:pt x="2492" y="2445"/>
                    <a:pt x="2493" y="2444"/>
                  </a:cubicBezTo>
                  <a:cubicBezTo>
                    <a:pt x="2495" y="2442"/>
                    <a:pt x="2496" y="2440"/>
                    <a:pt x="2498" y="2438"/>
                  </a:cubicBezTo>
                  <a:cubicBezTo>
                    <a:pt x="2501" y="2435"/>
                    <a:pt x="2503" y="2433"/>
                    <a:pt x="2505" y="2432"/>
                  </a:cubicBezTo>
                  <a:cubicBezTo>
                    <a:pt x="2508" y="2431"/>
                    <a:pt x="2510" y="2430"/>
                    <a:pt x="2513" y="2430"/>
                  </a:cubicBezTo>
                  <a:cubicBezTo>
                    <a:pt x="2516" y="2430"/>
                    <a:pt x="2521" y="2431"/>
                    <a:pt x="2527" y="2433"/>
                  </a:cubicBezTo>
                  <a:cubicBezTo>
                    <a:pt x="2533" y="2435"/>
                    <a:pt x="2539" y="2437"/>
                    <a:pt x="2546" y="2441"/>
                  </a:cubicBezTo>
                  <a:cubicBezTo>
                    <a:pt x="2553" y="2444"/>
                    <a:pt x="2560" y="2448"/>
                    <a:pt x="2567" y="2453"/>
                  </a:cubicBezTo>
                  <a:cubicBezTo>
                    <a:pt x="2574" y="2458"/>
                    <a:pt x="2581" y="2463"/>
                    <a:pt x="2587" y="2470"/>
                  </a:cubicBezTo>
                  <a:cubicBezTo>
                    <a:pt x="2598" y="2481"/>
                    <a:pt x="2607" y="2492"/>
                    <a:pt x="2612" y="2503"/>
                  </a:cubicBezTo>
                  <a:cubicBezTo>
                    <a:pt x="2617" y="2513"/>
                    <a:pt x="2620" y="2524"/>
                    <a:pt x="2620" y="2534"/>
                  </a:cubicBezTo>
                  <a:cubicBezTo>
                    <a:pt x="2620" y="2543"/>
                    <a:pt x="2617" y="2553"/>
                    <a:pt x="2612" y="2563"/>
                  </a:cubicBezTo>
                  <a:cubicBezTo>
                    <a:pt x="2607" y="2573"/>
                    <a:pt x="2599" y="2582"/>
                    <a:pt x="2590" y="2592"/>
                  </a:cubicBezTo>
                  <a:lnTo>
                    <a:pt x="2482" y="2700"/>
                  </a:lnTo>
                  <a:close/>
                  <a:moveTo>
                    <a:pt x="2526" y="2598"/>
                  </a:moveTo>
                  <a:lnTo>
                    <a:pt x="2501" y="2573"/>
                  </a:lnTo>
                  <a:cubicBezTo>
                    <a:pt x="2493" y="2565"/>
                    <a:pt x="2485" y="2559"/>
                    <a:pt x="2478" y="2554"/>
                  </a:cubicBezTo>
                  <a:cubicBezTo>
                    <a:pt x="2471" y="2550"/>
                    <a:pt x="2464" y="2547"/>
                    <a:pt x="2457" y="2546"/>
                  </a:cubicBezTo>
                  <a:cubicBezTo>
                    <a:pt x="2451" y="2544"/>
                    <a:pt x="2445" y="2545"/>
                    <a:pt x="2439" y="2546"/>
                  </a:cubicBezTo>
                  <a:cubicBezTo>
                    <a:pt x="2434" y="2548"/>
                    <a:pt x="2429" y="2552"/>
                    <a:pt x="2424" y="2557"/>
                  </a:cubicBezTo>
                  <a:cubicBezTo>
                    <a:pt x="2416" y="2565"/>
                    <a:pt x="2412" y="2574"/>
                    <a:pt x="2412" y="2584"/>
                  </a:cubicBezTo>
                  <a:cubicBezTo>
                    <a:pt x="2412" y="2594"/>
                    <a:pt x="2417" y="2604"/>
                    <a:pt x="2427" y="2613"/>
                  </a:cubicBezTo>
                  <a:cubicBezTo>
                    <a:pt x="2434" y="2621"/>
                    <a:pt x="2443" y="2626"/>
                    <a:pt x="2454" y="2629"/>
                  </a:cubicBezTo>
                  <a:cubicBezTo>
                    <a:pt x="2464" y="2632"/>
                    <a:pt x="2477" y="2633"/>
                    <a:pt x="2492" y="2632"/>
                  </a:cubicBezTo>
                  <a:lnTo>
                    <a:pt x="2526" y="2598"/>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77" name="Freeform 124"/>
            <p:cNvSpPr>
              <a:spLocks noEditPoints="1"/>
            </p:cNvSpPr>
            <p:nvPr/>
          </p:nvSpPr>
          <p:spPr bwMode="auto">
            <a:xfrm>
              <a:off x="1414" y="2170"/>
              <a:ext cx="102" cy="102"/>
            </a:xfrm>
            <a:custGeom>
              <a:avLst/>
              <a:gdLst>
                <a:gd name="T0" fmla="*/ 310 w 971"/>
                <a:gd name="T1" fmla="*/ 166 h 964"/>
                <a:gd name="T2" fmla="*/ 285 w 971"/>
                <a:gd name="T3" fmla="*/ 106 h 964"/>
                <a:gd name="T4" fmla="*/ 131 w 971"/>
                <a:gd name="T5" fmla="*/ 55 h 964"/>
                <a:gd name="T6" fmla="*/ 52 w 971"/>
                <a:gd name="T7" fmla="*/ 219 h 964"/>
                <a:gd name="T8" fmla="*/ 198 w 971"/>
                <a:gd name="T9" fmla="*/ 223 h 964"/>
                <a:gd name="T10" fmla="*/ 157 w 971"/>
                <a:gd name="T11" fmla="*/ 146 h 964"/>
                <a:gd name="T12" fmla="*/ 242 w 971"/>
                <a:gd name="T13" fmla="*/ 218 h 964"/>
                <a:gd name="T14" fmla="*/ 241 w 971"/>
                <a:gd name="T15" fmla="*/ 241 h 964"/>
                <a:gd name="T16" fmla="*/ 112 w 971"/>
                <a:gd name="T17" fmla="*/ 326 h 964"/>
                <a:gd name="T18" fmla="*/ 12 w 971"/>
                <a:gd name="T19" fmla="*/ 228 h 964"/>
                <a:gd name="T20" fmla="*/ 112 w 971"/>
                <a:gd name="T21" fmla="*/ 15 h 964"/>
                <a:gd name="T22" fmla="*/ 310 w 971"/>
                <a:gd name="T23" fmla="*/ 77 h 964"/>
                <a:gd name="T24" fmla="*/ 334 w 971"/>
                <a:gd name="T25" fmla="*/ 147 h 964"/>
                <a:gd name="T26" fmla="*/ 293 w 971"/>
                <a:gd name="T27" fmla="*/ 520 h 964"/>
                <a:gd name="T28" fmla="*/ 278 w 971"/>
                <a:gd name="T29" fmla="*/ 496 h 964"/>
                <a:gd name="T30" fmla="*/ 201 w 971"/>
                <a:gd name="T31" fmla="*/ 427 h 964"/>
                <a:gd name="T32" fmla="*/ 243 w 971"/>
                <a:gd name="T33" fmla="*/ 331 h 964"/>
                <a:gd name="T34" fmla="*/ 368 w 971"/>
                <a:gd name="T35" fmla="*/ 398 h 964"/>
                <a:gd name="T36" fmla="*/ 396 w 971"/>
                <a:gd name="T37" fmla="*/ 331 h 964"/>
                <a:gd name="T38" fmla="*/ 323 w 971"/>
                <a:gd name="T39" fmla="*/ 281 h 964"/>
                <a:gd name="T40" fmla="*/ 315 w 971"/>
                <a:gd name="T41" fmla="*/ 265 h 964"/>
                <a:gd name="T42" fmla="*/ 348 w 971"/>
                <a:gd name="T43" fmla="*/ 254 h 964"/>
                <a:gd name="T44" fmla="*/ 433 w 971"/>
                <a:gd name="T45" fmla="*/ 324 h 964"/>
                <a:gd name="T46" fmla="*/ 303 w 971"/>
                <a:gd name="T47" fmla="*/ 521 h 964"/>
                <a:gd name="T48" fmla="*/ 279 w 971"/>
                <a:gd name="T49" fmla="*/ 367 h 964"/>
                <a:gd name="T50" fmla="*/ 248 w 971"/>
                <a:gd name="T51" fmla="*/ 435 h 964"/>
                <a:gd name="T52" fmla="*/ 501 w 971"/>
                <a:gd name="T53" fmla="*/ 718 h 964"/>
                <a:gd name="T54" fmla="*/ 483 w 971"/>
                <a:gd name="T55" fmla="*/ 711 h 964"/>
                <a:gd name="T56" fmla="*/ 475 w 971"/>
                <a:gd name="T57" fmla="*/ 692 h 964"/>
                <a:gd name="T58" fmla="*/ 389 w 971"/>
                <a:gd name="T59" fmla="*/ 608 h 964"/>
                <a:gd name="T60" fmla="*/ 474 w 971"/>
                <a:gd name="T61" fmla="*/ 461 h 964"/>
                <a:gd name="T62" fmla="*/ 610 w 971"/>
                <a:gd name="T63" fmla="*/ 505 h 964"/>
                <a:gd name="T64" fmla="*/ 714 w 971"/>
                <a:gd name="T65" fmla="*/ 452 h 964"/>
                <a:gd name="T66" fmla="*/ 738 w 971"/>
                <a:gd name="T67" fmla="*/ 475 h 964"/>
                <a:gd name="T68" fmla="*/ 584 w 971"/>
                <a:gd name="T69" fmla="*/ 577 h 964"/>
                <a:gd name="T70" fmla="*/ 517 w 971"/>
                <a:gd name="T71" fmla="*/ 489 h 964"/>
                <a:gd name="T72" fmla="*/ 430 w 971"/>
                <a:gd name="T73" fmla="*/ 573 h 964"/>
                <a:gd name="T74" fmla="*/ 471 w 971"/>
                <a:gd name="T75" fmla="*/ 640 h 964"/>
                <a:gd name="T76" fmla="*/ 677 w 971"/>
                <a:gd name="T77" fmla="*/ 893 h 964"/>
                <a:gd name="T78" fmla="*/ 656 w 971"/>
                <a:gd name="T79" fmla="*/ 884 h 964"/>
                <a:gd name="T80" fmla="*/ 642 w 971"/>
                <a:gd name="T81" fmla="*/ 859 h 964"/>
                <a:gd name="T82" fmla="*/ 568 w 971"/>
                <a:gd name="T83" fmla="*/ 793 h 964"/>
                <a:gd name="T84" fmla="*/ 545 w 971"/>
                <a:gd name="T85" fmla="*/ 770 h 964"/>
                <a:gd name="T86" fmla="*/ 785 w 971"/>
                <a:gd name="T87" fmla="*/ 525 h 964"/>
                <a:gd name="T88" fmla="*/ 809 w 971"/>
                <a:gd name="T89" fmla="*/ 543 h 964"/>
                <a:gd name="T90" fmla="*/ 667 w 971"/>
                <a:gd name="T91" fmla="*/ 700 h 964"/>
                <a:gd name="T92" fmla="*/ 811 w 971"/>
                <a:gd name="T93" fmla="*/ 700 h 964"/>
                <a:gd name="T94" fmla="*/ 831 w 971"/>
                <a:gd name="T95" fmla="*/ 724 h 964"/>
                <a:gd name="T96" fmla="*/ 700 w 971"/>
                <a:gd name="T97" fmla="*/ 732 h 964"/>
                <a:gd name="T98" fmla="*/ 745 w 971"/>
                <a:gd name="T99" fmla="*/ 962 h 964"/>
                <a:gd name="T100" fmla="*/ 725 w 971"/>
                <a:gd name="T101" fmla="*/ 952 h 964"/>
                <a:gd name="T102" fmla="*/ 716 w 971"/>
                <a:gd name="T103" fmla="*/ 933 h 964"/>
                <a:gd name="T104" fmla="*/ 887 w 971"/>
                <a:gd name="T105" fmla="*/ 776 h 964"/>
                <a:gd name="T106" fmla="*/ 905 w 971"/>
                <a:gd name="T107" fmla="*/ 800 h 964"/>
                <a:gd name="T108" fmla="*/ 943 w 971"/>
                <a:gd name="T109" fmla="*/ 762 h 964"/>
                <a:gd name="T110" fmla="*/ 942 w 971"/>
                <a:gd name="T111" fmla="*/ 706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1" h="964">
                  <a:moveTo>
                    <a:pt x="326" y="156"/>
                  </a:moveTo>
                  <a:cubicBezTo>
                    <a:pt x="324" y="159"/>
                    <a:pt x="322" y="161"/>
                    <a:pt x="320" y="162"/>
                  </a:cubicBezTo>
                  <a:cubicBezTo>
                    <a:pt x="318" y="163"/>
                    <a:pt x="316" y="165"/>
                    <a:pt x="314" y="165"/>
                  </a:cubicBezTo>
                  <a:cubicBezTo>
                    <a:pt x="313" y="166"/>
                    <a:pt x="311" y="166"/>
                    <a:pt x="310" y="166"/>
                  </a:cubicBezTo>
                  <a:cubicBezTo>
                    <a:pt x="309" y="166"/>
                    <a:pt x="308" y="165"/>
                    <a:pt x="307" y="164"/>
                  </a:cubicBezTo>
                  <a:cubicBezTo>
                    <a:pt x="306" y="163"/>
                    <a:pt x="305" y="159"/>
                    <a:pt x="303" y="154"/>
                  </a:cubicBezTo>
                  <a:cubicBezTo>
                    <a:pt x="302" y="148"/>
                    <a:pt x="300" y="141"/>
                    <a:pt x="298" y="133"/>
                  </a:cubicBezTo>
                  <a:cubicBezTo>
                    <a:pt x="295" y="125"/>
                    <a:pt x="291" y="116"/>
                    <a:pt x="285" y="106"/>
                  </a:cubicBezTo>
                  <a:cubicBezTo>
                    <a:pt x="280" y="96"/>
                    <a:pt x="272" y="86"/>
                    <a:pt x="261" y="75"/>
                  </a:cubicBezTo>
                  <a:cubicBezTo>
                    <a:pt x="248" y="62"/>
                    <a:pt x="235" y="53"/>
                    <a:pt x="220" y="48"/>
                  </a:cubicBezTo>
                  <a:cubicBezTo>
                    <a:pt x="206" y="42"/>
                    <a:pt x="191" y="40"/>
                    <a:pt x="176" y="42"/>
                  </a:cubicBezTo>
                  <a:cubicBezTo>
                    <a:pt x="161" y="43"/>
                    <a:pt x="146" y="47"/>
                    <a:pt x="131" y="55"/>
                  </a:cubicBezTo>
                  <a:cubicBezTo>
                    <a:pt x="116" y="62"/>
                    <a:pt x="102" y="72"/>
                    <a:pt x="89" y="85"/>
                  </a:cubicBezTo>
                  <a:cubicBezTo>
                    <a:pt x="74" y="100"/>
                    <a:pt x="63" y="115"/>
                    <a:pt x="56" y="130"/>
                  </a:cubicBezTo>
                  <a:cubicBezTo>
                    <a:pt x="49" y="146"/>
                    <a:pt x="45" y="161"/>
                    <a:pt x="44" y="176"/>
                  </a:cubicBezTo>
                  <a:cubicBezTo>
                    <a:pt x="44" y="191"/>
                    <a:pt x="46" y="205"/>
                    <a:pt x="52" y="219"/>
                  </a:cubicBezTo>
                  <a:cubicBezTo>
                    <a:pt x="58" y="233"/>
                    <a:pt x="67" y="246"/>
                    <a:pt x="79" y="258"/>
                  </a:cubicBezTo>
                  <a:cubicBezTo>
                    <a:pt x="86" y="265"/>
                    <a:pt x="94" y="271"/>
                    <a:pt x="103" y="277"/>
                  </a:cubicBezTo>
                  <a:cubicBezTo>
                    <a:pt x="112" y="283"/>
                    <a:pt x="121" y="287"/>
                    <a:pt x="131" y="290"/>
                  </a:cubicBezTo>
                  <a:lnTo>
                    <a:pt x="198" y="223"/>
                  </a:lnTo>
                  <a:lnTo>
                    <a:pt x="145" y="170"/>
                  </a:lnTo>
                  <a:cubicBezTo>
                    <a:pt x="143" y="168"/>
                    <a:pt x="142" y="165"/>
                    <a:pt x="143" y="162"/>
                  </a:cubicBezTo>
                  <a:cubicBezTo>
                    <a:pt x="144" y="159"/>
                    <a:pt x="147" y="156"/>
                    <a:pt x="151" y="152"/>
                  </a:cubicBezTo>
                  <a:cubicBezTo>
                    <a:pt x="153" y="149"/>
                    <a:pt x="155" y="147"/>
                    <a:pt x="157" y="146"/>
                  </a:cubicBezTo>
                  <a:cubicBezTo>
                    <a:pt x="159" y="145"/>
                    <a:pt x="161" y="144"/>
                    <a:pt x="162" y="143"/>
                  </a:cubicBezTo>
                  <a:cubicBezTo>
                    <a:pt x="164" y="143"/>
                    <a:pt x="165" y="143"/>
                    <a:pt x="166" y="143"/>
                  </a:cubicBezTo>
                  <a:cubicBezTo>
                    <a:pt x="167" y="143"/>
                    <a:pt x="168" y="144"/>
                    <a:pt x="169" y="145"/>
                  </a:cubicBezTo>
                  <a:lnTo>
                    <a:pt x="242" y="218"/>
                  </a:lnTo>
                  <a:cubicBezTo>
                    <a:pt x="243" y="219"/>
                    <a:pt x="245" y="220"/>
                    <a:pt x="245" y="222"/>
                  </a:cubicBezTo>
                  <a:cubicBezTo>
                    <a:pt x="246" y="224"/>
                    <a:pt x="247" y="226"/>
                    <a:pt x="247" y="228"/>
                  </a:cubicBezTo>
                  <a:cubicBezTo>
                    <a:pt x="247" y="230"/>
                    <a:pt x="246" y="232"/>
                    <a:pt x="245" y="234"/>
                  </a:cubicBezTo>
                  <a:cubicBezTo>
                    <a:pt x="244" y="236"/>
                    <a:pt x="243" y="239"/>
                    <a:pt x="241" y="241"/>
                  </a:cubicBezTo>
                  <a:lnTo>
                    <a:pt x="153" y="328"/>
                  </a:lnTo>
                  <a:cubicBezTo>
                    <a:pt x="150" y="331"/>
                    <a:pt x="147" y="333"/>
                    <a:pt x="144" y="334"/>
                  </a:cubicBezTo>
                  <a:cubicBezTo>
                    <a:pt x="141" y="335"/>
                    <a:pt x="136" y="335"/>
                    <a:pt x="131" y="333"/>
                  </a:cubicBezTo>
                  <a:cubicBezTo>
                    <a:pt x="126" y="332"/>
                    <a:pt x="120" y="329"/>
                    <a:pt x="112" y="326"/>
                  </a:cubicBezTo>
                  <a:cubicBezTo>
                    <a:pt x="105" y="322"/>
                    <a:pt x="98" y="319"/>
                    <a:pt x="90" y="314"/>
                  </a:cubicBezTo>
                  <a:cubicBezTo>
                    <a:pt x="83" y="310"/>
                    <a:pt x="76" y="305"/>
                    <a:pt x="70" y="300"/>
                  </a:cubicBezTo>
                  <a:cubicBezTo>
                    <a:pt x="63" y="295"/>
                    <a:pt x="57" y="289"/>
                    <a:pt x="51" y="283"/>
                  </a:cubicBezTo>
                  <a:cubicBezTo>
                    <a:pt x="34" y="266"/>
                    <a:pt x="21" y="247"/>
                    <a:pt x="12" y="228"/>
                  </a:cubicBezTo>
                  <a:cubicBezTo>
                    <a:pt x="4" y="208"/>
                    <a:pt x="0" y="189"/>
                    <a:pt x="0" y="169"/>
                  </a:cubicBezTo>
                  <a:cubicBezTo>
                    <a:pt x="1" y="149"/>
                    <a:pt x="6" y="130"/>
                    <a:pt x="15" y="111"/>
                  </a:cubicBezTo>
                  <a:cubicBezTo>
                    <a:pt x="24" y="91"/>
                    <a:pt x="37" y="73"/>
                    <a:pt x="54" y="56"/>
                  </a:cubicBezTo>
                  <a:cubicBezTo>
                    <a:pt x="73" y="38"/>
                    <a:pt x="92" y="24"/>
                    <a:pt x="112" y="15"/>
                  </a:cubicBezTo>
                  <a:cubicBezTo>
                    <a:pt x="132" y="5"/>
                    <a:pt x="152" y="1"/>
                    <a:pt x="173" y="0"/>
                  </a:cubicBezTo>
                  <a:cubicBezTo>
                    <a:pt x="193" y="0"/>
                    <a:pt x="213" y="4"/>
                    <a:pt x="233" y="12"/>
                  </a:cubicBezTo>
                  <a:cubicBezTo>
                    <a:pt x="252" y="20"/>
                    <a:pt x="271" y="33"/>
                    <a:pt x="288" y="50"/>
                  </a:cubicBezTo>
                  <a:cubicBezTo>
                    <a:pt x="296" y="58"/>
                    <a:pt x="304" y="67"/>
                    <a:pt x="310" y="77"/>
                  </a:cubicBezTo>
                  <a:cubicBezTo>
                    <a:pt x="316" y="86"/>
                    <a:pt x="321" y="94"/>
                    <a:pt x="325" y="102"/>
                  </a:cubicBezTo>
                  <a:cubicBezTo>
                    <a:pt x="329" y="110"/>
                    <a:pt x="332" y="118"/>
                    <a:pt x="333" y="124"/>
                  </a:cubicBezTo>
                  <a:cubicBezTo>
                    <a:pt x="335" y="131"/>
                    <a:pt x="336" y="135"/>
                    <a:pt x="336" y="138"/>
                  </a:cubicBezTo>
                  <a:cubicBezTo>
                    <a:pt x="336" y="141"/>
                    <a:pt x="335" y="144"/>
                    <a:pt x="334" y="147"/>
                  </a:cubicBezTo>
                  <a:cubicBezTo>
                    <a:pt x="332" y="150"/>
                    <a:pt x="330" y="153"/>
                    <a:pt x="326" y="156"/>
                  </a:cubicBezTo>
                  <a:close/>
                  <a:moveTo>
                    <a:pt x="303" y="521"/>
                  </a:moveTo>
                  <a:cubicBezTo>
                    <a:pt x="302" y="522"/>
                    <a:pt x="301" y="523"/>
                    <a:pt x="299" y="523"/>
                  </a:cubicBezTo>
                  <a:cubicBezTo>
                    <a:pt x="297" y="522"/>
                    <a:pt x="295" y="522"/>
                    <a:pt x="293" y="520"/>
                  </a:cubicBezTo>
                  <a:cubicBezTo>
                    <a:pt x="291" y="519"/>
                    <a:pt x="289" y="517"/>
                    <a:pt x="286" y="514"/>
                  </a:cubicBezTo>
                  <a:cubicBezTo>
                    <a:pt x="283" y="510"/>
                    <a:pt x="280" y="508"/>
                    <a:pt x="279" y="506"/>
                  </a:cubicBezTo>
                  <a:cubicBezTo>
                    <a:pt x="277" y="503"/>
                    <a:pt x="277" y="502"/>
                    <a:pt x="276" y="500"/>
                  </a:cubicBezTo>
                  <a:cubicBezTo>
                    <a:pt x="276" y="499"/>
                    <a:pt x="277" y="497"/>
                    <a:pt x="278" y="496"/>
                  </a:cubicBezTo>
                  <a:lnTo>
                    <a:pt x="294" y="480"/>
                  </a:lnTo>
                  <a:cubicBezTo>
                    <a:pt x="280" y="480"/>
                    <a:pt x="266" y="478"/>
                    <a:pt x="254" y="474"/>
                  </a:cubicBezTo>
                  <a:cubicBezTo>
                    <a:pt x="241" y="469"/>
                    <a:pt x="230" y="462"/>
                    <a:pt x="220" y="453"/>
                  </a:cubicBezTo>
                  <a:cubicBezTo>
                    <a:pt x="212" y="445"/>
                    <a:pt x="206" y="436"/>
                    <a:pt x="201" y="427"/>
                  </a:cubicBezTo>
                  <a:cubicBezTo>
                    <a:pt x="196" y="418"/>
                    <a:pt x="194" y="409"/>
                    <a:pt x="193" y="400"/>
                  </a:cubicBezTo>
                  <a:cubicBezTo>
                    <a:pt x="192" y="391"/>
                    <a:pt x="194" y="382"/>
                    <a:pt x="197" y="374"/>
                  </a:cubicBezTo>
                  <a:cubicBezTo>
                    <a:pt x="201" y="365"/>
                    <a:pt x="206" y="357"/>
                    <a:pt x="214" y="349"/>
                  </a:cubicBezTo>
                  <a:cubicBezTo>
                    <a:pt x="223" y="340"/>
                    <a:pt x="232" y="334"/>
                    <a:pt x="243" y="331"/>
                  </a:cubicBezTo>
                  <a:cubicBezTo>
                    <a:pt x="253" y="329"/>
                    <a:pt x="263" y="328"/>
                    <a:pt x="275" y="331"/>
                  </a:cubicBezTo>
                  <a:cubicBezTo>
                    <a:pt x="286" y="333"/>
                    <a:pt x="298" y="338"/>
                    <a:pt x="310" y="346"/>
                  </a:cubicBezTo>
                  <a:cubicBezTo>
                    <a:pt x="322" y="354"/>
                    <a:pt x="334" y="364"/>
                    <a:pt x="346" y="376"/>
                  </a:cubicBezTo>
                  <a:lnTo>
                    <a:pt x="368" y="398"/>
                  </a:lnTo>
                  <a:lnTo>
                    <a:pt x="381" y="386"/>
                  </a:lnTo>
                  <a:cubicBezTo>
                    <a:pt x="387" y="380"/>
                    <a:pt x="391" y="374"/>
                    <a:pt x="395" y="368"/>
                  </a:cubicBezTo>
                  <a:cubicBezTo>
                    <a:pt x="398" y="362"/>
                    <a:pt x="400" y="356"/>
                    <a:pt x="400" y="349"/>
                  </a:cubicBezTo>
                  <a:cubicBezTo>
                    <a:pt x="401" y="343"/>
                    <a:pt x="399" y="337"/>
                    <a:pt x="396" y="331"/>
                  </a:cubicBezTo>
                  <a:cubicBezTo>
                    <a:pt x="393" y="325"/>
                    <a:pt x="388" y="319"/>
                    <a:pt x="382" y="312"/>
                  </a:cubicBezTo>
                  <a:cubicBezTo>
                    <a:pt x="374" y="305"/>
                    <a:pt x="367" y="299"/>
                    <a:pt x="360" y="295"/>
                  </a:cubicBezTo>
                  <a:cubicBezTo>
                    <a:pt x="352" y="291"/>
                    <a:pt x="345" y="288"/>
                    <a:pt x="339" y="286"/>
                  </a:cubicBezTo>
                  <a:cubicBezTo>
                    <a:pt x="333" y="283"/>
                    <a:pt x="327" y="282"/>
                    <a:pt x="323" y="281"/>
                  </a:cubicBezTo>
                  <a:cubicBezTo>
                    <a:pt x="318" y="279"/>
                    <a:pt x="315" y="278"/>
                    <a:pt x="314" y="277"/>
                  </a:cubicBezTo>
                  <a:cubicBezTo>
                    <a:pt x="313" y="276"/>
                    <a:pt x="312" y="275"/>
                    <a:pt x="312" y="273"/>
                  </a:cubicBezTo>
                  <a:cubicBezTo>
                    <a:pt x="312" y="272"/>
                    <a:pt x="312" y="271"/>
                    <a:pt x="312" y="270"/>
                  </a:cubicBezTo>
                  <a:cubicBezTo>
                    <a:pt x="312" y="268"/>
                    <a:pt x="313" y="266"/>
                    <a:pt x="315" y="265"/>
                  </a:cubicBezTo>
                  <a:cubicBezTo>
                    <a:pt x="316" y="263"/>
                    <a:pt x="317" y="261"/>
                    <a:pt x="319" y="260"/>
                  </a:cubicBezTo>
                  <a:cubicBezTo>
                    <a:pt x="322" y="257"/>
                    <a:pt x="325" y="254"/>
                    <a:pt x="327" y="253"/>
                  </a:cubicBezTo>
                  <a:cubicBezTo>
                    <a:pt x="329" y="252"/>
                    <a:pt x="331" y="251"/>
                    <a:pt x="335" y="251"/>
                  </a:cubicBezTo>
                  <a:cubicBezTo>
                    <a:pt x="338" y="251"/>
                    <a:pt x="342" y="252"/>
                    <a:pt x="348" y="254"/>
                  </a:cubicBezTo>
                  <a:cubicBezTo>
                    <a:pt x="354" y="256"/>
                    <a:pt x="360" y="259"/>
                    <a:pt x="367" y="262"/>
                  </a:cubicBezTo>
                  <a:cubicBezTo>
                    <a:pt x="374" y="265"/>
                    <a:pt x="381" y="269"/>
                    <a:pt x="388" y="274"/>
                  </a:cubicBezTo>
                  <a:cubicBezTo>
                    <a:pt x="395" y="279"/>
                    <a:pt x="402" y="285"/>
                    <a:pt x="408" y="291"/>
                  </a:cubicBezTo>
                  <a:cubicBezTo>
                    <a:pt x="419" y="302"/>
                    <a:pt x="428" y="313"/>
                    <a:pt x="433" y="324"/>
                  </a:cubicBezTo>
                  <a:cubicBezTo>
                    <a:pt x="439" y="334"/>
                    <a:pt x="441" y="345"/>
                    <a:pt x="441" y="355"/>
                  </a:cubicBezTo>
                  <a:cubicBezTo>
                    <a:pt x="441" y="365"/>
                    <a:pt x="439" y="374"/>
                    <a:pt x="433" y="384"/>
                  </a:cubicBezTo>
                  <a:cubicBezTo>
                    <a:pt x="428" y="394"/>
                    <a:pt x="421" y="404"/>
                    <a:pt x="411" y="413"/>
                  </a:cubicBezTo>
                  <a:lnTo>
                    <a:pt x="303" y="521"/>
                  </a:lnTo>
                  <a:close/>
                  <a:moveTo>
                    <a:pt x="347" y="419"/>
                  </a:moveTo>
                  <a:lnTo>
                    <a:pt x="322" y="394"/>
                  </a:lnTo>
                  <a:cubicBezTo>
                    <a:pt x="314" y="386"/>
                    <a:pt x="307" y="380"/>
                    <a:pt x="299" y="375"/>
                  </a:cubicBezTo>
                  <a:cubicBezTo>
                    <a:pt x="292" y="371"/>
                    <a:pt x="285" y="368"/>
                    <a:pt x="279" y="367"/>
                  </a:cubicBezTo>
                  <a:cubicBezTo>
                    <a:pt x="272" y="365"/>
                    <a:pt x="266" y="366"/>
                    <a:pt x="261" y="368"/>
                  </a:cubicBezTo>
                  <a:cubicBezTo>
                    <a:pt x="255" y="370"/>
                    <a:pt x="250" y="373"/>
                    <a:pt x="245" y="378"/>
                  </a:cubicBezTo>
                  <a:cubicBezTo>
                    <a:pt x="237" y="386"/>
                    <a:pt x="233" y="395"/>
                    <a:pt x="233" y="405"/>
                  </a:cubicBezTo>
                  <a:cubicBezTo>
                    <a:pt x="233" y="415"/>
                    <a:pt x="238" y="425"/>
                    <a:pt x="248" y="435"/>
                  </a:cubicBezTo>
                  <a:cubicBezTo>
                    <a:pt x="255" y="442"/>
                    <a:pt x="265" y="448"/>
                    <a:pt x="275" y="450"/>
                  </a:cubicBezTo>
                  <a:cubicBezTo>
                    <a:pt x="285" y="453"/>
                    <a:pt x="298" y="454"/>
                    <a:pt x="313" y="453"/>
                  </a:cubicBezTo>
                  <a:lnTo>
                    <a:pt x="347" y="419"/>
                  </a:lnTo>
                  <a:close/>
                  <a:moveTo>
                    <a:pt x="501" y="718"/>
                  </a:moveTo>
                  <a:cubicBezTo>
                    <a:pt x="500" y="719"/>
                    <a:pt x="499" y="720"/>
                    <a:pt x="498" y="720"/>
                  </a:cubicBezTo>
                  <a:cubicBezTo>
                    <a:pt x="497" y="720"/>
                    <a:pt x="496" y="720"/>
                    <a:pt x="494" y="719"/>
                  </a:cubicBezTo>
                  <a:cubicBezTo>
                    <a:pt x="493" y="719"/>
                    <a:pt x="491" y="718"/>
                    <a:pt x="489" y="716"/>
                  </a:cubicBezTo>
                  <a:cubicBezTo>
                    <a:pt x="487" y="715"/>
                    <a:pt x="485" y="713"/>
                    <a:pt x="483" y="711"/>
                  </a:cubicBezTo>
                  <a:cubicBezTo>
                    <a:pt x="480" y="708"/>
                    <a:pt x="478" y="706"/>
                    <a:pt x="477" y="704"/>
                  </a:cubicBezTo>
                  <a:cubicBezTo>
                    <a:pt x="476" y="702"/>
                    <a:pt x="475" y="701"/>
                    <a:pt x="474" y="699"/>
                  </a:cubicBezTo>
                  <a:cubicBezTo>
                    <a:pt x="473" y="698"/>
                    <a:pt x="473" y="696"/>
                    <a:pt x="473" y="695"/>
                  </a:cubicBezTo>
                  <a:cubicBezTo>
                    <a:pt x="474" y="694"/>
                    <a:pt x="474" y="693"/>
                    <a:pt x="475" y="692"/>
                  </a:cubicBezTo>
                  <a:lnTo>
                    <a:pt x="496" y="671"/>
                  </a:lnTo>
                  <a:cubicBezTo>
                    <a:pt x="479" y="672"/>
                    <a:pt x="463" y="670"/>
                    <a:pt x="449" y="666"/>
                  </a:cubicBezTo>
                  <a:cubicBezTo>
                    <a:pt x="435" y="662"/>
                    <a:pt x="422" y="655"/>
                    <a:pt x="412" y="644"/>
                  </a:cubicBezTo>
                  <a:cubicBezTo>
                    <a:pt x="400" y="633"/>
                    <a:pt x="392" y="620"/>
                    <a:pt x="389" y="608"/>
                  </a:cubicBezTo>
                  <a:cubicBezTo>
                    <a:pt x="385" y="595"/>
                    <a:pt x="384" y="582"/>
                    <a:pt x="387" y="569"/>
                  </a:cubicBezTo>
                  <a:cubicBezTo>
                    <a:pt x="390" y="556"/>
                    <a:pt x="395" y="543"/>
                    <a:pt x="403" y="531"/>
                  </a:cubicBezTo>
                  <a:cubicBezTo>
                    <a:pt x="411" y="518"/>
                    <a:pt x="421" y="506"/>
                    <a:pt x="432" y="494"/>
                  </a:cubicBezTo>
                  <a:cubicBezTo>
                    <a:pt x="446" y="480"/>
                    <a:pt x="460" y="470"/>
                    <a:pt x="474" y="461"/>
                  </a:cubicBezTo>
                  <a:cubicBezTo>
                    <a:pt x="488" y="453"/>
                    <a:pt x="502" y="448"/>
                    <a:pt x="515" y="446"/>
                  </a:cubicBezTo>
                  <a:cubicBezTo>
                    <a:pt x="529" y="444"/>
                    <a:pt x="542" y="446"/>
                    <a:pt x="555" y="450"/>
                  </a:cubicBezTo>
                  <a:cubicBezTo>
                    <a:pt x="567" y="454"/>
                    <a:pt x="579" y="462"/>
                    <a:pt x="590" y="473"/>
                  </a:cubicBezTo>
                  <a:cubicBezTo>
                    <a:pt x="600" y="483"/>
                    <a:pt x="606" y="493"/>
                    <a:pt x="610" y="505"/>
                  </a:cubicBezTo>
                  <a:cubicBezTo>
                    <a:pt x="613" y="517"/>
                    <a:pt x="615" y="530"/>
                    <a:pt x="615" y="546"/>
                  </a:cubicBezTo>
                  <a:lnTo>
                    <a:pt x="707" y="453"/>
                  </a:lnTo>
                  <a:cubicBezTo>
                    <a:pt x="708" y="452"/>
                    <a:pt x="709" y="452"/>
                    <a:pt x="710" y="451"/>
                  </a:cubicBezTo>
                  <a:cubicBezTo>
                    <a:pt x="711" y="451"/>
                    <a:pt x="713" y="451"/>
                    <a:pt x="714" y="452"/>
                  </a:cubicBezTo>
                  <a:cubicBezTo>
                    <a:pt x="716" y="453"/>
                    <a:pt x="718" y="454"/>
                    <a:pt x="720" y="456"/>
                  </a:cubicBezTo>
                  <a:cubicBezTo>
                    <a:pt x="722" y="457"/>
                    <a:pt x="725" y="459"/>
                    <a:pt x="727" y="462"/>
                  </a:cubicBezTo>
                  <a:cubicBezTo>
                    <a:pt x="730" y="465"/>
                    <a:pt x="733" y="468"/>
                    <a:pt x="734" y="470"/>
                  </a:cubicBezTo>
                  <a:cubicBezTo>
                    <a:pt x="736" y="472"/>
                    <a:pt x="737" y="474"/>
                    <a:pt x="738" y="475"/>
                  </a:cubicBezTo>
                  <a:cubicBezTo>
                    <a:pt x="738" y="477"/>
                    <a:pt x="738" y="478"/>
                    <a:pt x="738" y="479"/>
                  </a:cubicBezTo>
                  <a:cubicBezTo>
                    <a:pt x="738" y="481"/>
                    <a:pt x="737" y="482"/>
                    <a:pt x="737" y="483"/>
                  </a:cubicBezTo>
                  <a:lnTo>
                    <a:pt x="501" y="718"/>
                  </a:lnTo>
                  <a:close/>
                  <a:moveTo>
                    <a:pt x="584" y="577"/>
                  </a:moveTo>
                  <a:cubicBezTo>
                    <a:pt x="586" y="559"/>
                    <a:pt x="585" y="544"/>
                    <a:pt x="583" y="532"/>
                  </a:cubicBezTo>
                  <a:cubicBezTo>
                    <a:pt x="581" y="519"/>
                    <a:pt x="576" y="509"/>
                    <a:pt x="568" y="501"/>
                  </a:cubicBezTo>
                  <a:cubicBezTo>
                    <a:pt x="560" y="493"/>
                    <a:pt x="552" y="489"/>
                    <a:pt x="544" y="487"/>
                  </a:cubicBezTo>
                  <a:cubicBezTo>
                    <a:pt x="535" y="486"/>
                    <a:pt x="526" y="486"/>
                    <a:pt x="517" y="489"/>
                  </a:cubicBezTo>
                  <a:cubicBezTo>
                    <a:pt x="508" y="491"/>
                    <a:pt x="499" y="495"/>
                    <a:pt x="490" y="501"/>
                  </a:cubicBezTo>
                  <a:cubicBezTo>
                    <a:pt x="481" y="507"/>
                    <a:pt x="473" y="514"/>
                    <a:pt x="466" y="521"/>
                  </a:cubicBezTo>
                  <a:cubicBezTo>
                    <a:pt x="458" y="529"/>
                    <a:pt x="451" y="538"/>
                    <a:pt x="444" y="547"/>
                  </a:cubicBezTo>
                  <a:cubicBezTo>
                    <a:pt x="438" y="555"/>
                    <a:pt x="433" y="564"/>
                    <a:pt x="430" y="573"/>
                  </a:cubicBezTo>
                  <a:cubicBezTo>
                    <a:pt x="427" y="582"/>
                    <a:pt x="427" y="591"/>
                    <a:pt x="428" y="600"/>
                  </a:cubicBezTo>
                  <a:cubicBezTo>
                    <a:pt x="430" y="609"/>
                    <a:pt x="434" y="617"/>
                    <a:pt x="442" y="624"/>
                  </a:cubicBezTo>
                  <a:cubicBezTo>
                    <a:pt x="446" y="628"/>
                    <a:pt x="450" y="631"/>
                    <a:pt x="455" y="634"/>
                  </a:cubicBezTo>
                  <a:cubicBezTo>
                    <a:pt x="459" y="637"/>
                    <a:pt x="465" y="638"/>
                    <a:pt x="471" y="640"/>
                  </a:cubicBezTo>
                  <a:cubicBezTo>
                    <a:pt x="477" y="641"/>
                    <a:pt x="484" y="642"/>
                    <a:pt x="492" y="642"/>
                  </a:cubicBezTo>
                  <a:cubicBezTo>
                    <a:pt x="500" y="642"/>
                    <a:pt x="510" y="642"/>
                    <a:pt x="520" y="640"/>
                  </a:cubicBezTo>
                  <a:lnTo>
                    <a:pt x="584" y="577"/>
                  </a:lnTo>
                  <a:close/>
                  <a:moveTo>
                    <a:pt x="677" y="893"/>
                  </a:moveTo>
                  <a:cubicBezTo>
                    <a:pt x="676" y="894"/>
                    <a:pt x="675" y="895"/>
                    <a:pt x="673" y="895"/>
                  </a:cubicBezTo>
                  <a:cubicBezTo>
                    <a:pt x="672" y="895"/>
                    <a:pt x="671" y="895"/>
                    <a:pt x="669" y="894"/>
                  </a:cubicBezTo>
                  <a:cubicBezTo>
                    <a:pt x="668" y="894"/>
                    <a:pt x="666" y="893"/>
                    <a:pt x="664" y="891"/>
                  </a:cubicBezTo>
                  <a:cubicBezTo>
                    <a:pt x="661" y="889"/>
                    <a:pt x="659" y="887"/>
                    <a:pt x="656" y="884"/>
                  </a:cubicBezTo>
                  <a:cubicBezTo>
                    <a:pt x="652" y="880"/>
                    <a:pt x="650" y="878"/>
                    <a:pt x="648" y="875"/>
                  </a:cubicBezTo>
                  <a:cubicBezTo>
                    <a:pt x="646" y="873"/>
                    <a:pt x="645" y="871"/>
                    <a:pt x="644" y="869"/>
                  </a:cubicBezTo>
                  <a:cubicBezTo>
                    <a:pt x="643" y="867"/>
                    <a:pt x="642" y="866"/>
                    <a:pt x="642" y="864"/>
                  </a:cubicBezTo>
                  <a:cubicBezTo>
                    <a:pt x="642" y="862"/>
                    <a:pt x="642" y="861"/>
                    <a:pt x="642" y="859"/>
                  </a:cubicBezTo>
                  <a:lnTo>
                    <a:pt x="663" y="704"/>
                  </a:lnTo>
                  <a:lnTo>
                    <a:pt x="575" y="792"/>
                  </a:lnTo>
                  <a:cubicBezTo>
                    <a:pt x="574" y="793"/>
                    <a:pt x="573" y="793"/>
                    <a:pt x="572" y="794"/>
                  </a:cubicBezTo>
                  <a:cubicBezTo>
                    <a:pt x="571" y="794"/>
                    <a:pt x="569" y="794"/>
                    <a:pt x="568" y="793"/>
                  </a:cubicBezTo>
                  <a:cubicBezTo>
                    <a:pt x="566" y="792"/>
                    <a:pt x="565" y="791"/>
                    <a:pt x="562" y="790"/>
                  </a:cubicBezTo>
                  <a:cubicBezTo>
                    <a:pt x="560" y="788"/>
                    <a:pt x="558" y="786"/>
                    <a:pt x="555" y="783"/>
                  </a:cubicBezTo>
                  <a:cubicBezTo>
                    <a:pt x="552" y="780"/>
                    <a:pt x="550" y="777"/>
                    <a:pt x="548" y="775"/>
                  </a:cubicBezTo>
                  <a:cubicBezTo>
                    <a:pt x="547" y="773"/>
                    <a:pt x="545" y="771"/>
                    <a:pt x="545" y="770"/>
                  </a:cubicBezTo>
                  <a:cubicBezTo>
                    <a:pt x="544" y="768"/>
                    <a:pt x="544" y="767"/>
                    <a:pt x="544" y="766"/>
                  </a:cubicBezTo>
                  <a:cubicBezTo>
                    <a:pt x="544" y="765"/>
                    <a:pt x="545" y="764"/>
                    <a:pt x="546" y="763"/>
                  </a:cubicBezTo>
                  <a:lnTo>
                    <a:pt x="782" y="527"/>
                  </a:lnTo>
                  <a:cubicBezTo>
                    <a:pt x="783" y="526"/>
                    <a:pt x="784" y="525"/>
                    <a:pt x="785" y="525"/>
                  </a:cubicBezTo>
                  <a:cubicBezTo>
                    <a:pt x="786" y="524"/>
                    <a:pt x="788" y="525"/>
                    <a:pt x="789" y="525"/>
                  </a:cubicBezTo>
                  <a:cubicBezTo>
                    <a:pt x="791" y="526"/>
                    <a:pt x="793" y="527"/>
                    <a:pt x="795" y="529"/>
                  </a:cubicBezTo>
                  <a:cubicBezTo>
                    <a:pt x="797" y="530"/>
                    <a:pt x="799" y="533"/>
                    <a:pt x="802" y="535"/>
                  </a:cubicBezTo>
                  <a:cubicBezTo>
                    <a:pt x="805" y="538"/>
                    <a:pt x="807" y="541"/>
                    <a:pt x="809" y="543"/>
                  </a:cubicBezTo>
                  <a:cubicBezTo>
                    <a:pt x="811" y="545"/>
                    <a:pt x="812" y="547"/>
                    <a:pt x="812" y="549"/>
                  </a:cubicBezTo>
                  <a:cubicBezTo>
                    <a:pt x="813" y="550"/>
                    <a:pt x="813" y="551"/>
                    <a:pt x="813" y="553"/>
                  </a:cubicBezTo>
                  <a:cubicBezTo>
                    <a:pt x="813" y="554"/>
                    <a:pt x="812" y="555"/>
                    <a:pt x="811" y="556"/>
                  </a:cubicBezTo>
                  <a:lnTo>
                    <a:pt x="667" y="700"/>
                  </a:lnTo>
                  <a:lnTo>
                    <a:pt x="794" y="694"/>
                  </a:lnTo>
                  <a:cubicBezTo>
                    <a:pt x="796" y="693"/>
                    <a:pt x="798" y="693"/>
                    <a:pt x="799" y="694"/>
                  </a:cubicBezTo>
                  <a:cubicBezTo>
                    <a:pt x="801" y="694"/>
                    <a:pt x="803" y="695"/>
                    <a:pt x="805" y="696"/>
                  </a:cubicBezTo>
                  <a:cubicBezTo>
                    <a:pt x="807" y="697"/>
                    <a:pt x="809" y="698"/>
                    <a:pt x="811" y="700"/>
                  </a:cubicBezTo>
                  <a:cubicBezTo>
                    <a:pt x="814" y="702"/>
                    <a:pt x="816" y="704"/>
                    <a:pt x="819" y="707"/>
                  </a:cubicBezTo>
                  <a:cubicBezTo>
                    <a:pt x="822" y="710"/>
                    <a:pt x="824" y="712"/>
                    <a:pt x="826" y="714"/>
                  </a:cubicBezTo>
                  <a:cubicBezTo>
                    <a:pt x="828" y="717"/>
                    <a:pt x="829" y="719"/>
                    <a:pt x="830" y="720"/>
                  </a:cubicBezTo>
                  <a:cubicBezTo>
                    <a:pt x="831" y="722"/>
                    <a:pt x="831" y="723"/>
                    <a:pt x="831" y="724"/>
                  </a:cubicBezTo>
                  <a:cubicBezTo>
                    <a:pt x="831" y="726"/>
                    <a:pt x="830" y="727"/>
                    <a:pt x="829" y="728"/>
                  </a:cubicBezTo>
                  <a:cubicBezTo>
                    <a:pt x="828" y="729"/>
                    <a:pt x="826" y="730"/>
                    <a:pt x="824" y="731"/>
                  </a:cubicBezTo>
                  <a:cubicBezTo>
                    <a:pt x="822" y="732"/>
                    <a:pt x="819" y="732"/>
                    <a:pt x="815" y="732"/>
                  </a:cubicBezTo>
                  <a:lnTo>
                    <a:pt x="700" y="732"/>
                  </a:lnTo>
                  <a:lnTo>
                    <a:pt x="681" y="881"/>
                  </a:lnTo>
                  <a:cubicBezTo>
                    <a:pt x="680" y="884"/>
                    <a:pt x="680" y="887"/>
                    <a:pt x="679" y="889"/>
                  </a:cubicBezTo>
                  <a:cubicBezTo>
                    <a:pt x="679" y="891"/>
                    <a:pt x="678" y="892"/>
                    <a:pt x="677" y="893"/>
                  </a:cubicBezTo>
                  <a:close/>
                  <a:moveTo>
                    <a:pt x="745" y="962"/>
                  </a:moveTo>
                  <a:cubicBezTo>
                    <a:pt x="744" y="963"/>
                    <a:pt x="743" y="963"/>
                    <a:pt x="742" y="963"/>
                  </a:cubicBezTo>
                  <a:cubicBezTo>
                    <a:pt x="741" y="964"/>
                    <a:pt x="739" y="963"/>
                    <a:pt x="738" y="963"/>
                  </a:cubicBezTo>
                  <a:cubicBezTo>
                    <a:pt x="736" y="962"/>
                    <a:pt x="734" y="961"/>
                    <a:pt x="732" y="959"/>
                  </a:cubicBezTo>
                  <a:cubicBezTo>
                    <a:pt x="730" y="958"/>
                    <a:pt x="728" y="955"/>
                    <a:pt x="725" y="952"/>
                  </a:cubicBezTo>
                  <a:cubicBezTo>
                    <a:pt x="722" y="950"/>
                    <a:pt x="720" y="947"/>
                    <a:pt x="718" y="945"/>
                  </a:cubicBezTo>
                  <a:cubicBezTo>
                    <a:pt x="716" y="943"/>
                    <a:pt x="715" y="941"/>
                    <a:pt x="714" y="939"/>
                  </a:cubicBezTo>
                  <a:cubicBezTo>
                    <a:pt x="714" y="938"/>
                    <a:pt x="714" y="937"/>
                    <a:pt x="714" y="936"/>
                  </a:cubicBezTo>
                  <a:cubicBezTo>
                    <a:pt x="714" y="934"/>
                    <a:pt x="715" y="933"/>
                    <a:pt x="716" y="933"/>
                  </a:cubicBezTo>
                  <a:lnTo>
                    <a:pt x="875" y="773"/>
                  </a:lnTo>
                  <a:cubicBezTo>
                    <a:pt x="875" y="773"/>
                    <a:pt x="876" y="772"/>
                    <a:pt x="878" y="772"/>
                  </a:cubicBezTo>
                  <a:cubicBezTo>
                    <a:pt x="879" y="771"/>
                    <a:pt x="880" y="772"/>
                    <a:pt x="882" y="772"/>
                  </a:cubicBezTo>
                  <a:cubicBezTo>
                    <a:pt x="883" y="773"/>
                    <a:pt x="885" y="774"/>
                    <a:pt x="887" y="776"/>
                  </a:cubicBezTo>
                  <a:cubicBezTo>
                    <a:pt x="889" y="777"/>
                    <a:pt x="892" y="780"/>
                    <a:pt x="895" y="782"/>
                  </a:cubicBezTo>
                  <a:cubicBezTo>
                    <a:pt x="898" y="785"/>
                    <a:pt x="900" y="788"/>
                    <a:pt x="902" y="790"/>
                  </a:cubicBezTo>
                  <a:cubicBezTo>
                    <a:pt x="903" y="792"/>
                    <a:pt x="904" y="794"/>
                    <a:pt x="905" y="796"/>
                  </a:cubicBezTo>
                  <a:cubicBezTo>
                    <a:pt x="905" y="797"/>
                    <a:pt x="906" y="798"/>
                    <a:pt x="905" y="800"/>
                  </a:cubicBezTo>
                  <a:cubicBezTo>
                    <a:pt x="905" y="801"/>
                    <a:pt x="905" y="802"/>
                    <a:pt x="904" y="803"/>
                  </a:cubicBezTo>
                  <a:lnTo>
                    <a:pt x="745" y="962"/>
                  </a:lnTo>
                  <a:close/>
                  <a:moveTo>
                    <a:pt x="961" y="752"/>
                  </a:moveTo>
                  <a:cubicBezTo>
                    <a:pt x="954" y="759"/>
                    <a:pt x="948" y="762"/>
                    <a:pt x="943" y="762"/>
                  </a:cubicBezTo>
                  <a:cubicBezTo>
                    <a:pt x="938" y="762"/>
                    <a:pt x="932" y="759"/>
                    <a:pt x="925" y="752"/>
                  </a:cubicBezTo>
                  <a:cubicBezTo>
                    <a:pt x="918" y="745"/>
                    <a:pt x="915" y="739"/>
                    <a:pt x="915" y="734"/>
                  </a:cubicBezTo>
                  <a:cubicBezTo>
                    <a:pt x="914" y="729"/>
                    <a:pt x="918" y="723"/>
                    <a:pt x="925" y="716"/>
                  </a:cubicBezTo>
                  <a:cubicBezTo>
                    <a:pt x="931" y="710"/>
                    <a:pt x="937" y="706"/>
                    <a:pt x="942" y="706"/>
                  </a:cubicBezTo>
                  <a:cubicBezTo>
                    <a:pt x="947" y="707"/>
                    <a:pt x="953" y="710"/>
                    <a:pt x="960" y="717"/>
                  </a:cubicBezTo>
                  <a:cubicBezTo>
                    <a:pt x="967" y="724"/>
                    <a:pt x="971" y="730"/>
                    <a:pt x="971" y="735"/>
                  </a:cubicBezTo>
                  <a:cubicBezTo>
                    <a:pt x="971" y="740"/>
                    <a:pt x="968" y="745"/>
                    <a:pt x="961" y="752"/>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78" name="Freeform 125"/>
            <p:cNvSpPr>
              <a:spLocks noEditPoints="1"/>
            </p:cNvSpPr>
            <p:nvPr/>
          </p:nvSpPr>
          <p:spPr bwMode="auto">
            <a:xfrm>
              <a:off x="1095" y="1663"/>
              <a:ext cx="267" cy="273"/>
            </a:xfrm>
            <a:custGeom>
              <a:avLst/>
              <a:gdLst>
                <a:gd name="T0" fmla="*/ 25 w 2535"/>
                <a:gd name="T1" fmla="*/ 249 h 2589"/>
                <a:gd name="T2" fmla="*/ 238 w 2535"/>
                <a:gd name="T3" fmla="*/ 6 h 2589"/>
                <a:gd name="T4" fmla="*/ 283 w 2535"/>
                <a:gd name="T5" fmla="*/ 143 h 2589"/>
                <a:gd name="T6" fmla="*/ 243 w 2535"/>
                <a:gd name="T7" fmla="*/ 187 h 2589"/>
                <a:gd name="T8" fmla="*/ 226 w 2535"/>
                <a:gd name="T9" fmla="*/ 358 h 2589"/>
                <a:gd name="T10" fmla="*/ 420 w 2535"/>
                <a:gd name="T11" fmla="*/ 473 h 2589"/>
                <a:gd name="T12" fmla="*/ 290 w 2535"/>
                <a:gd name="T13" fmla="*/ 346 h 2589"/>
                <a:gd name="T14" fmla="*/ 481 w 2535"/>
                <a:gd name="T15" fmla="*/ 681 h 2589"/>
                <a:gd name="T16" fmla="*/ 377 w 2535"/>
                <a:gd name="T17" fmla="*/ 560 h 2589"/>
                <a:gd name="T18" fmla="*/ 525 w 2535"/>
                <a:gd name="T19" fmla="*/ 419 h 2589"/>
                <a:gd name="T20" fmla="*/ 611 w 2535"/>
                <a:gd name="T21" fmla="*/ 541 h 2589"/>
                <a:gd name="T22" fmla="*/ 481 w 2535"/>
                <a:gd name="T23" fmla="*/ 681 h 2589"/>
                <a:gd name="T24" fmla="*/ 626 w 2535"/>
                <a:gd name="T25" fmla="*/ 843 h 2589"/>
                <a:gd name="T26" fmla="*/ 545 w 2535"/>
                <a:gd name="T27" fmla="*/ 766 h 2589"/>
                <a:gd name="T28" fmla="*/ 681 w 2535"/>
                <a:gd name="T29" fmla="*/ 574 h 2589"/>
                <a:gd name="T30" fmla="*/ 732 w 2535"/>
                <a:gd name="T31" fmla="*/ 628 h 2589"/>
                <a:gd name="T32" fmla="*/ 821 w 2535"/>
                <a:gd name="T33" fmla="*/ 1047 h 2589"/>
                <a:gd name="T34" fmla="*/ 720 w 2535"/>
                <a:gd name="T35" fmla="*/ 927 h 2589"/>
                <a:gd name="T36" fmla="*/ 922 w 2535"/>
                <a:gd name="T37" fmla="*/ 894 h 2589"/>
                <a:gd name="T38" fmla="*/ 839 w 2535"/>
                <a:gd name="T39" fmla="*/ 796 h 2589"/>
                <a:gd name="T40" fmla="*/ 960 w 2535"/>
                <a:gd name="T41" fmla="*/ 850 h 2589"/>
                <a:gd name="T42" fmla="*/ 788 w 2535"/>
                <a:gd name="T43" fmla="*/ 894 h 2589"/>
                <a:gd name="T44" fmla="*/ 1011 w 2535"/>
                <a:gd name="T45" fmla="*/ 1235 h 2589"/>
                <a:gd name="T46" fmla="*/ 1110 w 2535"/>
                <a:gd name="T47" fmla="*/ 1067 h 2589"/>
                <a:gd name="T48" fmla="*/ 890 w 2535"/>
                <a:gd name="T49" fmla="*/ 1117 h 2589"/>
                <a:gd name="T50" fmla="*/ 1059 w 2535"/>
                <a:gd name="T51" fmla="*/ 946 h 2589"/>
                <a:gd name="T52" fmla="*/ 1152 w 2535"/>
                <a:gd name="T53" fmla="*/ 1074 h 2589"/>
                <a:gd name="T54" fmla="*/ 1235 w 2535"/>
                <a:gd name="T55" fmla="*/ 966 h 2589"/>
                <a:gd name="T56" fmla="*/ 1132 w 2535"/>
                <a:gd name="T57" fmla="*/ 970 h 2589"/>
                <a:gd name="T58" fmla="*/ 1468 w 2535"/>
                <a:gd name="T59" fmla="*/ 1287 h 2589"/>
                <a:gd name="T60" fmla="*/ 1368 w 2535"/>
                <a:gd name="T61" fmla="*/ 1387 h 2589"/>
                <a:gd name="T62" fmla="*/ 1158 w 2535"/>
                <a:gd name="T63" fmla="*/ 1385 h 2589"/>
                <a:gd name="T64" fmla="*/ 1496 w 2535"/>
                <a:gd name="T65" fmla="*/ 1269 h 2589"/>
                <a:gd name="T66" fmla="*/ 1540 w 2535"/>
                <a:gd name="T67" fmla="*/ 1481 h 2589"/>
                <a:gd name="T68" fmla="*/ 1344 w 2535"/>
                <a:gd name="T69" fmla="*/ 1568 h 2589"/>
                <a:gd name="T70" fmla="*/ 1488 w 2535"/>
                <a:gd name="T71" fmla="*/ 1378 h 2589"/>
                <a:gd name="T72" fmla="*/ 1532 w 2535"/>
                <a:gd name="T73" fmla="*/ 1427 h 2589"/>
                <a:gd name="T74" fmla="*/ 1570 w 2535"/>
                <a:gd name="T75" fmla="*/ 1476 h 2589"/>
                <a:gd name="T76" fmla="*/ 1557 w 2535"/>
                <a:gd name="T77" fmla="*/ 1742 h 2589"/>
                <a:gd name="T78" fmla="*/ 1572 w 2535"/>
                <a:gd name="T79" fmla="*/ 1608 h 2589"/>
                <a:gd name="T80" fmla="*/ 1602 w 2535"/>
                <a:gd name="T81" fmla="*/ 1548 h 2589"/>
                <a:gd name="T82" fmla="*/ 1611 w 2535"/>
                <a:gd name="T83" fmla="*/ 1516 h 2589"/>
                <a:gd name="T84" fmla="*/ 1610 w 2535"/>
                <a:gd name="T85" fmla="*/ 1681 h 2589"/>
                <a:gd name="T86" fmla="*/ 1576 w 2535"/>
                <a:gd name="T87" fmla="*/ 1715 h 2589"/>
                <a:gd name="T88" fmla="*/ 1722 w 2535"/>
                <a:gd name="T89" fmla="*/ 1943 h 2589"/>
                <a:gd name="T90" fmla="*/ 1645 w 2535"/>
                <a:gd name="T91" fmla="*/ 1861 h 2589"/>
                <a:gd name="T92" fmla="*/ 1775 w 2535"/>
                <a:gd name="T93" fmla="*/ 1673 h 2589"/>
                <a:gd name="T94" fmla="*/ 1780 w 2535"/>
                <a:gd name="T95" fmla="*/ 1721 h 2589"/>
                <a:gd name="T96" fmla="*/ 1997 w 2535"/>
                <a:gd name="T97" fmla="*/ 2122 h 2589"/>
                <a:gd name="T98" fmla="*/ 1960 w 2535"/>
                <a:gd name="T99" fmla="*/ 1892 h 2589"/>
                <a:gd name="T100" fmla="*/ 2040 w 2535"/>
                <a:gd name="T101" fmla="*/ 2008 h 2589"/>
                <a:gd name="T102" fmla="*/ 1875 w 2535"/>
                <a:gd name="T103" fmla="*/ 2047 h 2589"/>
                <a:gd name="T104" fmla="*/ 2176 w 2535"/>
                <a:gd name="T105" fmla="*/ 2390 h 2589"/>
                <a:gd name="T106" fmla="*/ 2219 w 2535"/>
                <a:gd name="T107" fmla="*/ 2202 h 2589"/>
                <a:gd name="T108" fmla="*/ 2032 w 2535"/>
                <a:gd name="T109" fmla="*/ 2256 h 2589"/>
                <a:gd name="T110" fmla="*/ 2162 w 2535"/>
                <a:gd name="T111" fmla="*/ 2049 h 2589"/>
                <a:gd name="T112" fmla="*/ 2251 w 2535"/>
                <a:gd name="T113" fmla="*/ 2144 h 2589"/>
                <a:gd name="T114" fmla="*/ 2182 w 2535"/>
                <a:gd name="T115" fmla="*/ 2346 h 2589"/>
                <a:gd name="T116" fmla="*/ 2385 w 2535"/>
                <a:gd name="T117" fmla="*/ 2277 h 2589"/>
                <a:gd name="T118" fmla="*/ 2297 w 2535"/>
                <a:gd name="T119" fmla="*/ 2429 h 2589"/>
                <a:gd name="T120" fmla="*/ 2490 w 2535"/>
                <a:gd name="T121" fmla="*/ 2544 h 2589"/>
                <a:gd name="T122" fmla="*/ 2360 w 2535"/>
                <a:gd name="T123" fmla="*/ 2416 h 2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5" h="2589">
                  <a:moveTo>
                    <a:pt x="299" y="201"/>
                  </a:moveTo>
                  <a:cubicBezTo>
                    <a:pt x="288" y="212"/>
                    <a:pt x="276" y="221"/>
                    <a:pt x="263" y="226"/>
                  </a:cubicBezTo>
                  <a:cubicBezTo>
                    <a:pt x="250" y="232"/>
                    <a:pt x="237" y="234"/>
                    <a:pt x="223" y="234"/>
                  </a:cubicBezTo>
                  <a:cubicBezTo>
                    <a:pt x="210" y="233"/>
                    <a:pt x="196" y="230"/>
                    <a:pt x="182" y="223"/>
                  </a:cubicBezTo>
                  <a:cubicBezTo>
                    <a:pt x="169" y="216"/>
                    <a:pt x="155" y="206"/>
                    <a:pt x="141" y="192"/>
                  </a:cubicBezTo>
                  <a:lnTo>
                    <a:pt x="115" y="166"/>
                  </a:lnTo>
                  <a:lnTo>
                    <a:pt x="32" y="248"/>
                  </a:lnTo>
                  <a:cubicBezTo>
                    <a:pt x="31" y="249"/>
                    <a:pt x="30" y="250"/>
                    <a:pt x="29" y="250"/>
                  </a:cubicBezTo>
                  <a:cubicBezTo>
                    <a:pt x="28" y="250"/>
                    <a:pt x="26" y="250"/>
                    <a:pt x="25" y="249"/>
                  </a:cubicBezTo>
                  <a:cubicBezTo>
                    <a:pt x="23" y="248"/>
                    <a:pt x="21" y="247"/>
                    <a:pt x="19" y="245"/>
                  </a:cubicBezTo>
                  <a:cubicBezTo>
                    <a:pt x="17" y="244"/>
                    <a:pt x="14" y="241"/>
                    <a:pt x="11" y="239"/>
                  </a:cubicBezTo>
                  <a:cubicBezTo>
                    <a:pt x="8" y="236"/>
                    <a:pt x="6" y="233"/>
                    <a:pt x="4" y="231"/>
                  </a:cubicBezTo>
                  <a:cubicBezTo>
                    <a:pt x="3" y="228"/>
                    <a:pt x="2" y="227"/>
                    <a:pt x="1" y="225"/>
                  </a:cubicBezTo>
                  <a:cubicBezTo>
                    <a:pt x="0" y="223"/>
                    <a:pt x="0" y="222"/>
                    <a:pt x="0" y="221"/>
                  </a:cubicBezTo>
                  <a:cubicBezTo>
                    <a:pt x="0" y="220"/>
                    <a:pt x="1" y="219"/>
                    <a:pt x="2" y="218"/>
                  </a:cubicBezTo>
                  <a:lnTo>
                    <a:pt x="213" y="7"/>
                  </a:lnTo>
                  <a:cubicBezTo>
                    <a:pt x="218" y="2"/>
                    <a:pt x="222" y="0"/>
                    <a:pt x="227" y="0"/>
                  </a:cubicBezTo>
                  <a:cubicBezTo>
                    <a:pt x="231" y="1"/>
                    <a:pt x="235" y="2"/>
                    <a:pt x="238" y="6"/>
                  </a:cubicBezTo>
                  <a:lnTo>
                    <a:pt x="287" y="54"/>
                  </a:lnTo>
                  <a:cubicBezTo>
                    <a:pt x="292" y="59"/>
                    <a:pt x="296" y="64"/>
                    <a:pt x="301" y="69"/>
                  </a:cubicBezTo>
                  <a:cubicBezTo>
                    <a:pt x="305" y="74"/>
                    <a:pt x="309" y="81"/>
                    <a:pt x="314" y="88"/>
                  </a:cubicBezTo>
                  <a:cubicBezTo>
                    <a:pt x="319" y="96"/>
                    <a:pt x="323" y="104"/>
                    <a:pt x="325" y="115"/>
                  </a:cubicBezTo>
                  <a:cubicBezTo>
                    <a:pt x="328" y="125"/>
                    <a:pt x="329" y="135"/>
                    <a:pt x="328" y="145"/>
                  </a:cubicBezTo>
                  <a:cubicBezTo>
                    <a:pt x="327" y="155"/>
                    <a:pt x="324" y="164"/>
                    <a:pt x="319" y="174"/>
                  </a:cubicBezTo>
                  <a:cubicBezTo>
                    <a:pt x="315" y="183"/>
                    <a:pt x="308" y="192"/>
                    <a:pt x="299" y="201"/>
                  </a:cubicBezTo>
                  <a:close/>
                  <a:moveTo>
                    <a:pt x="265" y="172"/>
                  </a:moveTo>
                  <a:cubicBezTo>
                    <a:pt x="274" y="162"/>
                    <a:pt x="280" y="153"/>
                    <a:pt x="283" y="143"/>
                  </a:cubicBezTo>
                  <a:cubicBezTo>
                    <a:pt x="286" y="133"/>
                    <a:pt x="286" y="124"/>
                    <a:pt x="284" y="116"/>
                  </a:cubicBezTo>
                  <a:cubicBezTo>
                    <a:pt x="282" y="108"/>
                    <a:pt x="279" y="101"/>
                    <a:pt x="274" y="94"/>
                  </a:cubicBezTo>
                  <a:cubicBezTo>
                    <a:pt x="269" y="88"/>
                    <a:pt x="264" y="82"/>
                    <a:pt x="259" y="77"/>
                  </a:cubicBezTo>
                  <a:lnTo>
                    <a:pt x="231" y="49"/>
                  </a:lnTo>
                  <a:lnTo>
                    <a:pt x="139" y="141"/>
                  </a:lnTo>
                  <a:lnTo>
                    <a:pt x="167" y="168"/>
                  </a:lnTo>
                  <a:cubicBezTo>
                    <a:pt x="176" y="177"/>
                    <a:pt x="185" y="184"/>
                    <a:pt x="193" y="188"/>
                  </a:cubicBezTo>
                  <a:cubicBezTo>
                    <a:pt x="202" y="191"/>
                    <a:pt x="210" y="193"/>
                    <a:pt x="218" y="193"/>
                  </a:cubicBezTo>
                  <a:cubicBezTo>
                    <a:pt x="227" y="193"/>
                    <a:pt x="235" y="191"/>
                    <a:pt x="243" y="187"/>
                  </a:cubicBezTo>
                  <a:cubicBezTo>
                    <a:pt x="251" y="184"/>
                    <a:pt x="258" y="178"/>
                    <a:pt x="265" y="172"/>
                  </a:cubicBezTo>
                  <a:close/>
                  <a:moveTo>
                    <a:pt x="420" y="473"/>
                  </a:moveTo>
                  <a:cubicBezTo>
                    <a:pt x="407" y="486"/>
                    <a:pt x="393" y="497"/>
                    <a:pt x="379" y="504"/>
                  </a:cubicBezTo>
                  <a:cubicBezTo>
                    <a:pt x="365" y="512"/>
                    <a:pt x="350" y="516"/>
                    <a:pt x="335" y="517"/>
                  </a:cubicBezTo>
                  <a:cubicBezTo>
                    <a:pt x="321" y="518"/>
                    <a:pt x="306" y="516"/>
                    <a:pt x="291" y="510"/>
                  </a:cubicBezTo>
                  <a:cubicBezTo>
                    <a:pt x="277" y="504"/>
                    <a:pt x="263" y="495"/>
                    <a:pt x="249" y="481"/>
                  </a:cubicBezTo>
                  <a:cubicBezTo>
                    <a:pt x="236" y="468"/>
                    <a:pt x="227" y="455"/>
                    <a:pt x="221" y="441"/>
                  </a:cubicBezTo>
                  <a:cubicBezTo>
                    <a:pt x="215" y="428"/>
                    <a:pt x="213" y="414"/>
                    <a:pt x="214" y="400"/>
                  </a:cubicBezTo>
                  <a:cubicBezTo>
                    <a:pt x="215" y="386"/>
                    <a:pt x="219" y="372"/>
                    <a:pt x="226" y="358"/>
                  </a:cubicBezTo>
                  <a:cubicBezTo>
                    <a:pt x="234" y="345"/>
                    <a:pt x="244" y="331"/>
                    <a:pt x="258" y="318"/>
                  </a:cubicBezTo>
                  <a:cubicBezTo>
                    <a:pt x="271" y="305"/>
                    <a:pt x="284" y="294"/>
                    <a:pt x="298" y="287"/>
                  </a:cubicBezTo>
                  <a:cubicBezTo>
                    <a:pt x="313" y="279"/>
                    <a:pt x="327" y="275"/>
                    <a:pt x="342" y="274"/>
                  </a:cubicBezTo>
                  <a:cubicBezTo>
                    <a:pt x="356" y="273"/>
                    <a:pt x="371" y="275"/>
                    <a:pt x="386" y="281"/>
                  </a:cubicBezTo>
                  <a:cubicBezTo>
                    <a:pt x="400" y="287"/>
                    <a:pt x="414" y="296"/>
                    <a:pt x="428" y="310"/>
                  </a:cubicBezTo>
                  <a:cubicBezTo>
                    <a:pt x="441" y="323"/>
                    <a:pt x="450" y="336"/>
                    <a:pt x="456" y="350"/>
                  </a:cubicBezTo>
                  <a:cubicBezTo>
                    <a:pt x="462" y="363"/>
                    <a:pt x="464" y="377"/>
                    <a:pt x="463" y="391"/>
                  </a:cubicBezTo>
                  <a:cubicBezTo>
                    <a:pt x="462" y="405"/>
                    <a:pt x="458" y="419"/>
                    <a:pt x="451" y="433"/>
                  </a:cubicBezTo>
                  <a:cubicBezTo>
                    <a:pt x="443" y="447"/>
                    <a:pt x="433" y="460"/>
                    <a:pt x="420" y="473"/>
                  </a:cubicBezTo>
                  <a:close/>
                  <a:moveTo>
                    <a:pt x="388" y="445"/>
                  </a:moveTo>
                  <a:cubicBezTo>
                    <a:pt x="396" y="437"/>
                    <a:pt x="404" y="428"/>
                    <a:pt x="410" y="418"/>
                  </a:cubicBezTo>
                  <a:cubicBezTo>
                    <a:pt x="416" y="409"/>
                    <a:pt x="420" y="400"/>
                    <a:pt x="422" y="390"/>
                  </a:cubicBezTo>
                  <a:cubicBezTo>
                    <a:pt x="424" y="381"/>
                    <a:pt x="424" y="371"/>
                    <a:pt x="421" y="362"/>
                  </a:cubicBezTo>
                  <a:cubicBezTo>
                    <a:pt x="418" y="352"/>
                    <a:pt x="411" y="342"/>
                    <a:pt x="402" y="333"/>
                  </a:cubicBezTo>
                  <a:cubicBezTo>
                    <a:pt x="393" y="324"/>
                    <a:pt x="384" y="318"/>
                    <a:pt x="375" y="315"/>
                  </a:cubicBezTo>
                  <a:cubicBezTo>
                    <a:pt x="366" y="312"/>
                    <a:pt x="356" y="311"/>
                    <a:pt x="347" y="313"/>
                  </a:cubicBezTo>
                  <a:cubicBezTo>
                    <a:pt x="337" y="314"/>
                    <a:pt x="327" y="318"/>
                    <a:pt x="318" y="324"/>
                  </a:cubicBezTo>
                  <a:cubicBezTo>
                    <a:pt x="308" y="329"/>
                    <a:pt x="299" y="337"/>
                    <a:pt x="290" y="346"/>
                  </a:cubicBezTo>
                  <a:cubicBezTo>
                    <a:pt x="281" y="355"/>
                    <a:pt x="274" y="364"/>
                    <a:pt x="268" y="373"/>
                  </a:cubicBezTo>
                  <a:cubicBezTo>
                    <a:pt x="262" y="382"/>
                    <a:pt x="257" y="391"/>
                    <a:pt x="256" y="401"/>
                  </a:cubicBezTo>
                  <a:cubicBezTo>
                    <a:pt x="254" y="410"/>
                    <a:pt x="254" y="420"/>
                    <a:pt x="257" y="430"/>
                  </a:cubicBezTo>
                  <a:cubicBezTo>
                    <a:pt x="260" y="439"/>
                    <a:pt x="266" y="449"/>
                    <a:pt x="275" y="458"/>
                  </a:cubicBezTo>
                  <a:cubicBezTo>
                    <a:pt x="284" y="467"/>
                    <a:pt x="293" y="473"/>
                    <a:pt x="302" y="476"/>
                  </a:cubicBezTo>
                  <a:cubicBezTo>
                    <a:pt x="312" y="479"/>
                    <a:pt x="321" y="480"/>
                    <a:pt x="331" y="478"/>
                  </a:cubicBezTo>
                  <a:cubicBezTo>
                    <a:pt x="340" y="477"/>
                    <a:pt x="350" y="473"/>
                    <a:pt x="360" y="468"/>
                  </a:cubicBezTo>
                  <a:cubicBezTo>
                    <a:pt x="369" y="462"/>
                    <a:pt x="378" y="454"/>
                    <a:pt x="388" y="445"/>
                  </a:cubicBezTo>
                  <a:close/>
                  <a:moveTo>
                    <a:pt x="481" y="681"/>
                  </a:moveTo>
                  <a:cubicBezTo>
                    <a:pt x="479" y="684"/>
                    <a:pt x="477" y="685"/>
                    <a:pt x="475" y="687"/>
                  </a:cubicBezTo>
                  <a:cubicBezTo>
                    <a:pt x="473" y="688"/>
                    <a:pt x="471" y="689"/>
                    <a:pt x="470" y="689"/>
                  </a:cubicBezTo>
                  <a:cubicBezTo>
                    <a:pt x="468" y="690"/>
                    <a:pt x="467" y="690"/>
                    <a:pt x="466" y="689"/>
                  </a:cubicBezTo>
                  <a:cubicBezTo>
                    <a:pt x="464" y="689"/>
                    <a:pt x="463" y="688"/>
                    <a:pt x="462" y="687"/>
                  </a:cubicBezTo>
                  <a:lnTo>
                    <a:pt x="364" y="589"/>
                  </a:lnTo>
                  <a:cubicBezTo>
                    <a:pt x="362" y="587"/>
                    <a:pt x="361" y="584"/>
                    <a:pt x="361" y="581"/>
                  </a:cubicBezTo>
                  <a:cubicBezTo>
                    <a:pt x="361" y="578"/>
                    <a:pt x="363" y="574"/>
                    <a:pt x="367" y="570"/>
                  </a:cubicBezTo>
                  <a:lnTo>
                    <a:pt x="373" y="564"/>
                  </a:lnTo>
                  <a:cubicBezTo>
                    <a:pt x="374" y="562"/>
                    <a:pt x="376" y="561"/>
                    <a:pt x="377" y="560"/>
                  </a:cubicBezTo>
                  <a:cubicBezTo>
                    <a:pt x="379" y="559"/>
                    <a:pt x="381" y="558"/>
                    <a:pt x="382" y="557"/>
                  </a:cubicBezTo>
                  <a:cubicBezTo>
                    <a:pt x="384" y="556"/>
                    <a:pt x="386" y="556"/>
                    <a:pt x="388" y="555"/>
                  </a:cubicBezTo>
                  <a:cubicBezTo>
                    <a:pt x="391" y="554"/>
                    <a:pt x="393" y="554"/>
                    <a:pt x="396" y="553"/>
                  </a:cubicBezTo>
                  <a:lnTo>
                    <a:pt x="576" y="514"/>
                  </a:lnTo>
                  <a:lnTo>
                    <a:pt x="508" y="446"/>
                  </a:lnTo>
                  <a:cubicBezTo>
                    <a:pt x="506" y="444"/>
                    <a:pt x="505" y="442"/>
                    <a:pt x="506" y="438"/>
                  </a:cubicBezTo>
                  <a:cubicBezTo>
                    <a:pt x="507" y="435"/>
                    <a:pt x="510" y="432"/>
                    <a:pt x="514" y="427"/>
                  </a:cubicBezTo>
                  <a:cubicBezTo>
                    <a:pt x="516" y="425"/>
                    <a:pt x="518" y="423"/>
                    <a:pt x="520" y="422"/>
                  </a:cubicBezTo>
                  <a:cubicBezTo>
                    <a:pt x="522" y="421"/>
                    <a:pt x="523" y="420"/>
                    <a:pt x="525" y="419"/>
                  </a:cubicBezTo>
                  <a:cubicBezTo>
                    <a:pt x="527" y="419"/>
                    <a:pt x="528" y="419"/>
                    <a:pt x="529" y="419"/>
                  </a:cubicBezTo>
                  <a:cubicBezTo>
                    <a:pt x="530" y="420"/>
                    <a:pt x="531" y="420"/>
                    <a:pt x="532" y="421"/>
                  </a:cubicBezTo>
                  <a:lnTo>
                    <a:pt x="624" y="513"/>
                  </a:lnTo>
                  <a:cubicBezTo>
                    <a:pt x="625" y="514"/>
                    <a:pt x="626" y="515"/>
                    <a:pt x="627" y="516"/>
                  </a:cubicBezTo>
                  <a:cubicBezTo>
                    <a:pt x="627" y="518"/>
                    <a:pt x="627" y="519"/>
                    <a:pt x="627" y="521"/>
                  </a:cubicBezTo>
                  <a:cubicBezTo>
                    <a:pt x="627" y="522"/>
                    <a:pt x="627" y="524"/>
                    <a:pt x="626" y="526"/>
                  </a:cubicBezTo>
                  <a:cubicBezTo>
                    <a:pt x="625" y="527"/>
                    <a:pt x="624" y="529"/>
                    <a:pt x="622" y="531"/>
                  </a:cubicBezTo>
                  <a:lnTo>
                    <a:pt x="616" y="537"/>
                  </a:lnTo>
                  <a:cubicBezTo>
                    <a:pt x="614" y="539"/>
                    <a:pt x="613" y="540"/>
                    <a:pt x="611" y="541"/>
                  </a:cubicBezTo>
                  <a:cubicBezTo>
                    <a:pt x="609" y="542"/>
                    <a:pt x="608" y="543"/>
                    <a:pt x="606" y="544"/>
                  </a:cubicBezTo>
                  <a:cubicBezTo>
                    <a:pt x="604" y="545"/>
                    <a:pt x="602" y="546"/>
                    <a:pt x="599" y="547"/>
                  </a:cubicBezTo>
                  <a:cubicBezTo>
                    <a:pt x="597" y="547"/>
                    <a:pt x="594" y="548"/>
                    <a:pt x="591" y="549"/>
                  </a:cubicBezTo>
                  <a:lnTo>
                    <a:pt x="412" y="588"/>
                  </a:lnTo>
                  <a:lnTo>
                    <a:pt x="487" y="663"/>
                  </a:lnTo>
                  <a:cubicBezTo>
                    <a:pt x="488" y="664"/>
                    <a:pt x="488" y="665"/>
                    <a:pt x="489" y="666"/>
                  </a:cubicBezTo>
                  <a:cubicBezTo>
                    <a:pt x="489" y="667"/>
                    <a:pt x="489" y="668"/>
                    <a:pt x="489" y="670"/>
                  </a:cubicBezTo>
                  <a:cubicBezTo>
                    <a:pt x="488" y="671"/>
                    <a:pt x="487" y="673"/>
                    <a:pt x="486" y="675"/>
                  </a:cubicBezTo>
                  <a:cubicBezTo>
                    <a:pt x="485" y="677"/>
                    <a:pt x="483" y="679"/>
                    <a:pt x="481" y="681"/>
                  </a:cubicBezTo>
                  <a:close/>
                  <a:moveTo>
                    <a:pt x="656" y="872"/>
                  </a:moveTo>
                  <a:cubicBezTo>
                    <a:pt x="655" y="873"/>
                    <a:pt x="654" y="873"/>
                    <a:pt x="653" y="874"/>
                  </a:cubicBezTo>
                  <a:cubicBezTo>
                    <a:pt x="651" y="874"/>
                    <a:pt x="650" y="874"/>
                    <a:pt x="649" y="873"/>
                  </a:cubicBezTo>
                  <a:cubicBezTo>
                    <a:pt x="647" y="872"/>
                    <a:pt x="645" y="871"/>
                    <a:pt x="643" y="870"/>
                  </a:cubicBezTo>
                  <a:cubicBezTo>
                    <a:pt x="641" y="868"/>
                    <a:pt x="639" y="866"/>
                    <a:pt x="636" y="863"/>
                  </a:cubicBezTo>
                  <a:cubicBezTo>
                    <a:pt x="633" y="860"/>
                    <a:pt x="630" y="857"/>
                    <a:pt x="629" y="855"/>
                  </a:cubicBezTo>
                  <a:cubicBezTo>
                    <a:pt x="627" y="853"/>
                    <a:pt x="626" y="851"/>
                    <a:pt x="625" y="850"/>
                  </a:cubicBezTo>
                  <a:cubicBezTo>
                    <a:pt x="625" y="848"/>
                    <a:pt x="625" y="847"/>
                    <a:pt x="625" y="846"/>
                  </a:cubicBezTo>
                  <a:cubicBezTo>
                    <a:pt x="625" y="845"/>
                    <a:pt x="626" y="844"/>
                    <a:pt x="626" y="843"/>
                  </a:cubicBezTo>
                  <a:lnTo>
                    <a:pt x="720" y="750"/>
                  </a:lnTo>
                  <a:cubicBezTo>
                    <a:pt x="729" y="740"/>
                    <a:pt x="735" y="732"/>
                    <a:pt x="739" y="726"/>
                  </a:cubicBezTo>
                  <a:cubicBezTo>
                    <a:pt x="744" y="719"/>
                    <a:pt x="746" y="712"/>
                    <a:pt x="748" y="705"/>
                  </a:cubicBezTo>
                  <a:cubicBezTo>
                    <a:pt x="749" y="698"/>
                    <a:pt x="748" y="692"/>
                    <a:pt x="746" y="685"/>
                  </a:cubicBezTo>
                  <a:cubicBezTo>
                    <a:pt x="744" y="679"/>
                    <a:pt x="740" y="673"/>
                    <a:pt x="734" y="667"/>
                  </a:cubicBezTo>
                  <a:cubicBezTo>
                    <a:pt x="727" y="660"/>
                    <a:pt x="717" y="655"/>
                    <a:pt x="705" y="653"/>
                  </a:cubicBezTo>
                  <a:cubicBezTo>
                    <a:pt x="692" y="651"/>
                    <a:pt x="677" y="651"/>
                    <a:pt x="659" y="653"/>
                  </a:cubicBezTo>
                  <a:lnTo>
                    <a:pt x="548" y="764"/>
                  </a:lnTo>
                  <a:cubicBezTo>
                    <a:pt x="547" y="765"/>
                    <a:pt x="546" y="766"/>
                    <a:pt x="545" y="766"/>
                  </a:cubicBezTo>
                  <a:cubicBezTo>
                    <a:pt x="544" y="766"/>
                    <a:pt x="542" y="766"/>
                    <a:pt x="541" y="765"/>
                  </a:cubicBezTo>
                  <a:cubicBezTo>
                    <a:pt x="539" y="765"/>
                    <a:pt x="537" y="763"/>
                    <a:pt x="535" y="762"/>
                  </a:cubicBezTo>
                  <a:cubicBezTo>
                    <a:pt x="533" y="760"/>
                    <a:pt x="531" y="758"/>
                    <a:pt x="528" y="755"/>
                  </a:cubicBezTo>
                  <a:cubicBezTo>
                    <a:pt x="525" y="752"/>
                    <a:pt x="523" y="750"/>
                    <a:pt x="521" y="747"/>
                  </a:cubicBezTo>
                  <a:cubicBezTo>
                    <a:pt x="519" y="745"/>
                    <a:pt x="518" y="743"/>
                    <a:pt x="517" y="742"/>
                  </a:cubicBezTo>
                  <a:cubicBezTo>
                    <a:pt x="517" y="740"/>
                    <a:pt x="517" y="739"/>
                    <a:pt x="517" y="738"/>
                  </a:cubicBezTo>
                  <a:cubicBezTo>
                    <a:pt x="517" y="737"/>
                    <a:pt x="518" y="736"/>
                    <a:pt x="519" y="735"/>
                  </a:cubicBezTo>
                  <a:lnTo>
                    <a:pt x="678" y="576"/>
                  </a:lnTo>
                  <a:cubicBezTo>
                    <a:pt x="679" y="575"/>
                    <a:pt x="680" y="574"/>
                    <a:pt x="681" y="574"/>
                  </a:cubicBezTo>
                  <a:cubicBezTo>
                    <a:pt x="682" y="574"/>
                    <a:pt x="683" y="574"/>
                    <a:pt x="685" y="574"/>
                  </a:cubicBezTo>
                  <a:cubicBezTo>
                    <a:pt x="686" y="575"/>
                    <a:pt x="688" y="576"/>
                    <a:pt x="690" y="577"/>
                  </a:cubicBezTo>
                  <a:cubicBezTo>
                    <a:pt x="692" y="579"/>
                    <a:pt x="694" y="581"/>
                    <a:pt x="696" y="584"/>
                  </a:cubicBezTo>
                  <a:cubicBezTo>
                    <a:pt x="699" y="586"/>
                    <a:pt x="701" y="588"/>
                    <a:pt x="703" y="590"/>
                  </a:cubicBezTo>
                  <a:cubicBezTo>
                    <a:pt x="704" y="592"/>
                    <a:pt x="705" y="594"/>
                    <a:pt x="706" y="595"/>
                  </a:cubicBezTo>
                  <a:cubicBezTo>
                    <a:pt x="706" y="597"/>
                    <a:pt x="706" y="598"/>
                    <a:pt x="706" y="599"/>
                  </a:cubicBezTo>
                  <a:cubicBezTo>
                    <a:pt x="706" y="600"/>
                    <a:pt x="705" y="601"/>
                    <a:pt x="704" y="602"/>
                  </a:cubicBezTo>
                  <a:lnTo>
                    <a:pt x="683" y="623"/>
                  </a:lnTo>
                  <a:cubicBezTo>
                    <a:pt x="702" y="622"/>
                    <a:pt x="718" y="624"/>
                    <a:pt x="732" y="628"/>
                  </a:cubicBezTo>
                  <a:cubicBezTo>
                    <a:pt x="745" y="632"/>
                    <a:pt x="757" y="639"/>
                    <a:pt x="766" y="648"/>
                  </a:cubicBezTo>
                  <a:cubicBezTo>
                    <a:pt x="776" y="659"/>
                    <a:pt x="784" y="669"/>
                    <a:pt x="787" y="680"/>
                  </a:cubicBezTo>
                  <a:cubicBezTo>
                    <a:pt x="791" y="691"/>
                    <a:pt x="792" y="702"/>
                    <a:pt x="790" y="712"/>
                  </a:cubicBezTo>
                  <a:cubicBezTo>
                    <a:pt x="789" y="723"/>
                    <a:pt x="785" y="733"/>
                    <a:pt x="779" y="743"/>
                  </a:cubicBezTo>
                  <a:cubicBezTo>
                    <a:pt x="773" y="753"/>
                    <a:pt x="764" y="764"/>
                    <a:pt x="753" y="775"/>
                  </a:cubicBezTo>
                  <a:lnTo>
                    <a:pt x="656" y="872"/>
                  </a:lnTo>
                  <a:close/>
                  <a:moveTo>
                    <a:pt x="831" y="1047"/>
                  </a:moveTo>
                  <a:cubicBezTo>
                    <a:pt x="829" y="1049"/>
                    <a:pt x="828" y="1049"/>
                    <a:pt x="826" y="1049"/>
                  </a:cubicBezTo>
                  <a:cubicBezTo>
                    <a:pt x="824" y="1049"/>
                    <a:pt x="823" y="1048"/>
                    <a:pt x="821" y="1047"/>
                  </a:cubicBezTo>
                  <a:cubicBezTo>
                    <a:pt x="819" y="1045"/>
                    <a:pt x="816" y="1043"/>
                    <a:pt x="813" y="1040"/>
                  </a:cubicBezTo>
                  <a:cubicBezTo>
                    <a:pt x="810" y="1037"/>
                    <a:pt x="807" y="1034"/>
                    <a:pt x="806" y="1032"/>
                  </a:cubicBezTo>
                  <a:cubicBezTo>
                    <a:pt x="805" y="1030"/>
                    <a:pt x="804" y="1028"/>
                    <a:pt x="804" y="1027"/>
                  </a:cubicBezTo>
                  <a:cubicBezTo>
                    <a:pt x="803" y="1025"/>
                    <a:pt x="804" y="1024"/>
                    <a:pt x="806" y="1022"/>
                  </a:cubicBezTo>
                  <a:lnTo>
                    <a:pt x="821" y="1006"/>
                  </a:lnTo>
                  <a:cubicBezTo>
                    <a:pt x="807" y="1007"/>
                    <a:pt x="794" y="1005"/>
                    <a:pt x="781" y="1000"/>
                  </a:cubicBezTo>
                  <a:cubicBezTo>
                    <a:pt x="768" y="996"/>
                    <a:pt x="757" y="989"/>
                    <a:pt x="748" y="979"/>
                  </a:cubicBezTo>
                  <a:cubicBezTo>
                    <a:pt x="739" y="971"/>
                    <a:pt x="733" y="962"/>
                    <a:pt x="728" y="953"/>
                  </a:cubicBezTo>
                  <a:cubicBezTo>
                    <a:pt x="724" y="944"/>
                    <a:pt x="721" y="936"/>
                    <a:pt x="720" y="927"/>
                  </a:cubicBezTo>
                  <a:cubicBezTo>
                    <a:pt x="720" y="918"/>
                    <a:pt x="721" y="909"/>
                    <a:pt x="724" y="900"/>
                  </a:cubicBezTo>
                  <a:cubicBezTo>
                    <a:pt x="728" y="892"/>
                    <a:pt x="733" y="883"/>
                    <a:pt x="741" y="876"/>
                  </a:cubicBezTo>
                  <a:cubicBezTo>
                    <a:pt x="750" y="867"/>
                    <a:pt x="759" y="861"/>
                    <a:pt x="770" y="858"/>
                  </a:cubicBezTo>
                  <a:cubicBezTo>
                    <a:pt x="780" y="855"/>
                    <a:pt x="791" y="855"/>
                    <a:pt x="802" y="857"/>
                  </a:cubicBezTo>
                  <a:cubicBezTo>
                    <a:pt x="813" y="860"/>
                    <a:pt x="825" y="865"/>
                    <a:pt x="837" y="873"/>
                  </a:cubicBezTo>
                  <a:cubicBezTo>
                    <a:pt x="849" y="880"/>
                    <a:pt x="861" y="890"/>
                    <a:pt x="873" y="903"/>
                  </a:cubicBezTo>
                  <a:lnTo>
                    <a:pt x="895" y="925"/>
                  </a:lnTo>
                  <a:lnTo>
                    <a:pt x="908" y="912"/>
                  </a:lnTo>
                  <a:cubicBezTo>
                    <a:pt x="914" y="906"/>
                    <a:pt x="919" y="900"/>
                    <a:pt x="922" y="894"/>
                  </a:cubicBezTo>
                  <a:cubicBezTo>
                    <a:pt x="925" y="888"/>
                    <a:pt x="927" y="882"/>
                    <a:pt x="928" y="876"/>
                  </a:cubicBezTo>
                  <a:cubicBezTo>
                    <a:pt x="928" y="870"/>
                    <a:pt x="926" y="864"/>
                    <a:pt x="923" y="858"/>
                  </a:cubicBezTo>
                  <a:cubicBezTo>
                    <a:pt x="920" y="851"/>
                    <a:pt x="916" y="845"/>
                    <a:pt x="909" y="838"/>
                  </a:cubicBezTo>
                  <a:cubicBezTo>
                    <a:pt x="902" y="831"/>
                    <a:pt x="894" y="826"/>
                    <a:pt x="887" y="822"/>
                  </a:cubicBezTo>
                  <a:cubicBezTo>
                    <a:pt x="879" y="818"/>
                    <a:pt x="873" y="814"/>
                    <a:pt x="866" y="812"/>
                  </a:cubicBezTo>
                  <a:cubicBezTo>
                    <a:pt x="860" y="810"/>
                    <a:pt x="854" y="808"/>
                    <a:pt x="850" y="807"/>
                  </a:cubicBezTo>
                  <a:cubicBezTo>
                    <a:pt x="845" y="806"/>
                    <a:pt x="842" y="805"/>
                    <a:pt x="841" y="803"/>
                  </a:cubicBezTo>
                  <a:cubicBezTo>
                    <a:pt x="840" y="802"/>
                    <a:pt x="839" y="801"/>
                    <a:pt x="839" y="800"/>
                  </a:cubicBezTo>
                  <a:cubicBezTo>
                    <a:pt x="839" y="799"/>
                    <a:pt x="839" y="797"/>
                    <a:pt x="839" y="796"/>
                  </a:cubicBezTo>
                  <a:cubicBezTo>
                    <a:pt x="840" y="794"/>
                    <a:pt x="840" y="793"/>
                    <a:pt x="842" y="791"/>
                  </a:cubicBezTo>
                  <a:cubicBezTo>
                    <a:pt x="843" y="789"/>
                    <a:pt x="844" y="788"/>
                    <a:pt x="846" y="786"/>
                  </a:cubicBezTo>
                  <a:cubicBezTo>
                    <a:pt x="849" y="783"/>
                    <a:pt x="852" y="781"/>
                    <a:pt x="854" y="780"/>
                  </a:cubicBezTo>
                  <a:cubicBezTo>
                    <a:pt x="856" y="778"/>
                    <a:pt x="859" y="778"/>
                    <a:pt x="862" y="778"/>
                  </a:cubicBezTo>
                  <a:cubicBezTo>
                    <a:pt x="865" y="778"/>
                    <a:pt x="869" y="779"/>
                    <a:pt x="875" y="781"/>
                  </a:cubicBezTo>
                  <a:cubicBezTo>
                    <a:pt x="881" y="782"/>
                    <a:pt x="888" y="785"/>
                    <a:pt x="894" y="788"/>
                  </a:cubicBezTo>
                  <a:cubicBezTo>
                    <a:pt x="901" y="792"/>
                    <a:pt x="908" y="796"/>
                    <a:pt x="915" y="801"/>
                  </a:cubicBezTo>
                  <a:cubicBezTo>
                    <a:pt x="922" y="806"/>
                    <a:pt x="929" y="811"/>
                    <a:pt x="935" y="817"/>
                  </a:cubicBezTo>
                  <a:cubicBezTo>
                    <a:pt x="947" y="829"/>
                    <a:pt x="955" y="840"/>
                    <a:pt x="960" y="850"/>
                  </a:cubicBezTo>
                  <a:cubicBezTo>
                    <a:pt x="966" y="861"/>
                    <a:pt x="969" y="871"/>
                    <a:pt x="968" y="881"/>
                  </a:cubicBezTo>
                  <a:cubicBezTo>
                    <a:pt x="968" y="891"/>
                    <a:pt x="966" y="901"/>
                    <a:pt x="961" y="911"/>
                  </a:cubicBezTo>
                  <a:cubicBezTo>
                    <a:pt x="955" y="920"/>
                    <a:pt x="948" y="930"/>
                    <a:pt x="938" y="940"/>
                  </a:cubicBezTo>
                  <a:lnTo>
                    <a:pt x="831" y="1047"/>
                  </a:lnTo>
                  <a:close/>
                  <a:moveTo>
                    <a:pt x="874" y="946"/>
                  </a:moveTo>
                  <a:lnTo>
                    <a:pt x="849" y="921"/>
                  </a:lnTo>
                  <a:cubicBezTo>
                    <a:pt x="841" y="913"/>
                    <a:pt x="834" y="906"/>
                    <a:pt x="827" y="902"/>
                  </a:cubicBezTo>
                  <a:cubicBezTo>
                    <a:pt x="819" y="897"/>
                    <a:pt x="812" y="894"/>
                    <a:pt x="806" y="893"/>
                  </a:cubicBezTo>
                  <a:cubicBezTo>
                    <a:pt x="799" y="892"/>
                    <a:pt x="793" y="892"/>
                    <a:pt x="788" y="894"/>
                  </a:cubicBezTo>
                  <a:cubicBezTo>
                    <a:pt x="782" y="896"/>
                    <a:pt x="777" y="899"/>
                    <a:pt x="772" y="904"/>
                  </a:cubicBezTo>
                  <a:cubicBezTo>
                    <a:pt x="764" y="912"/>
                    <a:pt x="760" y="922"/>
                    <a:pt x="760" y="932"/>
                  </a:cubicBezTo>
                  <a:cubicBezTo>
                    <a:pt x="761" y="942"/>
                    <a:pt x="766" y="952"/>
                    <a:pt x="775" y="961"/>
                  </a:cubicBezTo>
                  <a:cubicBezTo>
                    <a:pt x="783" y="969"/>
                    <a:pt x="792" y="974"/>
                    <a:pt x="802" y="977"/>
                  </a:cubicBezTo>
                  <a:cubicBezTo>
                    <a:pt x="813" y="979"/>
                    <a:pt x="825" y="980"/>
                    <a:pt x="841" y="979"/>
                  </a:cubicBezTo>
                  <a:lnTo>
                    <a:pt x="874" y="946"/>
                  </a:lnTo>
                  <a:close/>
                  <a:moveTo>
                    <a:pt x="1018" y="1234"/>
                  </a:moveTo>
                  <a:cubicBezTo>
                    <a:pt x="1017" y="1235"/>
                    <a:pt x="1016" y="1235"/>
                    <a:pt x="1015" y="1236"/>
                  </a:cubicBezTo>
                  <a:cubicBezTo>
                    <a:pt x="1013" y="1236"/>
                    <a:pt x="1012" y="1236"/>
                    <a:pt x="1011" y="1235"/>
                  </a:cubicBezTo>
                  <a:cubicBezTo>
                    <a:pt x="1009" y="1234"/>
                    <a:pt x="1007" y="1233"/>
                    <a:pt x="1005" y="1232"/>
                  </a:cubicBezTo>
                  <a:cubicBezTo>
                    <a:pt x="1003" y="1230"/>
                    <a:pt x="1001" y="1228"/>
                    <a:pt x="998" y="1225"/>
                  </a:cubicBezTo>
                  <a:cubicBezTo>
                    <a:pt x="995" y="1222"/>
                    <a:pt x="992" y="1219"/>
                    <a:pt x="991" y="1217"/>
                  </a:cubicBezTo>
                  <a:cubicBezTo>
                    <a:pt x="989" y="1215"/>
                    <a:pt x="988" y="1213"/>
                    <a:pt x="987" y="1212"/>
                  </a:cubicBezTo>
                  <a:cubicBezTo>
                    <a:pt x="987" y="1210"/>
                    <a:pt x="987" y="1209"/>
                    <a:pt x="987" y="1208"/>
                  </a:cubicBezTo>
                  <a:cubicBezTo>
                    <a:pt x="987" y="1207"/>
                    <a:pt x="988" y="1206"/>
                    <a:pt x="989" y="1205"/>
                  </a:cubicBezTo>
                  <a:lnTo>
                    <a:pt x="1082" y="1112"/>
                  </a:lnTo>
                  <a:cubicBezTo>
                    <a:pt x="1091" y="1103"/>
                    <a:pt x="1097" y="1095"/>
                    <a:pt x="1101" y="1088"/>
                  </a:cubicBezTo>
                  <a:cubicBezTo>
                    <a:pt x="1106" y="1081"/>
                    <a:pt x="1108" y="1074"/>
                    <a:pt x="1110" y="1067"/>
                  </a:cubicBezTo>
                  <a:cubicBezTo>
                    <a:pt x="1111" y="1060"/>
                    <a:pt x="1110" y="1054"/>
                    <a:pt x="1108" y="1047"/>
                  </a:cubicBezTo>
                  <a:cubicBezTo>
                    <a:pt x="1106" y="1041"/>
                    <a:pt x="1102" y="1035"/>
                    <a:pt x="1097" y="1029"/>
                  </a:cubicBezTo>
                  <a:cubicBezTo>
                    <a:pt x="1089" y="1022"/>
                    <a:pt x="1079" y="1017"/>
                    <a:pt x="1067" y="1015"/>
                  </a:cubicBezTo>
                  <a:cubicBezTo>
                    <a:pt x="1054" y="1013"/>
                    <a:pt x="1039" y="1013"/>
                    <a:pt x="1021" y="1015"/>
                  </a:cubicBezTo>
                  <a:lnTo>
                    <a:pt x="910" y="1126"/>
                  </a:lnTo>
                  <a:cubicBezTo>
                    <a:pt x="909" y="1127"/>
                    <a:pt x="908" y="1128"/>
                    <a:pt x="907" y="1128"/>
                  </a:cubicBezTo>
                  <a:cubicBezTo>
                    <a:pt x="906" y="1128"/>
                    <a:pt x="904" y="1128"/>
                    <a:pt x="903" y="1127"/>
                  </a:cubicBezTo>
                  <a:cubicBezTo>
                    <a:pt x="901" y="1127"/>
                    <a:pt x="899" y="1125"/>
                    <a:pt x="897" y="1124"/>
                  </a:cubicBezTo>
                  <a:cubicBezTo>
                    <a:pt x="895" y="1122"/>
                    <a:pt x="893" y="1120"/>
                    <a:pt x="890" y="1117"/>
                  </a:cubicBezTo>
                  <a:cubicBezTo>
                    <a:pt x="887" y="1114"/>
                    <a:pt x="885" y="1112"/>
                    <a:pt x="883" y="1109"/>
                  </a:cubicBezTo>
                  <a:cubicBezTo>
                    <a:pt x="881" y="1107"/>
                    <a:pt x="880" y="1106"/>
                    <a:pt x="880" y="1104"/>
                  </a:cubicBezTo>
                  <a:cubicBezTo>
                    <a:pt x="879" y="1102"/>
                    <a:pt x="879" y="1101"/>
                    <a:pt x="879" y="1100"/>
                  </a:cubicBezTo>
                  <a:cubicBezTo>
                    <a:pt x="879" y="1099"/>
                    <a:pt x="880" y="1098"/>
                    <a:pt x="881" y="1097"/>
                  </a:cubicBezTo>
                  <a:lnTo>
                    <a:pt x="1040" y="938"/>
                  </a:lnTo>
                  <a:cubicBezTo>
                    <a:pt x="1041" y="937"/>
                    <a:pt x="1042" y="936"/>
                    <a:pt x="1043" y="936"/>
                  </a:cubicBezTo>
                  <a:cubicBezTo>
                    <a:pt x="1044" y="936"/>
                    <a:pt x="1045" y="936"/>
                    <a:pt x="1047" y="936"/>
                  </a:cubicBezTo>
                  <a:cubicBezTo>
                    <a:pt x="1048" y="937"/>
                    <a:pt x="1050" y="938"/>
                    <a:pt x="1052" y="939"/>
                  </a:cubicBezTo>
                  <a:cubicBezTo>
                    <a:pt x="1054" y="941"/>
                    <a:pt x="1056" y="943"/>
                    <a:pt x="1059" y="946"/>
                  </a:cubicBezTo>
                  <a:cubicBezTo>
                    <a:pt x="1061" y="948"/>
                    <a:pt x="1063" y="950"/>
                    <a:pt x="1065" y="952"/>
                  </a:cubicBezTo>
                  <a:cubicBezTo>
                    <a:pt x="1066" y="954"/>
                    <a:pt x="1067" y="956"/>
                    <a:pt x="1068" y="957"/>
                  </a:cubicBezTo>
                  <a:cubicBezTo>
                    <a:pt x="1068" y="959"/>
                    <a:pt x="1068" y="960"/>
                    <a:pt x="1068" y="961"/>
                  </a:cubicBezTo>
                  <a:cubicBezTo>
                    <a:pt x="1068" y="962"/>
                    <a:pt x="1067" y="963"/>
                    <a:pt x="1066" y="964"/>
                  </a:cubicBezTo>
                  <a:lnTo>
                    <a:pt x="1045" y="985"/>
                  </a:lnTo>
                  <a:cubicBezTo>
                    <a:pt x="1064" y="984"/>
                    <a:pt x="1080" y="986"/>
                    <a:pt x="1094" y="990"/>
                  </a:cubicBezTo>
                  <a:cubicBezTo>
                    <a:pt x="1107" y="994"/>
                    <a:pt x="1119" y="1001"/>
                    <a:pt x="1128" y="1010"/>
                  </a:cubicBezTo>
                  <a:cubicBezTo>
                    <a:pt x="1138" y="1021"/>
                    <a:pt x="1146" y="1031"/>
                    <a:pt x="1149" y="1042"/>
                  </a:cubicBezTo>
                  <a:cubicBezTo>
                    <a:pt x="1153" y="1053"/>
                    <a:pt x="1154" y="1064"/>
                    <a:pt x="1152" y="1074"/>
                  </a:cubicBezTo>
                  <a:cubicBezTo>
                    <a:pt x="1151" y="1085"/>
                    <a:pt x="1147" y="1095"/>
                    <a:pt x="1141" y="1105"/>
                  </a:cubicBezTo>
                  <a:cubicBezTo>
                    <a:pt x="1135" y="1115"/>
                    <a:pt x="1126" y="1126"/>
                    <a:pt x="1115" y="1137"/>
                  </a:cubicBezTo>
                  <a:lnTo>
                    <a:pt x="1018" y="1234"/>
                  </a:lnTo>
                  <a:close/>
                  <a:moveTo>
                    <a:pt x="1203" y="945"/>
                  </a:moveTo>
                  <a:cubicBezTo>
                    <a:pt x="1205" y="945"/>
                    <a:pt x="1207" y="945"/>
                    <a:pt x="1209" y="945"/>
                  </a:cubicBezTo>
                  <a:cubicBezTo>
                    <a:pt x="1210" y="945"/>
                    <a:pt x="1212" y="945"/>
                    <a:pt x="1214" y="946"/>
                  </a:cubicBezTo>
                  <a:cubicBezTo>
                    <a:pt x="1216" y="947"/>
                    <a:pt x="1218" y="948"/>
                    <a:pt x="1220" y="950"/>
                  </a:cubicBezTo>
                  <a:cubicBezTo>
                    <a:pt x="1222" y="952"/>
                    <a:pt x="1225" y="954"/>
                    <a:pt x="1228" y="957"/>
                  </a:cubicBezTo>
                  <a:cubicBezTo>
                    <a:pt x="1231" y="960"/>
                    <a:pt x="1233" y="963"/>
                    <a:pt x="1235" y="966"/>
                  </a:cubicBezTo>
                  <a:cubicBezTo>
                    <a:pt x="1237" y="968"/>
                    <a:pt x="1238" y="970"/>
                    <a:pt x="1238" y="972"/>
                  </a:cubicBezTo>
                  <a:cubicBezTo>
                    <a:pt x="1238" y="973"/>
                    <a:pt x="1237" y="975"/>
                    <a:pt x="1236" y="976"/>
                  </a:cubicBezTo>
                  <a:cubicBezTo>
                    <a:pt x="1235" y="976"/>
                    <a:pt x="1233" y="977"/>
                    <a:pt x="1231" y="977"/>
                  </a:cubicBezTo>
                  <a:lnTo>
                    <a:pt x="1158" y="986"/>
                  </a:lnTo>
                  <a:cubicBezTo>
                    <a:pt x="1156" y="987"/>
                    <a:pt x="1154" y="987"/>
                    <a:pt x="1153" y="987"/>
                  </a:cubicBezTo>
                  <a:cubicBezTo>
                    <a:pt x="1151" y="986"/>
                    <a:pt x="1150" y="986"/>
                    <a:pt x="1149" y="986"/>
                  </a:cubicBezTo>
                  <a:cubicBezTo>
                    <a:pt x="1147" y="985"/>
                    <a:pt x="1145" y="984"/>
                    <a:pt x="1144" y="983"/>
                  </a:cubicBezTo>
                  <a:cubicBezTo>
                    <a:pt x="1142" y="981"/>
                    <a:pt x="1140" y="979"/>
                    <a:pt x="1138" y="977"/>
                  </a:cubicBezTo>
                  <a:cubicBezTo>
                    <a:pt x="1135" y="974"/>
                    <a:pt x="1133" y="972"/>
                    <a:pt x="1132" y="970"/>
                  </a:cubicBezTo>
                  <a:cubicBezTo>
                    <a:pt x="1131" y="968"/>
                    <a:pt x="1130" y="967"/>
                    <a:pt x="1130" y="966"/>
                  </a:cubicBezTo>
                  <a:cubicBezTo>
                    <a:pt x="1130" y="964"/>
                    <a:pt x="1130" y="963"/>
                    <a:pt x="1132" y="962"/>
                  </a:cubicBezTo>
                  <a:cubicBezTo>
                    <a:pt x="1133" y="962"/>
                    <a:pt x="1134" y="961"/>
                    <a:pt x="1136" y="961"/>
                  </a:cubicBezTo>
                  <a:lnTo>
                    <a:pt x="1203" y="945"/>
                  </a:lnTo>
                  <a:close/>
                  <a:moveTo>
                    <a:pt x="1487" y="1281"/>
                  </a:moveTo>
                  <a:cubicBezTo>
                    <a:pt x="1485" y="1283"/>
                    <a:pt x="1483" y="1285"/>
                    <a:pt x="1481" y="1286"/>
                  </a:cubicBezTo>
                  <a:cubicBezTo>
                    <a:pt x="1479" y="1288"/>
                    <a:pt x="1477" y="1289"/>
                    <a:pt x="1476" y="1289"/>
                  </a:cubicBezTo>
                  <a:cubicBezTo>
                    <a:pt x="1474" y="1289"/>
                    <a:pt x="1473" y="1289"/>
                    <a:pt x="1471" y="1289"/>
                  </a:cubicBezTo>
                  <a:cubicBezTo>
                    <a:pt x="1470" y="1289"/>
                    <a:pt x="1469" y="1288"/>
                    <a:pt x="1468" y="1287"/>
                  </a:cubicBezTo>
                  <a:lnTo>
                    <a:pt x="1384" y="1204"/>
                  </a:lnTo>
                  <a:lnTo>
                    <a:pt x="1307" y="1281"/>
                  </a:lnTo>
                  <a:lnTo>
                    <a:pt x="1386" y="1361"/>
                  </a:lnTo>
                  <a:cubicBezTo>
                    <a:pt x="1387" y="1362"/>
                    <a:pt x="1387" y="1363"/>
                    <a:pt x="1388" y="1364"/>
                  </a:cubicBezTo>
                  <a:cubicBezTo>
                    <a:pt x="1388" y="1365"/>
                    <a:pt x="1388" y="1366"/>
                    <a:pt x="1388" y="1368"/>
                  </a:cubicBezTo>
                  <a:cubicBezTo>
                    <a:pt x="1387" y="1369"/>
                    <a:pt x="1386" y="1371"/>
                    <a:pt x="1385" y="1373"/>
                  </a:cubicBezTo>
                  <a:cubicBezTo>
                    <a:pt x="1384" y="1375"/>
                    <a:pt x="1382" y="1377"/>
                    <a:pt x="1379" y="1379"/>
                  </a:cubicBezTo>
                  <a:cubicBezTo>
                    <a:pt x="1377" y="1381"/>
                    <a:pt x="1375" y="1383"/>
                    <a:pt x="1373" y="1385"/>
                  </a:cubicBezTo>
                  <a:cubicBezTo>
                    <a:pt x="1371" y="1386"/>
                    <a:pt x="1370" y="1387"/>
                    <a:pt x="1368" y="1387"/>
                  </a:cubicBezTo>
                  <a:cubicBezTo>
                    <a:pt x="1367" y="1388"/>
                    <a:pt x="1365" y="1388"/>
                    <a:pt x="1364" y="1388"/>
                  </a:cubicBezTo>
                  <a:cubicBezTo>
                    <a:pt x="1363" y="1387"/>
                    <a:pt x="1361" y="1387"/>
                    <a:pt x="1361" y="1386"/>
                  </a:cubicBezTo>
                  <a:lnTo>
                    <a:pt x="1281" y="1307"/>
                  </a:lnTo>
                  <a:lnTo>
                    <a:pt x="1186" y="1402"/>
                  </a:lnTo>
                  <a:cubicBezTo>
                    <a:pt x="1185" y="1403"/>
                    <a:pt x="1184" y="1403"/>
                    <a:pt x="1183" y="1404"/>
                  </a:cubicBezTo>
                  <a:cubicBezTo>
                    <a:pt x="1182" y="1404"/>
                    <a:pt x="1180" y="1404"/>
                    <a:pt x="1179" y="1403"/>
                  </a:cubicBezTo>
                  <a:cubicBezTo>
                    <a:pt x="1177" y="1402"/>
                    <a:pt x="1175" y="1401"/>
                    <a:pt x="1173" y="1399"/>
                  </a:cubicBezTo>
                  <a:cubicBezTo>
                    <a:pt x="1171" y="1398"/>
                    <a:pt x="1168" y="1396"/>
                    <a:pt x="1165" y="1393"/>
                  </a:cubicBezTo>
                  <a:cubicBezTo>
                    <a:pt x="1162" y="1390"/>
                    <a:pt x="1160" y="1387"/>
                    <a:pt x="1158" y="1385"/>
                  </a:cubicBezTo>
                  <a:cubicBezTo>
                    <a:pt x="1157" y="1383"/>
                    <a:pt x="1156" y="1381"/>
                    <a:pt x="1155" y="1379"/>
                  </a:cubicBezTo>
                  <a:cubicBezTo>
                    <a:pt x="1154" y="1377"/>
                    <a:pt x="1154" y="1376"/>
                    <a:pt x="1154" y="1375"/>
                  </a:cubicBezTo>
                  <a:cubicBezTo>
                    <a:pt x="1154" y="1374"/>
                    <a:pt x="1155" y="1372"/>
                    <a:pt x="1156" y="1372"/>
                  </a:cubicBezTo>
                  <a:lnTo>
                    <a:pt x="1368" y="1160"/>
                  </a:lnTo>
                  <a:cubicBezTo>
                    <a:pt x="1372" y="1155"/>
                    <a:pt x="1377" y="1153"/>
                    <a:pt x="1381" y="1154"/>
                  </a:cubicBezTo>
                  <a:cubicBezTo>
                    <a:pt x="1385" y="1154"/>
                    <a:pt x="1389" y="1156"/>
                    <a:pt x="1391" y="1159"/>
                  </a:cubicBezTo>
                  <a:lnTo>
                    <a:pt x="1494" y="1262"/>
                  </a:lnTo>
                  <a:cubicBezTo>
                    <a:pt x="1495" y="1263"/>
                    <a:pt x="1495" y="1264"/>
                    <a:pt x="1496" y="1265"/>
                  </a:cubicBezTo>
                  <a:cubicBezTo>
                    <a:pt x="1496" y="1266"/>
                    <a:pt x="1496" y="1267"/>
                    <a:pt x="1496" y="1269"/>
                  </a:cubicBezTo>
                  <a:cubicBezTo>
                    <a:pt x="1495" y="1271"/>
                    <a:pt x="1494" y="1273"/>
                    <a:pt x="1493" y="1275"/>
                  </a:cubicBezTo>
                  <a:cubicBezTo>
                    <a:pt x="1491" y="1276"/>
                    <a:pt x="1489" y="1279"/>
                    <a:pt x="1487" y="1281"/>
                  </a:cubicBezTo>
                  <a:close/>
                  <a:moveTo>
                    <a:pt x="1564" y="1482"/>
                  </a:moveTo>
                  <a:cubicBezTo>
                    <a:pt x="1561" y="1485"/>
                    <a:pt x="1559" y="1487"/>
                    <a:pt x="1557" y="1489"/>
                  </a:cubicBezTo>
                  <a:cubicBezTo>
                    <a:pt x="1555" y="1490"/>
                    <a:pt x="1553" y="1492"/>
                    <a:pt x="1552" y="1492"/>
                  </a:cubicBezTo>
                  <a:cubicBezTo>
                    <a:pt x="1551" y="1493"/>
                    <a:pt x="1549" y="1493"/>
                    <a:pt x="1548" y="1493"/>
                  </a:cubicBezTo>
                  <a:cubicBezTo>
                    <a:pt x="1547" y="1493"/>
                    <a:pt x="1546" y="1493"/>
                    <a:pt x="1545" y="1492"/>
                  </a:cubicBezTo>
                  <a:cubicBezTo>
                    <a:pt x="1544" y="1491"/>
                    <a:pt x="1544" y="1489"/>
                    <a:pt x="1543" y="1488"/>
                  </a:cubicBezTo>
                  <a:cubicBezTo>
                    <a:pt x="1542" y="1486"/>
                    <a:pt x="1541" y="1484"/>
                    <a:pt x="1540" y="1481"/>
                  </a:cubicBezTo>
                  <a:cubicBezTo>
                    <a:pt x="1539" y="1479"/>
                    <a:pt x="1537" y="1477"/>
                    <a:pt x="1535" y="1474"/>
                  </a:cubicBezTo>
                  <a:cubicBezTo>
                    <a:pt x="1534" y="1472"/>
                    <a:pt x="1532" y="1469"/>
                    <a:pt x="1529" y="1467"/>
                  </a:cubicBezTo>
                  <a:cubicBezTo>
                    <a:pt x="1526" y="1464"/>
                    <a:pt x="1523" y="1461"/>
                    <a:pt x="1519" y="1460"/>
                  </a:cubicBezTo>
                  <a:cubicBezTo>
                    <a:pt x="1515" y="1458"/>
                    <a:pt x="1510" y="1457"/>
                    <a:pt x="1504" y="1457"/>
                  </a:cubicBezTo>
                  <a:cubicBezTo>
                    <a:pt x="1498" y="1456"/>
                    <a:pt x="1491" y="1456"/>
                    <a:pt x="1483" y="1458"/>
                  </a:cubicBezTo>
                  <a:cubicBezTo>
                    <a:pt x="1476" y="1459"/>
                    <a:pt x="1466" y="1460"/>
                    <a:pt x="1456" y="1463"/>
                  </a:cubicBezTo>
                  <a:lnTo>
                    <a:pt x="1351" y="1567"/>
                  </a:lnTo>
                  <a:cubicBezTo>
                    <a:pt x="1350" y="1568"/>
                    <a:pt x="1349" y="1569"/>
                    <a:pt x="1348" y="1569"/>
                  </a:cubicBezTo>
                  <a:cubicBezTo>
                    <a:pt x="1347" y="1569"/>
                    <a:pt x="1346" y="1569"/>
                    <a:pt x="1344" y="1568"/>
                  </a:cubicBezTo>
                  <a:cubicBezTo>
                    <a:pt x="1342" y="1568"/>
                    <a:pt x="1341" y="1567"/>
                    <a:pt x="1339" y="1565"/>
                  </a:cubicBezTo>
                  <a:cubicBezTo>
                    <a:pt x="1336" y="1563"/>
                    <a:pt x="1334" y="1561"/>
                    <a:pt x="1331" y="1558"/>
                  </a:cubicBezTo>
                  <a:cubicBezTo>
                    <a:pt x="1328" y="1555"/>
                    <a:pt x="1326" y="1553"/>
                    <a:pt x="1324" y="1551"/>
                  </a:cubicBezTo>
                  <a:cubicBezTo>
                    <a:pt x="1323" y="1549"/>
                    <a:pt x="1321" y="1547"/>
                    <a:pt x="1321" y="1545"/>
                  </a:cubicBezTo>
                  <a:cubicBezTo>
                    <a:pt x="1320" y="1544"/>
                    <a:pt x="1320" y="1542"/>
                    <a:pt x="1320" y="1541"/>
                  </a:cubicBezTo>
                  <a:cubicBezTo>
                    <a:pt x="1320" y="1540"/>
                    <a:pt x="1321" y="1539"/>
                    <a:pt x="1322" y="1538"/>
                  </a:cubicBezTo>
                  <a:lnTo>
                    <a:pt x="1481" y="1379"/>
                  </a:lnTo>
                  <a:cubicBezTo>
                    <a:pt x="1482" y="1378"/>
                    <a:pt x="1483" y="1378"/>
                    <a:pt x="1484" y="1377"/>
                  </a:cubicBezTo>
                  <a:cubicBezTo>
                    <a:pt x="1485" y="1377"/>
                    <a:pt x="1486" y="1377"/>
                    <a:pt x="1488" y="1378"/>
                  </a:cubicBezTo>
                  <a:cubicBezTo>
                    <a:pt x="1489" y="1378"/>
                    <a:pt x="1491" y="1379"/>
                    <a:pt x="1493" y="1381"/>
                  </a:cubicBezTo>
                  <a:cubicBezTo>
                    <a:pt x="1495" y="1382"/>
                    <a:pt x="1497" y="1384"/>
                    <a:pt x="1500" y="1387"/>
                  </a:cubicBezTo>
                  <a:cubicBezTo>
                    <a:pt x="1502" y="1389"/>
                    <a:pt x="1504" y="1392"/>
                    <a:pt x="1506" y="1394"/>
                  </a:cubicBezTo>
                  <a:cubicBezTo>
                    <a:pt x="1507" y="1395"/>
                    <a:pt x="1508" y="1397"/>
                    <a:pt x="1509" y="1399"/>
                  </a:cubicBezTo>
                  <a:cubicBezTo>
                    <a:pt x="1509" y="1400"/>
                    <a:pt x="1509" y="1401"/>
                    <a:pt x="1509" y="1402"/>
                  </a:cubicBezTo>
                  <a:cubicBezTo>
                    <a:pt x="1509" y="1403"/>
                    <a:pt x="1508" y="1404"/>
                    <a:pt x="1507" y="1405"/>
                  </a:cubicBezTo>
                  <a:lnTo>
                    <a:pt x="1484" y="1429"/>
                  </a:lnTo>
                  <a:cubicBezTo>
                    <a:pt x="1495" y="1427"/>
                    <a:pt x="1504" y="1425"/>
                    <a:pt x="1512" y="1425"/>
                  </a:cubicBezTo>
                  <a:cubicBezTo>
                    <a:pt x="1520" y="1425"/>
                    <a:pt x="1527" y="1426"/>
                    <a:pt x="1532" y="1427"/>
                  </a:cubicBezTo>
                  <a:cubicBezTo>
                    <a:pt x="1538" y="1428"/>
                    <a:pt x="1543" y="1430"/>
                    <a:pt x="1547" y="1432"/>
                  </a:cubicBezTo>
                  <a:cubicBezTo>
                    <a:pt x="1552" y="1435"/>
                    <a:pt x="1555" y="1438"/>
                    <a:pt x="1559" y="1441"/>
                  </a:cubicBezTo>
                  <a:cubicBezTo>
                    <a:pt x="1560" y="1442"/>
                    <a:pt x="1562" y="1444"/>
                    <a:pt x="1564" y="1446"/>
                  </a:cubicBezTo>
                  <a:cubicBezTo>
                    <a:pt x="1566" y="1449"/>
                    <a:pt x="1567" y="1451"/>
                    <a:pt x="1569" y="1453"/>
                  </a:cubicBezTo>
                  <a:cubicBezTo>
                    <a:pt x="1571" y="1456"/>
                    <a:pt x="1572" y="1459"/>
                    <a:pt x="1573" y="1461"/>
                  </a:cubicBezTo>
                  <a:cubicBezTo>
                    <a:pt x="1574" y="1463"/>
                    <a:pt x="1575" y="1465"/>
                    <a:pt x="1575" y="1466"/>
                  </a:cubicBezTo>
                  <a:cubicBezTo>
                    <a:pt x="1575" y="1468"/>
                    <a:pt x="1575" y="1469"/>
                    <a:pt x="1575" y="1469"/>
                  </a:cubicBezTo>
                  <a:cubicBezTo>
                    <a:pt x="1574" y="1470"/>
                    <a:pt x="1574" y="1471"/>
                    <a:pt x="1573" y="1472"/>
                  </a:cubicBezTo>
                  <a:cubicBezTo>
                    <a:pt x="1573" y="1473"/>
                    <a:pt x="1571" y="1474"/>
                    <a:pt x="1570" y="1476"/>
                  </a:cubicBezTo>
                  <a:cubicBezTo>
                    <a:pt x="1568" y="1478"/>
                    <a:pt x="1566" y="1480"/>
                    <a:pt x="1564" y="1482"/>
                  </a:cubicBezTo>
                  <a:close/>
                  <a:moveTo>
                    <a:pt x="1566" y="1783"/>
                  </a:moveTo>
                  <a:cubicBezTo>
                    <a:pt x="1565" y="1784"/>
                    <a:pt x="1563" y="1785"/>
                    <a:pt x="1561" y="1784"/>
                  </a:cubicBezTo>
                  <a:cubicBezTo>
                    <a:pt x="1560" y="1784"/>
                    <a:pt x="1558" y="1783"/>
                    <a:pt x="1556" y="1782"/>
                  </a:cubicBezTo>
                  <a:cubicBezTo>
                    <a:pt x="1554" y="1781"/>
                    <a:pt x="1551" y="1779"/>
                    <a:pt x="1548" y="1775"/>
                  </a:cubicBezTo>
                  <a:cubicBezTo>
                    <a:pt x="1545" y="1772"/>
                    <a:pt x="1543" y="1770"/>
                    <a:pt x="1541" y="1768"/>
                  </a:cubicBezTo>
                  <a:cubicBezTo>
                    <a:pt x="1540" y="1765"/>
                    <a:pt x="1539" y="1763"/>
                    <a:pt x="1539" y="1762"/>
                  </a:cubicBezTo>
                  <a:cubicBezTo>
                    <a:pt x="1539" y="1760"/>
                    <a:pt x="1540" y="1759"/>
                    <a:pt x="1541" y="1758"/>
                  </a:cubicBezTo>
                  <a:lnTo>
                    <a:pt x="1557" y="1742"/>
                  </a:lnTo>
                  <a:cubicBezTo>
                    <a:pt x="1542" y="1742"/>
                    <a:pt x="1529" y="1740"/>
                    <a:pt x="1516" y="1736"/>
                  </a:cubicBezTo>
                  <a:cubicBezTo>
                    <a:pt x="1504" y="1731"/>
                    <a:pt x="1493" y="1724"/>
                    <a:pt x="1483" y="1715"/>
                  </a:cubicBezTo>
                  <a:cubicBezTo>
                    <a:pt x="1475" y="1706"/>
                    <a:pt x="1468" y="1698"/>
                    <a:pt x="1464" y="1689"/>
                  </a:cubicBezTo>
                  <a:cubicBezTo>
                    <a:pt x="1459" y="1680"/>
                    <a:pt x="1456" y="1671"/>
                    <a:pt x="1456" y="1662"/>
                  </a:cubicBezTo>
                  <a:cubicBezTo>
                    <a:pt x="1455" y="1653"/>
                    <a:pt x="1456" y="1644"/>
                    <a:pt x="1460" y="1636"/>
                  </a:cubicBezTo>
                  <a:cubicBezTo>
                    <a:pt x="1463" y="1627"/>
                    <a:pt x="1469" y="1619"/>
                    <a:pt x="1476" y="1611"/>
                  </a:cubicBezTo>
                  <a:cubicBezTo>
                    <a:pt x="1485" y="1602"/>
                    <a:pt x="1495" y="1596"/>
                    <a:pt x="1505" y="1593"/>
                  </a:cubicBezTo>
                  <a:cubicBezTo>
                    <a:pt x="1515" y="1590"/>
                    <a:pt x="1526" y="1590"/>
                    <a:pt x="1537" y="1593"/>
                  </a:cubicBezTo>
                  <a:cubicBezTo>
                    <a:pt x="1548" y="1595"/>
                    <a:pt x="1560" y="1600"/>
                    <a:pt x="1572" y="1608"/>
                  </a:cubicBezTo>
                  <a:cubicBezTo>
                    <a:pt x="1584" y="1616"/>
                    <a:pt x="1596" y="1626"/>
                    <a:pt x="1609" y="1638"/>
                  </a:cubicBezTo>
                  <a:lnTo>
                    <a:pt x="1631" y="1660"/>
                  </a:lnTo>
                  <a:lnTo>
                    <a:pt x="1643" y="1648"/>
                  </a:lnTo>
                  <a:cubicBezTo>
                    <a:pt x="1649" y="1641"/>
                    <a:pt x="1654" y="1635"/>
                    <a:pt x="1657" y="1629"/>
                  </a:cubicBezTo>
                  <a:cubicBezTo>
                    <a:pt x="1661" y="1623"/>
                    <a:pt x="1663" y="1617"/>
                    <a:pt x="1663" y="1611"/>
                  </a:cubicBezTo>
                  <a:cubicBezTo>
                    <a:pt x="1663" y="1605"/>
                    <a:pt x="1662" y="1599"/>
                    <a:pt x="1659" y="1593"/>
                  </a:cubicBezTo>
                  <a:cubicBezTo>
                    <a:pt x="1656" y="1587"/>
                    <a:pt x="1651" y="1580"/>
                    <a:pt x="1644" y="1574"/>
                  </a:cubicBezTo>
                  <a:cubicBezTo>
                    <a:pt x="1637" y="1567"/>
                    <a:pt x="1630" y="1561"/>
                    <a:pt x="1622" y="1557"/>
                  </a:cubicBezTo>
                  <a:cubicBezTo>
                    <a:pt x="1615" y="1553"/>
                    <a:pt x="1608" y="1550"/>
                    <a:pt x="1602" y="1548"/>
                  </a:cubicBezTo>
                  <a:cubicBezTo>
                    <a:pt x="1595" y="1545"/>
                    <a:pt x="1590" y="1544"/>
                    <a:pt x="1585" y="1542"/>
                  </a:cubicBezTo>
                  <a:cubicBezTo>
                    <a:pt x="1581" y="1541"/>
                    <a:pt x="1578" y="1540"/>
                    <a:pt x="1576" y="1539"/>
                  </a:cubicBezTo>
                  <a:cubicBezTo>
                    <a:pt x="1575" y="1538"/>
                    <a:pt x="1575" y="1537"/>
                    <a:pt x="1574" y="1535"/>
                  </a:cubicBezTo>
                  <a:cubicBezTo>
                    <a:pt x="1574" y="1534"/>
                    <a:pt x="1574" y="1533"/>
                    <a:pt x="1575" y="1531"/>
                  </a:cubicBezTo>
                  <a:cubicBezTo>
                    <a:pt x="1575" y="1530"/>
                    <a:pt x="1576" y="1528"/>
                    <a:pt x="1577" y="1527"/>
                  </a:cubicBezTo>
                  <a:cubicBezTo>
                    <a:pt x="1578" y="1525"/>
                    <a:pt x="1580" y="1523"/>
                    <a:pt x="1582" y="1521"/>
                  </a:cubicBezTo>
                  <a:cubicBezTo>
                    <a:pt x="1585" y="1518"/>
                    <a:pt x="1587" y="1516"/>
                    <a:pt x="1589" y="1515"/>
                  </a:cubicBezTo>
                  <a:cubicBezTo>
                    <a:pt x="1591" y="1514"/>
                    <a:pt x="1594" y="1513"/>
                    <a:pt x="1597" y="1513"/>
                  </a:cubicBezTo>
                  <a:cubicBezTo>
                    <a:pt x="1600" y="1513"/>
                    <a:pt x="1605" y="1514"/>
                    <a:pt x="1611" y="1516"/>
                  </a:cubicBezTo>
                  <a:cubicBezTo>
                    <a:pt x="1617" y="1518"/>
                    <a:pt x="1623" y="1520"/>
                    <a:pt x="1630" y="1524"/>
                  </a:cubicBezTo>
                  <a:cubicBezTo>
                    <a:pt x="1637" y="1527"/>
                    <a:pt x="1644" y="1531"/>
                    <a:pt x="1651" y="1536"/>
                  </a:cubicBezTo>
                  <a:cubicBezTo>
                    <a:pt x="1658" y="1541"/>
                    <a:pt x="1664" y="1547"/>
                    <a:pt x="1671" y="1553"/>
                  </a:cubicBezTo>
                  <a:cubicBezTo>
                    <a:pt x="1682" y="1564"/>
                    <a:pt x="1690" y="1575"/>
                    <a:pt x="1696" y="1586"/>
                  </a:cubicBezTo>
                  <a:cubicBezTo>
                    <a:pt x="1701" y="1596"/>
                    <a:pt x="1704" y="1607"/>
                    <a:pt x="1704" y="1617"/>
                  </a:cubicBezTo>
                  <a:cubicBezTo>
                    <a:pt x="1704" y="1627"/>
                    <a:pt x="1701" y="1636"/>
                    <a:pt x="1696" y="1646"/>
                  </a:cubicBezTo>
                  <a:cubicBezTo>
                    <a:pt x="1691" y="1656"/>
                    <a:pt x="1683" y="1665"/>
                    <a:pt x="1673" y="1675"/>
                  </a:cubicBezTo>
                  <a:lnTo>
                    <a:pt x="1566" y="1783"/>
                  </a:lnTo>
                  <a:close/>
                  <a:moveTo>
                    <a:pt x="1610" y="1681"/>
                  </a:moveTo>
                  <a:lnTo>
                    <a:pt x="1585" y="1656"/>
                  </a:lnTo>
                  <a:cubicBezTo>
                    <a:pt x="1577" y="1648"/>
                    <a:pt x="1569" y="1642"/>
                    <a:pt x="1562" y="1637"/>
                  </a:cubicBezTo>
                  <a:cubicBezTo>
                    <a:pt x="1555" y="1633"/>
                    <a:pt x="1548" y="1630"/>
                    <a:pt x="1541" y="1629"/>
                  </a:cubicBezTo>
                  <a:cubicBezTo>
                    <a:pt x="1535" y="1627"/>
                    <a:pt x="1529" y="1628"/>
                    <a:pt x="1523" y="1630"/>
                  </a:cubicBezTo>
                  <a:cubicBezTo>
                    <a:pt x="1518" y="1631"/>
                    <a:pt x="1512" y="1635"/>
                    <a:pt x="1508" y="1640"/>
                  </a:cubicBezTo>
                  <a:cubicBezTo>
                    <a:pt x="1499" y="1648"/>
                    <a:pt x="1495" y="1657"/>
                    <a:pt x="1496" y="1667"/>
                  </a:cubicBezTo>
                  <a:cubicBezTo>
                    <a:pt x="1496" y="1677"/>
                    <a:pt x="1501" y="1687"/>
                    <a:pt x="1510" y="1697"/>
                  </a:cubicBezTo>
                  <a:cubicBezTo>
                    <a:pt x="1518" y="1704"/>
                    <a:pt x="1527" y="1709"/>
                    <a:pt x="1537" y="1712"/>
                  </a:cubicBezTo>
                  <a:cubicBezTo>
                    <a:pt x="1548" y="1715"/>
                    <a:pt x="1561" y="1716"/>
                    <a:pt x="1576" y="1715"/>
                  </a:cubicBezTo>
                  <a:lnTo>
                    <a:pt x="1610" y="1681"/>
                  </a:lnTo>
                  <a:close/>
                  <a:moveTo>
                    <a:pt x="1753" y="1969"/>
                  </a:moveTo>
                  <a:cubicBezTo>
                    <a:pt x="1752" y="1970"/>
                    <a:pt x="1751" y="1971"/>
                    <a:pt x="1750" y="1971"/>
                  </a:cubicBezTo>
                  <a:cubicBezTo>
                    <a:pt x="1749" y="1971"/>
                    <a:pt x="1748" y="1971"/>
                    <a:pt x="1746" y="1970"/>
                  </a:cubicBezTo>
                  <a:cubicBezTo>
                    <a:pt x="1744" y="1970"/>
                    <a:pt x="1743" y="1969"/>
                    <a:pt x="1741" y="1967"/>
                  </a:cubicBezTo>
                  <a:cubicBezTo>
                    <a:pt x="1738" y="1965"/>
                    <a:pt x="1736" y="1963"/>
                    <a:pt x="1733" y="1960"/>
                  </a:cubicBezTo>
                  <a:cubicBezTo>
                    <a:pt x="1730" y="1957"/>
                    <a:pt x="1728" y="1955"/>
                    <a:pt x="1726" y="1953"/>
                  </a:cubicBezTo>
                  <a:cubicBezTo>
                    <a:pt x="1725" y="1951"/>
                    <a:pt x="1723" y="1949"/>
                    <a:pt x="1723" y="1947"/>
                  </a:cubicBezTo>
                  <a:cubicBezTo>
                    <a:pt x="1722" y="1946"/>
                    <a:pt x="1722" y="1944"/>
                    <a:pt x="1722" y="1943"/>
                  </a:cubicBezTo>
                  <a:cubicBezTo>
                    <a:pt x="1722" y="1942"/>
                    <a:pt x="1723" y="1941"/>
                    <a:pt x="1724" y="1940"/>
                  </a:cubicBezTo>
                  <a:lnTo>
                    <a:pt x="1817" y="1847"/>
                  </a:lnTo>
                  <a:cubicBezTo>
                    <a:pt x="1826" y="1838"/>
                    <a:pt x="1833" y="1830"/>
                    <a:pt x="1837" y="1823"/>
                  </a:cubicBezTo>
                  <a:cubicBezTo>
                    <a:pt x="1841" y="1816"/>
                    <a:pt x="1844" y="1809"/>
                    <a:pt x="1845" y="1802"/>
                  </a:cubicBezTo>
                  <a:cubicBezTo>
                    <a:pt x="1846" y="1796"/>
                    <a:pt x="1846" y="1789"/>
                    <a:pt x="1844" y="1783"/>
                  </a:cubicBezTo>
                  <a:cubicBezTo>
                    <a:pt x="1841" y="1776"/>
                    <a:pt x="1838" y="1770"/>
                    <a:pt x="1832" y="1765"/>
                  </a:cubicBezTo>
                  <a:cubicBezTo>
                    <a:pt x="1825" y="1757"/>
                    <a:pt x="1815" y="1753"/>
                    <a:pt x="1802" y="1750"/>
                  </a:cubicBezTo>
                  <a:cubicBezTo>
                    <a:pt x="1790" y="1748"/>
                    <a:pt x="1774" y="1748"/>
                    <a:pt x="1756" y="1750"/>
                  </a:cubicBezTo>
                  <a:lnTo>
                    <a:pt x="1645" y="1861"/>
                  </a:lnTo>
                  <a:cubicBezTo>
                    <a:pt x="1644" y="1862"/>
                    <a:pt x="1643" y="1863"/>
                    <a:pt x="1642" y="1863"/>
                  </a:cubicBezTo>
                  <a:cubicBezTo>
                    <a:pt x="1641" y="1863"/>
                    <a:pt x="1640" y="1863"/>
                    <a:pt x="1638" y="1863"/>
                  </a:cubicBezTo>
                  <a:cubicBezTo>
                    <a:pt x="1637" y="1862"/>
                    <a:pt x="1635" y="1861"/>
                    <a:pt x="1633" y="1859"/>
                  </a:cubicBezTo>
                  <a:cubicBezTo>
                    <a:pt x="1631" y="1858"/>
                    <a:pt x="1628" y="1855"/>
                    <a:pt x="1625" y="1852"/>
                  </a:cubicBezTo>
                  <a:cubicBezTo>
                    <a:pt x="1622" y="1849"/>
                    <a:pt x="1620" y="1847"/>
                    <a:pt x="1618" y="1845"/>
                  </a:cubicBezTo>
                  <a:cubicBezTo>
                    <a:pt x="1617" y="1843"/>
                    <a:pt x="1616" y="1841"/>
                    <a:pt x="1615" y="1839"/>
                  </a:cubicBezTo>
                  <a:cubicBezTo>
                    <a:pt x="1614" y="1838"/>
                    <a:pt x="1614" y="1836"/>
                    <a:pt x="1614" y="1835"/>
                  </a:cubicBezTo>
                  <a:cubicBezTo>
                    <a:pt x="1615" y="1834"/>
                    <a:pt x="1615" y="1833"/>
                    <a:pt x="1616" y="1832"/>
                  </a:cubicBezTo>
                  <a:lnTo>
                    <a:pt x="1775" y="1673"/>
                  </a:lnTo>
                  <a:cubicBezTo>
                    <a:pt x="1776" y="1672"/>
                    <a:pt x="1777" y="1672"/>
                    <a:pt x="1778" y="1671"/>
                  </a:cubicBezTo>
                  <a:cubicBezTo>
                    <a:pt x="1779" y="1671"/>
                    <a:pt x="1780" y="1671"/>
                    <a:pt x="1782" y="1672"/>
                  </a:cubicBezTo>
                  <a:cubicBezTo>
                    <a:pt x="1784" y="1672"/>
                    <a:pt x="1785" y="1673"/>
                    <a:pt x="1787" y="1675"/>
                  </a:cubicBezTo>
                  <a:cubicBezTo>
                    <a:pt x="1789" y="1676"/>
                    <a:pt x="1791" y="1678"/>
                    <a:pt x="1794" y="1681"/>
                  </a:cubicBezTo>
                  <a:cubicBezTo>
                    <a:pt x="1797" y="1684"/>
                    <a:pt x="1799" y="1686"/>
                    <a:pt x="1800" y="1688"/>
                  </a:cubicBezTo>
                  <a:cubicBezTo>
                    <a:pt x="1802" y="1690"/>
                    <a:pt x="1803" y="1691"/>
                    <a:pt x="1803" y="1693"/>
                  </a:cubicBezTo>
                  <a:cubicBezTo>
                    <a:pt x="1803" y="1694"/>
                    <a:pt x="1804" y="1695"/>
                    <a:pt x="1803" y="1697"/>
                  </a:cubicBezTo>
                  <a:cubicBezTo>
                    <a:pt x="1803" y="1698"/>
                    <a:pt x="1802" y="1699"/>
                    <a:pt x="1802" y="1700"/>
                  </a:cubicBezTo>
                  <a:lnTo>
                    <a:pt x="1780" y="1721"/>
                  </a:lnTo>
                  <a:cubicBezTo>
                    <a:pt x="1799" y="1720"/>
                    <a:pt x="1816" y="1721"/>
                    <a:pt x="1829" y="1725"/>
                  </a:cubicBezTo>
                  <a:cubicBezTo>
                    <a:pt x="1843" y="1730"/>
                    <a:pt x="1854" y="1736"/>
                    <a:pt x="1863" y="1745"/>
                  </a:cubicBezTo>
                  <a:cubicBezTo>
                    <a:pt x="1874" y="1756"/>
                    <a:pt x="1881" y="1767"/>
                    <a:pt x="1885" y="1778"/>
                  </a:cubicBezTo>
                  <a:cubicBezTo>
                    <a:pt x="1888" y="1788"/>
                    <a:pt x="1889" y="1799"/>
                    <a:pt x="1888" y="1810"/>
                  </a:cubicBezTo>
                  <a:cubicBezTo>
                    <a:pt x="1886" y="1820"/>
                    <a:pt x="1882" y="1830"/>
                    <a:pt x="1876" y="1840"/>
                  </a:cubicBezTo>
                  <a:cubicBezTo>
                    <a:pt x="1870" y="1850"/>
                    <a:pt x="1861" y="1861"/>
                    <a:pt x="1850" y="1872"/>
                  </a:cubicBezTo>
                  <a:lnTo>
                    <a:pt x="1753" y="1969"/>
                  </a:lnTo>
                  <a:close/>
                  <a:moveTo>
                    <a:pt x="2038" y="2091"/>
                  </a:moveTo>
                  <a:cubicBezTo>
                    <a:pt x="2025" y="2104"/>
                    <a:pt x="2011" y="2114"/>
                    <a:pt x="1997" y="2122"/>
                  </a:cubicBezTo>
                  <a:cubicBezTo>
                    <a:pt x="1982" y="2129"/>
                    <a:pt x="1968" y="2134"/>
                    <a:pt x="1953" y="2135"/>
                  </a:cubicBezTo>
                  <a:cubicBezTo>
                    <a:pt x="1939" y="2136"/>
                    <a:pt x="1924" y="2134"/>
                    <a:pt x="1909" y="2128"/>
                  </a:cubicBezTo>
                  <a:cubicBezTo>
                    <a:pt x="1895" y="2122"/>
                    <a:pt x="1881" y="2113"/>
                    <a:pt x="1867" y="2099"/>
                  </a:cubicBezTo>
                  <a:cubicBezTo>
                    <a:pt x="1854" y="2086"/>
                    <a:pt x="1845" y="2073"/>
                    <a:pt x="1839" y="2059"/>
                  </a:cubicBezTo>
                  <a:cubicBezTo>
                    <a:pt x="1833" y="2045"/>
                    <a:pt x="1831" y="2032"/>
                    <a:pt x="1832" y="2018"/>
                  </a:cubicBezTo>
                  <a:cubicBezTo>
                    <a:pt x="1833" y="2004"/>
                    <a:pt x="1837" y="1990"/>
                    <a:pt x="1844" y="1976"/>
                  </a:cubicBezTo>
                  <a:cubicBezTo>
                    <a:pt x="1852" y="1962"/>
                    <a:pt x="1862" y="1949"/>
                    <a:pt x="1875" y="1935"/>
                  </a:cubicBezTo>
                  <a:cubicBezTo>
                    <a:pt x="1888" y="1922"/>
                    <a:pt x="1902" y="1912"/>
                    <a:pt x="1916" y="1905"/>
                  </a:cubicBezTo>
                  <a:cubicBezTo>
                    <a:pt x="1931" y="1897"/>
                    <a:pt x="1945" y="1893"/>
                    <a:pt x="1960" y="1892"/>
                  </a:cubicBezTo>
                  <a:cubicBezTo>
                    <a:pt x="1974" y="1891"/>
                    <a:pt x="1989" y="1893"/>
                    <a:pt x="2003" y="1899"/>
                  </a:cubicBezTo>
                  <a:cubicBezTo>
                    <a:pt x="2018" y="1904"/>
                    <a:pt x="2032" y="1914"/>
                    <a:pt x="2045" y="1928"/>
                  </a:cubicBezTo>
                  <a:cubicBezTo>
                    <a:pt x="2059" y="1941"/>
                    <a:pt x="2068" y="1954"/>
                    <a:pt x="2074" y="1968"/>
                  </a:cubicBezTo>
                  <a:cubicBezTo>
                    <a:pt x="2080" y="1981"/>
                    <a:pt x="2082" y="1995"/>
                    <a:pt x="2081" y="2009"/>
                  </a:cubicBezTo>
                  <a:cubicBezTo>
                    <a:pt x="2080" y="2023"/>
                    <a:pt x="2076" y="2037"/>
                    <a:pt x="2069" y="2051"/>
                  </a:cubicBezTo>
                  <a:cubicBezTo>
                    <a:pt x="2061" y="2064"/>
                    <a:pt x="2051" y="2078"/>
                    <a:pt x="2038" y="2091"/>
                  </a:cubicBezTo>
                  <a:close/>
                  <a:moveTo>
                    <a:pt x="2006" y="2063"/>
                  </a:moveTo>
                  <a:cubicBezTo>
                    <a:pt x="2014" y="2054"/>
                    <a:pt x="2021" y="2045"/>
                    <a:pt x="2028" y="2036"/>
                  </a:cubicBezTo>
                  <a:cubicBezTo>
                    <a:pt x="2034" y="2027"/>
                    <a:pt x="2038" y="2018"/>
                    <a:pt x="2040" y="2008"/>
                  </a:cubicBezTo>
                  <a:cubicBezTo>
                    <a:pt x="2042" y="1999"/>
                    <a:pt x="2041" y="1989"/>
                    <a:pt x="2038" y="1979"/>
                  </a:cubicBezTo>
                  <a:cubicBezTo>
                    <a:pt x="2035" y="1970"/>
                    <a:pt x="2029" y="1960"/>
                    <a:pt x="2020" y="1951"/>
                  </a:cubicBezTo>
                  <a:cubicBezTo>
                    <a:pt x="2011" y="1942"/>
                    <a:pt x="2002" y="1936"/>
                    <a:pt x="1993" y="1933"/>
                  </a:cubicBezTo>
                  <a:cubicBezTo>
                    <a:pt x="1984" y="1930"/>
                    <a:pt x="1974" y="1929"/>
                    <a:pt x="1965" y="1931"/>
                  </a:cubicBezTo>
                  <a:cubicBezTo>
                    <a:pt x="1955" y="1932"/>
                    <a:pt x="1945" y="1936"/>
                    <a:pt x="1936" y="1942"/>
                  </a:cubicBezTo>
                  <a:cubicBezTo>
                    <a:pt x="1926" y="1947"/>
                    <a:pt x="1917" y="1955"/>
                    <a:pt x="1908" y="1964"/>
                  </a:cubicBezTo>
                  <a:cubicBezTo>
                    <a:pt x="1899" y="1972"/>
                    <a:pt x="1891" y="1981"/>
                    <a:pt x="1885" y="1991"/>
                  </a:cubicBezTo>
                  <a:cubicBezTo>
                    <a:pt x="1879" y="2000"/>
                    <a:pt x="1875" y="2009"/>
                    <a:pt x="1873" y="2019"/>
                  </a:cubicBezTo>
                  <a:cubicBezTo>
                    <a:pt x="1871" y="2028"/>
                    <a:pt x="1872" y="2038"/>
                    <a:pt x="1875" y="2047"/>
                  </a:cubicBezTo>
                  <a:cubicBezTo>
                    <a:pt x="1878" y="2057"/>
                    <a:pt x="1884" y="2067"/>
                    <a:pt x="1893" y="2076"/>
                  </a:cubicBezTo>
                  <a:cubicBezTo>
                    <a:pt x="1902" y="2085"/>
                    <a:pt x="1911" y="2090"/>
                    <a:pt x="1920" y="2094"/>
                  </a:cubicBezTo>
                  <a:cubicBezTo>
                    <a:pt x="1930" y="2097"/>
                    <a:pt x="1939" y="2098"/>
                    <a:pt x="1949" y="2096"/>
                  </a:cubicBezTo>
                  <a:cubicBezTo>
                    <a:pt x="1958" y="2095"/>
                    <a:pt x="1968" y="2091"/>
                    <a:pt x="1977" y="2085"/>
                  </a:cubicBezTo>
                  <a:cubicBezTo>
                    <a:pt x="1987" y="2080"/>
                    <a:pt x="1996" y="2072"/>
                    <a:pt x="2006" y="2063"/>
                  </a:cubicBezTo>
                  <a:close/>
                  <a:moveTo>
                    <a:pt x="2383" y="2280"/>
                  </a:moveTo>
                  <a:cubicBezTo>
                    <a:pt x="2382" y="2281"/>
                    <a:pt x="2381" y="2282"/>
                    <a:pt x="2379" y="2283"/>
                  </a:cubicBezTo>
                  <a:cubicBezTo>
                    <a:pt x="2378" y="2284"/>
                    <a:pt x="2376" y="2285"/>
                    <a:pt x="2374" y="2286"/>
                  </a:cubicBezTo>
                  <a:lnTo>
                    <a:pt x="2176" y="2390"/>
                  </a:lnTo>
                  <a:cubicBezTo>
                    <a:pt x="2174" y="2391"/>
                    <a:pt x="2172" y="2392"/>
                    <a:pt x="2171" y="2392"/>
                  </a:cubicBezTo>
                  <a:cubicBezTo>
                    <a:pt x="2169" y="2392"/>
                    <a:pt x="2168" y="2391"/>
                    <a:pt x="2166" y="2390"/>
                  </a:cubicBezTo>
                  <a:cubicBezTo>
                    <a:pt x="2164" y="2390"/>
                    <a:pt x="2162" y="2388"/>
                    <a:pt x="2159" y="2386"/>
                  </a:cubicBezTo>
                  <a:cubicBezTo>
                    <a:pt x="2157" y="2384"/>
                    <a:pt x="2154" y="2381"/>
                    <a:pt x="2150" y="2377"/>
                  </a:cubicBezTo>
                  <a:cubicBezTo>
                    <a:pt x="2146" y="2374"/>
                    <a:pt x="2144" y="2370"/>
                    <a:pt x="2141" y="2368"/>
                  </a:cubicBezTo>
                  <a:cubicBezTo>
                    <a:pt x="2139" y="2365"/>
                    <a:pt x="2137" y="2363"/>
                    <a:pt x="2136" y="2361"/>
                  </a:cubicBezTo>
                  <a:cubicBezTo>
                    <a:pt x="2135" y="2359"/>
                    <a:pt x="2135" y="2357"/>
                    <a:pt x="2135" y="2356"/>
                  </a:cubicBezTo>
                  <a:cubicBezTo>
                    <a:pt x="2135" y="2354"/>
                    <a:pt x="2136" y="2353"/>
                    <a:pt x="2137" y="2351"/>
                  </a:cubicBezTo>
                  <a:lnTo>
                    <a:pt x="2219" y="2202"/>
                  </a:lnTo>
                  <a:lnTo>
                    <a:pt x="2220" y="2200"/>
                  </a:lnTo>
                  <a:lnTo>
                    <a:pt x="2218" y="2201"/>
                  </a:lnTo>
                  <a:lnTo>
                    <a:pt x="2071" y="2286"/>
                  </a:lnTo>
                  <a:cubicBezTo>
                    <a:pt x="2070" y="2287"/>
                    <a:pt x="2068" y="2287"/>
                    <a:pt x="2067" y="2287"/>
                  </a:cubicBezTo>
                  <a:cubicBezTo>
                    <a:pt x="2065" y="2287"/>
                    <a:pt x="2063" y="2287"/>
                    <a:pt x="2061" y="2286"/>
                  </a:cubicBezTo>
                  <a:cubicBezTo>
                    <a:pt x="2059" y="2285"/>
                    <a:pt x="2057" y="2283"/>
                    <a:pt x="2054" y="2281"/>
                  </a:cubicBezTo>
                  <a:cubicBezTo>
                    <a:pt x="2052" y="2279"/>
                    <a:pt x="2049" y="2276"/>
                    <a:pt x="2045" y="2272"/>
                  </a:cubicBezTo>
                  <a:cubicBezTo>
                    <a:pt x="2041" y="2269"/>
                    <a:pt x="2039" y="2266"/>
                    <a:pt x="2037" y="2263"/>
                  </a:cubicBezTo>
                  <a:cubicBezTo>
                    <a:pt x="2034" y="2261"/>
                    <a:pt x="2033" y="2258"/>
                    <a:pt x="2032" y="2256"/>
                  </a:cubicBezTo>
                  <a:cubicBezTo>
                    <a:pt x="2031" y="2254"/>
                    <a:pt x="2030" y="2253"/>
                    <a:pt x="2031" y="2251"/>
                  </a:cubicBezTo>
                  <a:cubicBezTo>
                    <a:pt x="2031" y="2250"/>
                    <a:pt x="2031" y="2248"/>
                    <a:pt x="2032" y="2247"/>
                  </a:cubicBezTo>
                  <a:lnTo>
                    <a:pt x="2137" y="2049"/>
                  </a:lnTo>
                  <a:cubicBezTo>
                    <a:pt x="2138" y="2047"/>
                    <a:pt x="2139" y="2045"/>
                    <a:pt x="2140" y="2043"/>
                  </a:cubicBezTo>
                  <a:cubicBezTo>
                    <a:pt x="2141" y="2042"/>
                    <a:pt x="2142" y="2041"/>
                    <a:pt x="2143" y="2040"/>
                  </a:cubicBezTo>
                  <a:cubicBezTo>
                    <a:pt x="2144" y="2039"/>
                    <a:pt x="2145" y="2038"/>
                    <a:pt x="2146" y="2038"/>
                  </a:cubicBezTo>
                  <a:cubicBezTo>
                    <a:pt x="2147" y="2038"/>
                    <a:pt x="2148" y="2038"/>
                    <a:pt x="2150" y="2039"/>
                  </a:cubicBezTo>
                  <a:cubicBezTo>
                    <a:pt x="2151" y="2040"/>
                    <a:pt x="2153" y="2041"/>
                    <a:pt x="2155" y="2043"/>
                  </a:cubicBezTo>
                  <a:cubicBezTo>
                    <a:pt x="2157" y="2044"/>
                    <a:pt x="2159" y="2047"/>
                    <a:pt x="2162" y="2049"/>
                  </a:cubicBezTo>
                  <a:cubicBezTo>
                    <a:pt x="2165" y="2053"/>
                    <a:pt x="2168" y="2055"/>
                    <a:pt x="2170" y="2057"/>
                  </a:cubicBezTo>
                  <a:cubicBezTo>
                    <a:pt x="2172" y="2060"/>
                    <a:pt x="2173" y="2061"/>
                    <a:pt x="2174" y="2063"/>
                  </a:cubicBezTo>
                  <a:cubicBezTo>
                    <a:pt x="2174" y="2064"/>
                    <a:pt x="2174" y="2066"/>
                    <a:pt x="2174" y="2067"/>
                  </a:cubicBezTo>
                  <a:cubicBezTo>
                    <a:pt x="2174" y="2068"/>
                    <a:pt x="2173" y="2070"/>
                    <a:pt x="2173" y="2071"/>
                  </a:cubicBezTo>
                  <a:lnTo>
                    <a:pt x="2080" y="2241"/>
                  </a:lnTo>
                  <a:lnTo>
                    <a:pt x="2079" y="2242"/>
                  </a:lnTo>
                  <a:lnTo>
                    <a:pt x="2080" y="2241"/>
                  </a:lnTo>
                  <a:lnTo>
                    <a:pt x="2247" y="2145"/>
                  </a:lnTo>
                  <a:cubicBezTo>
                    <a:pt x="2248" y="2144"/>
                    <a:pt x="2249" y="2144"/>
                    <a:pt x="2251" y="2144"/>
                  </a:cubicBezTo>
                  <a:cubicBezTo>
                    <a:pt x="2252" y="2143"/>
                    <a:pt x="2253" y="2144"/>
                    <a:pt x="2255" y="2144"/>
                  </a:cubicBezTo>
                  <a:cubicBezTo>
                    <a:pt x="2256" y="2145"/>
                    <a:pt x="2258" y="2146"/>
                    <a:pt x="2260" y="2148"/>
                  </a:cubicBezTo>
                  <a:cubicBezTo>
                    <a:pt x="2262" y="2149"/>
                    <a:pt x="2265" y="2152"/>
                    <a:pt x="2267" y="2155"/>
                  </a:cubicBezTo>
                  <a:cubicBezTo>
                    <a:pt x="2270" y="2157"/>
                    <a:pt x="2273" y="2160"/>
                    <a:pt x="2274" y="2162"/>
                  </a:cubicBezTo>
                  <a:cubicBezTo>
                    <a:pt x="2276" y="2164"/>
                    <a:pt x="2277" y="2166"/>
                    <a:pt x="2278" y="2167"/>
                  </a:cubicBezTo>
                  <a:cubicBezTo>
                    <a:pt x="2278" y="2169"/>
                    <a:pt x="2279" y="2170"/>
                    <a:pt x="2278" y="2171"/>
                  </a:cubicBezTo>
                  <a:cubicBezTo>
                    <a:pt x="2278" y="2172"/>
                    <a:pt x="2278" y="2173"/>
                    <a:pt x="2277" y="2175"/>
                  </a:cubicBezTo>
                  <a:lnTo>
                    <a:pt x="2183" y="2344"/>
                  </a:lnTo>
                  <a:lnTo>
                    <a:pt x="2182" y="2346"/>
                  </a:lnTo>
                  <a:lnTo>
                    <a:pt x="2184" y="2345"/>
                  </a:lnTo>
                  <a:lnTo>
                    <a:pt x="2353" y="2251"/>
                  </a:lnTo>
                  <a:cubicBezTo>
                    <a:pt x="2354" y="2250"/>
                    <a:pt x="2355" y="2250"/>
                    <a:pt x="2357" y="2250"/>
                  </a:cubicBezTo>
                  <a:cubicBezTo>
                    <a:pt x="2358" y="2249"/>
                    <a:pt x="2359" y="2250"/>
                    <a:pt x="2361" y="2250"/>
                  </a:cubicBezTo>
                  <a:cubicBezTo>
                    <a:pt x="2363" y="2251"/>
                    <a:pt x="2364" y="2252"/>
                    <a:pt x="2366" y="2254"/>
                  </a:cubicBezTo>
                  <a:cubicBezTo>
                    <a:pt x="2369" y="2256"/>
                    <a:pt x="2371" y="2258"/>
                    <a:pt x="2374" y="2261"/>
                  </a:cubicBezTo>
                  <a:cubicBezTo>
                    <a:pt x="2377" y="2264"/>
                    <a:pt x="2379" y="2267"/>
                    <a:pt x="2381" y="2268"/>
                  </a:cubicBezTo>
                  <a:cubicBezTo>
                    <a:pt x="2382" y="2270"/>
                    <a:pt x="2384" y="2272"/>
                    <a:pt x="2384" y="2273"/>
                  </a:cubicBezTo>
                  <a:cubicBezTo>
                    <a:pt x="2385" y="2275"/>
                    <a:pt x="2385" y="2276"/>
                    <a:pt x="2385" y="2277"/>
                  </a:cubicBezTo>
                  <a:cubicBezTo>
                    <a:pt x="2384" y="2278"/>
                    <a:pt x="2384" y="2279"/>
                    <a:pt x="2383" y="2280"/>
                  </a:cubicBezTo>
                  <a:close/>
                  <a:moveTo>
                    <a:pt x="2490" y="2544"/>
                  </a:moveTo>
                  <a:cubicBezTo>
                    <a:pt x="2477" y="2557"/>
                    <a:pt x="2464" y="2567"/>
                    <a:pt x="2449" y="2575"/>
                  </a:cubicBezTo>
                  <a:cubicBezTo>
                    <a:pt x="2435" y="2582"/>
                    <a:pt x="2420" y="2586"/>
                    <a:pt x="2406" y="2587"/>
                  </a:cubicBezTo>
                  <a:cubicBezTo>
                    <a:pt x="2391" y="2589"/>
                    <a:pt x="2377" y="2586"/>
                    <a:pt x="2362" y="2580"/>
                  </a:cubicBezTo>
                  <a:cubicBezTo>
                    <a:pt x="2347" y="2575"/>
                    <a:pt x="2333" y="2565"/>
                    <a:pt x="2320" y="2552"/>
                  </a:cubicBezTo>
                  <a:cubicBezTo>
                    <a:pt x="2307" y="2539"/>
                    <a:pt x="2297" y="2525"/>
                    <a:pt x="2291" y="2512"/>
                  </a:cubicBezTo>
                  <a:cubicBezTo>
                    <a:pt x="2286" y="2498"/>
                    <a:pt x="2283" y="2484"/>
                    <a:pt x="2284" y="2470"/>
                  </a:cubicBezTo>
                  <a:cubicBezTo>
                    <a:pt x="2285" y="2456"/>
                    <a:pt x="2289" y="2443"/>
                    <a:pt x="2297" y="2429"/>
                  </a:cubicBezTo>
                  <a:cubicBezTo>
                    <a:pt x="2304" y="2415"/>
                    <a:pt x="2315" y="2401"/>
                    <a:pt x="2328" y="2388"/>
                  </a:cubicBezTo>
                  <a:cubicBezTo>
                    <a:pt x="2341" y="2375"/>
                    <a:pt x="2355" y="2365"/>
                    <a:pt x="2369" y="2357"/>
                  </a:cubicBezTo>
                  <a:cubicBezTo>
                    <a:pt x="2383" y="2350"/>
                    <a:pt x="2398" y="2345"/>
                    <a:pt x="2412" y="2344"/>
                  </a:cubicBezTo>
                  <a:cubicBezTo>
                    <a:pt x="2427" y="2343"/>
                    <a:pt x="2441" y="2345"/>
                    <a:pt x="2456" y="2351"/>
                  </a:cubicBezTo>
                  <a:cubicBezTo>
                    <a:pt x="2470" y="2357"/>
                    <a:pt x="2484" y="2367"/>
                    <a:pt x="2498" y="2380"/>
                  </a:cubicBezTo>
                  <a:cubicBezTo>
                    <a:pt x="2511" y="2393"/>
                    <a:pt x="2521" y="2407"/>
                    <a:pt x="2526" y="2420"/>
                  </a:cubicBezTo>
                  <a:cubicBezTo>
                    <a:pt x="2532" y="2434"/>
                    <a:pt x="2535" y="2448"/>
                    <a:pt x="2534" y="2461"/>
                  </a:cubicBezTo>
                  <a:cubicBezTo>
                    <a:pt x="2533" y="2475"/>
                    <a:pt x="2529" y="2489"/>
                    <a:pt x="2521" y="2503"/>
                  </a:cubicBezTo>
                  <a:cubicBezTo>
                    <a:pt x="2514" y="2517"/>
                    <a:pt x="2504" y="2531"/>
                    <a:pt x="2490" y="2544"/>
                  </a:cubicBezTo>
                  <a:close/>
                  <a:moveTo>
                    <a:pt x="2458" y="2516"/>
                  </a:moveTo>
                  <a:cubicBezTo>
                    <a:pt x="2467" y="2507"/>
                    <a:pt x="2474" y="2498"/>
                    <a:pt x="2480" y="2489"/>
                  </a:cubicBezTo>
                  <a:cubicBezTo>
                    <a:pt x="2486" y="2479"/>
                    <a:pt x="2490" y="2470"/>
                    <a:pt x="2492" y="2461"/>
                  </a:cubicBezTo>
                  <a:cubicBezTo>
                    <a:pt x="2494" y="2451"/>
                    <a:pt x="2494" y="2442"/>
                    <a:pt x="2491" y="2432"/>
                  </a:cubicBezTo>
                  <a:cubicBezTo>
                    <a:pt x="2488" y="2422"/>
                    <a:pt x="2482" y="2413"/>
                    <a:pt x="2472" y="2403"/>
                  </a:cubicBezTo>
                  <a:cubicBezTo>
                    <a:pt x="2464" y="2395"/>
                    <a:pt x="2455" y="2389"/>
                    <a:pt x="2445" y="2386"/>
                  </a:cubicBezTo>
                  <a:cubicBezTo>
                    <a:pt x="2436" y="2382"/>
                    <a:pt x="2427" y="2382"/>
                    <a:pt x="2417" y="2383"/>
                  </a:cubicBezTo>
                  <a:cubicBezTo>
                    <a:pt x="2407" y="2385"/>
                    <a:pt x="2398" y="2388"/>
                    <a:pt x="2388" y="2394"/>
                  </a:cubicBezTo>
                  <a:cubicBezTo>
                    <a:pt x="2379" y="2400"/>
                    <a:pt x="2369" y="2407"/>
                    <a:pt x="2360" y="2416"/>
                  </a:cubicBezTo>
                  <a:cubicBezTo>
                    <a:pt x="2351" y="2425"/>
                    <a:pt x="2344" y="2434"/>
                    <a:pt x="2338" y="2443"/>
                  </a:cubicBezTo>
                  <a:cubicBezTo>
                    <a:pt x="2332" y="2452"/>
                    <a:pt x="2328" y="2462"/>
                    <a:pt x="2326" y="2471"/>
                  </a:cubicBezTo>
                  <a:cubicBezTo>
                    <a:pt x="2324" y="2481"/>
                    <a:pt x="2324" y="2490"/>
                    <a:pt x="2327" y="2500"/>
                  </a:cubicBezTo>
                  <a:cubicBezTo>
                    <a:pt x="2330" y="2510"/>
                    <a:pt x="2337" y="2519"/>
                    <a:pt x="2346" y="2529"/>
                  </a:cubicBezTo>
                  <a:cubicBezTo>
                    <a:pt x="2354" y="2537"/>
                    <a:pt x="2363" y="2543"/>
                    <a:pt x="2373" y="2546"/>
                  </a:cubicBezTo>
                  <a:cubicBezTo>
                    <a:pt x="2382" y="2549"/>
                    <a:pt x="2392" y="2550"/>
                    <a:pt x="2401" y="2549"/>
                  </a:cubicBezTo>
                  <a:cubicBezTo>
                    <a:pt x="2411" y="2547"/>
                    <a:pt x="2420" y="2544"/>
                    <a:pt x="2430" y="2538"/>
                  </a:cubicBezTo>
                  <a:cubicBezTo>
                    <a:pt x="2439" y="2532"/>
                    <a:pt x="2449" y="2525"/>
                    <a:pt x="2458" y="2516"/>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79" name="Freeform 126"/>
            <p:cNvSpPr>
              <a:spLocks noEditPoints="1"/>
            </p:cNvSpPr>
            <p:nvPr/>
          </p:nvSpPr>
          <p:spPr bwMode="auto">
            <a:xfrm>
              <a:off x="1594" y="2001"/>
              <a:ext cx="158" cy="162"/>
            </a:xfrm>
            <a:custGeom>
              <a:avLst/>
              <a:gdLst>
                <a:gd name="T0" fmla="*/ 9 w 1490"/>
                <a:gd name="T1" fmla="*/ 213 h 1537"/>
                <a:gd name="T2" fmla="*/ 26 w 1490"/>
                <a:gd name="T3" fmla="*/ 154 h 1537"/>
                <a:gd name="T4" fmla="*/ 111 w 1490"/>
                <a:gd name="T5" fmla="*/ 256 h 1537"/>
                <a:gd name="T6" fmla="*/ 138 w 1490"/>
                <a:gd name="T7" fmla="*/ 113 h 1537"/>
                <a:gd name="T8" fmla="*/ 289 w 1490"/>
                <a:gd name="T9" fmla="*/ 35 h 1537"/>
                <a:gd name="T10" fmla="*/ 318 w 1490"/>
                <a:gd name="T11" fmla="*/ 111 h 1537"/>
                <a:gd name="T12" fmla="*/ 287 w 1490"/>
                <a:gd name="T13" fmla="*/ 100 h 1537"/>
                <a:gd name="T14" fmla="*/ 181 w 1490"/>
                <a:gd name="T15" fmla="*/ 75 h 1537"/>
                <a:gd name="T16" fmla="*/ 187 w 1490"/>
                <a:gd name="T17" fmla="*/ 269 h 1537"/>
                <a:gd name="T18" fmla="*/ 329 w 1490"/>
                <a:gd name="T19" fmla="*/ 541 h 1537"/>
                <a:gd name="T20" fmla="*/ 389 w 1490"/>
                <a:gd name="T21" fmla="*/ 355 h 1537"/>
                <a:gd name="T22" fmla="*/ 206 w 1490"/>
                <a:gd name="T23" fmla="*/ 418 h 1537"/>
                <a:gd name="T24" fmla="*/ 315 w 1490"/>
                <a:gd name="T25" fmla="*/ 193 h 1537"/>
                <a:gd name="T26" fmla="*/ 342 w 1490"/>
                <a:gd name="T27" fmla="*/ 226 h 1537"/>
                <a:gd name="T28" fmla="*/ 430 w 1490"/>
                <a:gd name="T29" fmla="*/ 303 h 1537"/>
                <a:gd name="T30" fmla="*/ 352 w 1490"/>
                <a:gd name="T31" fmla="*/ 501 h 1537"/>
                <a:gd name="T32" fmla="*/ 550 w 1490"/>
                <a:gd name="T33" fmla="*/ 423 h 1537"/>
                <a:gd name="T34" fmla="*/ 532 w 1490"/>
                <a:gd name="T35" fmla="*/ 745 h 1537"/>
                <a:gd name="T36" fmla="*/ 448 w 1490"/>
                <a:gd name="T37" fmla="*/ 658 h 1537"/>
                <a:gd name="T38" fmla="*/ 593 w 1490"/>
                <a:gd name="T39" fmla="*/ 608 h 1537"/>
                <a:gd name="T40" fmla="*/ 606 w 1490"/>
                <a:gd name="T41" fmla="*/ 527 h 1537"/>
                <a:gd name="T42" fmla="*/ 566 w 1490"/>
                <a:gd name="T43" fmla="*/ 491 h 1537"/>
                <a:gd name="T44" fmla="*/ 680 w 1490"/>
                <a:gd name="T45" fmla="*/ 555 h 1537"/>
                <a:gd name="T46" fmla="*/ 546 w 1490"/>
                <a:gd name="T47" fmla="*/ 607 h 1537"/>
                <a:gd name="T48" fmla="*/ 560 w 1490"/>
                <a:gd name="T49" fmla="*/ 684 h 1537"/>
                <a:gd name="T50" fmla="*/ 821 w 1490"/>
                <a:gd name="T51" fmla="*/ 751 h 1537"/>
                <a:gd name="T52" fmla="*/ 734 w 1490"/>
                <a:gd name="T53" fmla="*/ 726 h 1537"/>
                <a:gd name="T54" fmla="*/ 599 w 1490"/>
                <a:gd name="T55" fmla="*/ 809 h 1537"/>
                <a:gd name="T56" fmla="*/ 778 w 1490"/>
                <a:gd name="T57" fmla="*/ 651 h 1537"/>
                <a:gd name="T58" fmla="*/ 811 w 1490"/>
                <a:gd name="T59" fmla="*/ 690 h 1537"/>
                <a:gd name="T60" fmla="*/ 853 w 1490"/>
                <a:gd name="T61" fmla="*/ 733 h 1537"/>
                <a:gd name="T62" fmla="*/ 819 w 1490"/>
                <a:gd name="T63" fmla="*/ 1028 h 1537"/>
                <a:gd name="T64" fmla="*/ 735 w 1490"/>
                <a:gd name="T65" fmla="*/ 896 h 1537"/>
                <a:gd name="T66" fmla="*/ 873 w 1490"/>
                <a:gd name="T67" fmla="*/ 761 h 1537"/>
                <a:gd name="T68" fmla="*/ 979 w 1490"/>
                <a:gd name="T69" fmla="*/ 864 h 1537"/>
                <a:gd name="T70" fmla="*/ 765 w 1490"/>
                <a:gd name="T71" fmla="*/ 927 h 1537"/>
                <a:gd name="T72" fmla="*/ 1081 w 1490"/>
                <a:gd name="T73" fmla="*/ 1129 h 1537"/>
                <a:gd name="T74" fmla="*/ 982 w 1490"/>
                <a:gd name="T75" fmla="*/ 1148 h 1537"/>
                <a:gd name="T76" fmla="*/ 1017 w 1490"/>
                <a:gd name="T77" fmla="*/ 1186 h 1537"/>
                <a:gd name="T78" fmla="*/ 928 w 1490"/>
                <a:gd name="T79" fmla="*/ 1204 h 1537"/>
                <a:gd name="T80" fmla="*/ 938 w 1490"/>
                <a:gd name="T81" fmla="*/ 1266 h 1537"/>
                <a:gd name="T82" fmla="*/ 902 w 1490"/>
                <a:gd name="T83" fmla="*/ 1175 h 1537"/>
                <a:gd name="T84" fmla="*/ 903 w 1490"/>
                <a:gd name="T85" fmla="*/ 1109 h 1537"/>
                <a:gd name="T86" fmla="*/ 1105 w 1490"/>
                <a:gd name="T87" fmla="*/ 972 h 1537"/>
                <a:gd name="T88" fmla="*/ 1099 w 1490"/>
                <a:gd name="T89" fmla="*/ 1039 h 1537"/>
                <a:gd name="T90" fmla="*/ 1189 w 1490"/>
                <a:gd name="T91" fmla="*/ 1391 h 1537"/>
                <a:gd name="T92" fmla="*/ 1161 w 1490"/>
                <a:gd name="T93" fmla="*/ 1368 h 1537"/>
                <a:gd name="T94" fmla="*/ 1091 w 1490"/>
                <a:gd name="T95" fmla="*/ 1203 h 1537"/>
                <a:gd name="T96" fmla="*/ 1303 w 1490"/>
                <a:gd name="T97" fmla="*/ 1218 h 1537"/>
                <a:gd name="T98" fmla="*/ 1426 w 1490"/>
                <a:gd name="T99" fmla="*/ 1148 h 1537"/>
                <a:gd name="T100" fmla="*/ 1232 w 1490"/>
                <a:gd name="T101" fmla="*/ 1160 h 1537"/>
                <a:gd name="T102" fmla="*/ 1130 w 1490"/>
                <a:gd name="T103" fmla="*/ 1297 h 1537"/>
                <a:gd name="T104" fmla="*/ 1337 w 1490"/>
                <a:gd name="T105" fmla="*/ 1534 h 1537"/>
                <a:gd name="T106" fmla="*/ 1235 w 1490"/>
                <a:gd name="T107" fmla="*/ 1412 h 1537"/>
                <a:gd name="T108" fmla="*/ 1369 w 1490"/>
                <a:gd name="T109" fmla="*/ 1286 h 1537"/>
                <a:gd name="T110" fmla="*/ 1489 w 1490"/>
                <a:gd name="T111" fmla="*/ 1364 h 1537"/>
                <a:gd name="T112" fmla="*/ 1462 w 1490"/>
                <a:gd name="T113" fmla="*/ 1394 h 1537"/>
                <a:gd name="T114" fmla="*/ 1343 w 1490"/>
                <a:gd name="T115" fmla="*/ 1529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90" h="1537">
                  <a:moveTo>
                    <a:pt x="187" y="269"/>
                  </a:moveTo>
                  <a:cubicBezTo>
                    <a:pt x="176" y="279"/>
                    <a:pt x="164" y="287"/>
                    <a:pt x="152" y="291"/>
                  </a:cubicBezTo>
                  <a:cubicBezTo>
                    <a:pt x="140" y="296"/>
                    <a:pt x="127" y="298"/>
                    <a:pt x="114" y="296"/>
                  </a:cubicBezTo>
                  <a:cubicBezTo>
                    <a:pt x="101" y="295"/>
                    <a:pt x="89" y="291"/>
                    <a:pt x="76" y="285"/>
                  </a:cubicBezTo>
                  <a:cubicBezTo>
                    <a:pt x="64" y="278"/>
                    <a:pt x="52" y="269"/>
                    <a:pt x="41" y="259"/>
                  </a:cubicBezTo>
                  <a:cubicBezTo>
                    <a:pt x="34" y="251"/>
                    <a:pt x="27" y="243"/>
                    <a:pt x="22" y="235"/>
                  </a:cubicBezTo>
                  <a:cubicBezTo>
                    <a:pt x="17" y="227"/>
                    <a:pt x="12" y="220"/>
                    <a:pt x="9" y="213"/>
                  </a:cubicBezTo>
                  <a:cubicBezTo>
                    <a:pt x="6" y="206"/>
                    <a:pt x="4" y="200"/>
                    <a:pt x="2" y="194"/>
                  </a:cubicBezTo>
                  <a:cubicBezTo>
                    <a:pt x="1" y="189"/>
                    <a:pt x="0" y="185"/>
                    <a:pt x="0" y="182"/>
                  </a:cubicBezTo>
                  <a:cubicBezTo>
                    <a:pt x="0" y="179"/>
                    <a:pt x="1" y="176"/>
                    <a:pt x="2" y="173"/>
                  </a:cubicBezTo>
                  <a:cubicBezTo>
                    <a:pt x="4" y="171"/>
                    <a:pt x="7" y="167"/>
                    <a:pt x="10" y="164"/>
                  </a:cubicBezTo>
                  <a:cubicBezTo>
                    <a:pt x="13" y="161"/>
                    <a:pt x="15" y="159"/>
                    <a:pt x="17" y="158"/>
                  </a:cubicBezTo>
                  <a:cubicBezTo>
                    <a:pt x="19" y="156"/>
                    <a:pt x="21" y="155"/>
                    <a:pt x="22" y="155"/>
                  </a:cubicBezTo>
                  <a:cubicBezTo>
                    <a:pt x="24" y="154"/>
                    <a:pt x="25" y="154"/>
                    <a:pt x="26" y="154"/>
                  </a:cubicBezTo>
                  <a:cubicBezTo>
                    <a:pt x="27" y="154"/>
                    <a:pt x="28" y="155"/>
                    <a:pt x="29" y="156"/>
                  </a:cubicBezTo>
                  <a:cubicBezTo>
                    <a:pt x="31" y="158"/>
                    <a:pt x="32" y="161"/>
                    <a:pt x="33" y="166"/>
                  </a:cubicBezTo>
                  <a:cubicBezTo>
                    <a:pt x="34" y="171"/>
                    <a:pt x="36" y="177"/>
                    <a:pt x="38" y="184"/>
                  </a:cubicBezTo>
                  <a:cubicBezTo>
                    <a:pt x="41" y="191"/>
                    <a:pt x="44" y="199"/>
                    <a:pt x="49" y="208"/>
                  </a:cubicBezTo>
                  <a:cubicBezTo>
                    <a:pt x="53" y="216"/>
                    <a:pt x="60" y="225"/>
                    <a:pt x="69" y="234"/>
                  </a:cubicBezTo>
                  <a:cubicBezTo>
                    <a:pt x="75" y="241"/>
                    <a:pt x="82" y="246"/>
                    <a:pt x="89" y="249"/>
                  </a:cubicBezTo>
                  <a:cubicBezTo>
                    <a:pt x="97" y="253"/>
                    <a:pt x="104" y="255"/>
                    <a:pt x="111" y="256"/>
                  </a:cubicBezTo>
                  <a:cubicBezTo>
                    <a:pt x="118" y="257"/>
                    <a:pt x="125" y="256"/>
                    <a:pt x="132" y="253"/>
                  </a:cubicBezTo>
                  <a:cubicBezTo>
                    <a:pt x="139" y="251"/>
                    <a:pt x="145" y="246"/>
                    <a:pt x="151" y="240"/>
                  </a:cubicBezTo>
                  <a:cubicBezTo>
                    <a:pt x="158" y="234"/>
                    <a:pt x="162" y="227"/>
                    <a:pt x="164" y="219"/>
                  </a:cubicBezTo>
                  <a:cubicBezTo>
                    <a:pt x="165" y="212"/>
                    <a:pt x="165" y="204"/>
                    <a:pt x="164" y="195"/>
                  </a:cubicBezTo>
                  <a:cubicBezTo>
                    <a:pt x="163" y="187"/>
                    <a:pt x="160" y="178"/>
                    <a:pt x="157" y="169"/>
                  </a:cubicBezTo>
                  <a:cubicBezTo>
                    <a:pt x="154" y="160"/>
                    <a:pt x="150" y="151"/>
                    <a:pt x="147" y="142"/>
                  </a:cubicBezTo>
                  <a:cubicBezTo>
                    <a:pt x="143" y="132"/>
                    <a:pt x="140" y="122"/>
                    <a:pt x="138" y="113"/>
                  </a:cubicBezTo>
                  <a:cubicBezTo>
                    <a:pt x="136" y="103"/>
                    <a:pt x="134" y="93"/>
                    <a:pt x="134" y="83"/>
                  </a:cubicBezTo>
                  <a:cubicBezTo>
                    <a:pt x="135" y="74"/>
                    <a:pt x="136" y="64"/>
                    <a:pt x="140" y="54"/>
                  </a:cubicBezTo>
                  <a:cubicBezTo>
                    <a:pt x="144" y="44"/>
                    <a:pt x="150" y="35"/>
                    <a:pt x="160" y="26"/>
                  </a:cubicBezTo>
                  <a:cubicBezTo>
                    <a:pt x="169" y="16"/>
                    <a:pt x="179" y="9"/>
                    <a:pt x="190" y="5"/>
                  </a:cubicBezTo>
                  <a:cubicBezTo>
                    <a:pt x="201" y="1"/>
                    <a:pt x="212" y="0"/>
                    <a:pt x="224" y="1"/>
                  </a:cubicBezTo>
                  <a:cubicBezTo>
                    <a:pt x="235" y="2"/>
                    <a:pt x="246" y="6"/>
                    <a:pt x="257" y="12"/>
                  </a:cubicBezTo>
                  <a:cubicBezTo>
                    <a:pt x="269" y="17"/>
                    <a:pt x="279" y="25"/>
                    <a:pt x="289" y="35"/>
                  </a:cubicBezTo>
                  <a:cubicBezTo>
                    <a:pt x="294" y="40"/>
                    <a:pt x="299" y="46"/>
                    <a:pt x="303" y="52"/>
                  </a:cubicBezTo>
                  <a:cubicBezTo>
                    <a:pt x="307" y="58"/>
                    <a:pt x="311" y="64"/>
                    <a:pt x="314" y="70"/>
                  </a:cubicBezTo>
                  <a:cubicBezTo>
                    <a:pt x="317" y="76"/>
                    <a:pt x="319" y="82"/>
                    <a:pt x="321" y="87"/>
                  </a:cubicBezTo>
                  <a:cubicBezTo>
                    <a:pt x="323" y="92"/>
                    <a:pt x="324" y="96"/>
                    <a:pt x="324" y="98"/>
                  </a:cubicBezTo>
                  <a:cubicBezTo>
                    <a:pt x="324" y="101"/>
                    <a:pt x="323" y="102"/>
                    <a:pt x="323" y="103"/>
                  </a:cubicBezTo>
                  <a:cubicBezTo>
                    <a:pt x="323" y="104"/>
                    <a:pt x="322" y="105"/>
                    <a:pt x="322" y="107"/>
                  </a:cubicBezTo>
                  <a:cubicBezTo>
                    <a:pt x="321" y="108"/>
                    <a:pt x="320" y="109"/>
                    <a:pt x="318" y="111"/>
                  </a:cubicBezTo>
                  <a:cubicBezTo>
                    <a:pt x="317" y="112"/>
                    <a:pt x="315" y="114"/>
                    <a:pt x="313" y="116"/>
                  </a:cubicBezTo>
                  <a:cubicBezTo>
                    <a:pt x="311" y="119"/>
                    <a:pt x="309" y="120"/>
                    <a:pt x="307" y="122"/>
                  </a:cubicBezTo>
                  <a:cubicBezTo>
                    <a:pt x="305" y="123"/>
                    <a:pt x="304" y="124"/>
                    <a:pt x="302" y="125"/>
                  </a:cubicBezTo>
                  <a:cubicBezTo>
                    <a:pt x="301" y="126"/>
                    <a:pt x="300" y="126"/>
                    <a:pt x="298" y="126"/>
                  </a:cubicBezTo>
                  <a:cubicBezTo>
                    <a:pt x="297" y="126"/>
                    <a:pt x="296" y="126"/>
                    <a:pt x="295" y="125"/>
                  </a:cubicBezTo>
                  <a:cubicBezTo>
                    <a:pt x="294" y="123"/>
                    <a:pt x="293" y="121"/>
                    <a:pt x="292" y="116"/>
                  </a:cubicBezTo>
                  <a:cubicBezTo>
                    <a:pt x="291" y="112"/>
                    <a:pt x="289" y="106"/>
                    <a:pt x="287" y="100"/>
                  </a:cubicBezTo>
                  <a:cubicBezTo>
                    <a:pt x="285" y="94"/>
                    <a:pt x="282" y="88"/>
                    <a:pt x="279" y="80"/>
                  </a:cubicBezTo>
                  <a:cubicBezTo>
                    <a:pt x="275" y="73"/>
                    <a:pt x="269" y="66"/>
                    <a:pt x="263" y="59"/>
                  </a:cubicBezTo>
                  <a:cubicBezTo>
                    <a:pt x="256" y="53"/>
                    <a:pt x="250" y="48"/>
                    <a:pt x="243" y="45"/>
                  </a:cubicBezTo>
                  <a:cubicBezTo>
                    <a:pt x="237" y="42"/>
                    <a:pt x="231" y="41"/>
                    <a:pt x="225" y="41"/>
                  </a:cubicBezTo>
                  <a:cubicBezTo>
                    <a:pt x="219" y="40"/>
                    <a:pt x="213" y="41"/>
                    <a:pt x="208" y="44"/>
                  </a:cubicBezTo>
                  <a:cubicBezTo>
                    <a:pt x="203" y="46"/>
                    <a:pt x="198" y="49"/>
                    <a:pt x="193" y="54"/>
                  </a:cubicBezTo>
                  <a:cubicBezTo>
                    <a:pt x="187" y="60"/>
                    <a:pt x="183" y="67"/>
                    <a:pt x="181" y="75"/>
                  </a:cubicBezTo>
                  <a:cubicBezTo>
                    <a:pt x="180" y="82"/>
                    <a:pt x="180" y="90"/>
                    <a:pt x="181" y="99"/>
                  </a:cubicBezTo>
                  <a:cubicBezTo>
                    <a:pt x="182" y="107"/>
                    <a:pt x="185" y="116"/>
                    <a:pt x="188" y="125"/>
                  </a:cubicBezTo>
                  <a:cubicBezTo>
                    <a:pt x="191" y="134"/>
                    <a:pt x="195" y="144"/>
                    <a:pt x="198" y="153"/>
                  </a:cubicBezTo>
                  <a:cubicBezTo>
                    <a:pt x="201" y="163"/>
                    <a:pt x="205" y="172"/>
                    <a:pt x="207" y="182"/>
                  </a:cubicBezTo>
                  <a:cubicBezTo>
                    <a:pt x="210" y="192"/>
                    <a:pt x="211" y="202"/>
                    <a:pt x="211" y="211"/>
                  </a:cubicBezTo>
                  <a:cubicBezTo>
                    <a:pt x="211" y="221"/>
                    <a:pt x="209" y="231"/>
                    <a:pt x="206" y="241"/>
                  </a:cubicBezTo>
                  <a:cubicBezTo>
                    <a:pt x="202" y="250"/>
                    <a:pt x="196" y="260"/>
                    <a:pt x="187" y="269"/>
                  </a:cubicBezTo>
                  <a:close/>
                  <a:moveTo>
                    <a:pt x="552" y="435"/>
                  </a:moveTo>
                  <a:cubicBezTo>
                    <a:pt x="552" y="436"/>
                    <a:pt x="550" y="437"/>
                    <a:pt x="549" y="438"/>
                  </a:cubicBezTo>
                  <a:cubicBezTo>
                    <a:pt x="548" y="439"/>
                    <a:pt x="546" y="440"/>
                    <a:pt x="543" y="441"/>
                  </a:cubicBezTo>
                  <a:lnTo>
                    <a:pt x="345" y="545"/>
                  </a:lnTo>
                  <a:cubicBezTo>
                    <a:pt x="344" y="546"/>
                    <a:pt x="342" y="547"/>
                    <a:pt x="340" y="547"/>
                  </a:cubicBezTo>
                  <a:cubicBezTo>
                    <a:pt x="339" y="547"/>
                    <a:pt x="337" y="546"/>
                    <a:pt x="335" y="546"/>
                  </a:cubicBezTo>
                  <a:cubicBezTo>
                    <a:pt x="334" y="545"/>
                    <a:pt x="331" y="543"/>
                    <a:pt x="329" y="541"/>
                  </a:cubicBezTo>
                  <a:cubicBezTo>
                    <a:pt x="326" y="539"/>
                    <a:pt x="323" y="536"/>
                    <a:pt x="320" y="532"/>
                  </a:cubicBezTo>
                  <a:cubicBezTo>
                    <a:pt x="316" y="529"/>
                    <a:pt x="313" y="526"/>
                    <a:pt x="311" y="523"/>
                  </a:cubicBezTo>
                  <a:cubicBezTo>
                    <a:pt x="309" y="520"/>
                    <a:pt x="307" y="518"/>
                    <a:pt x="306" y="516"/>
                  </a:cubicBezTo>
                  <a:cubicBezTo>
                    <a:pt x="305" y="514"/>
                    <a:pt x="305" y="512"/>
                    <a:pt x="305" y="511"/>
                  </a:cubicBezTo>
                  <a:cubicBezTo>
                    <a:pt x="305" y="509"/>
                    <a:pt x="305" y="508"/>
                    <a:pt x="306" y="506"/>
                  </a:cubicBezTo>
                  <a:lnTo>
                    <a:pt x="388" y="357"/>
                  </a:lnTo>
                  <a:lnTo>
                    <a:pt x="389" y="355"/>
                  </a:lnTo>
                  <a:lnTo>
                    <a:pt x="387" y="356"/>
                  </a:lnTo>
                  <a:lnTo>
                    <a:pt x="241" y="441"/>
                  </a:lnTo>
                  <a:cubicBezTo>
                    <a:pt x="239" y="442"/>
                    <a:pt x="238" y="442"/>
                    <a:pt x="236" y="442"/>
                  </a:cubicBezTo>
                  <a:cubicBezTo>
                    <a:pt x="235" y="443"/>
                    <a:pt x="233" y="442"/>
                    <a:pt x="231" y="441"/>
                  </a:cubicBezTo>
                  <a:cubicBezTo>
                    <a:pt x="229" y="440"/>
                    <a:pt x="226" y="438"/>
                    <a:pt x="224" y="436"/>
                  </a:cubicBezTo>
                  <a:cubicBezTo>
                    <a:pt x="221" y="434"/>
                    <a:pt x="218" y="431"/>
                    <a:pt x="215" y="427"/>
                  </a:cubicBezTo>
                  <a:cubicBezTo>
                    <a:pt x="211" y="424"/>
                    <a:pt x="208" y="421"/>
                    <a:pt x="206" y="418"/>
                  </a:cubicBezTo>
                  <a:cubicBezTo>
                    <a:pt x="204" y="416"/>
                    <a:pt x="203" y="413"/>
                    <a:pt x="202" y="411"/>
                  </a:cubicBezTo>
                  <a:cubicBezTo>
                    <a:pt x="201" y="409"/>
                    <a:pt x="200" y="408"/>
                    <a:pt x="200" y="406"/>
                  </a:cubicBezTo>
                  <a:cubicBezTo>
                    <a:pt x="200" y="405"/>
                    <a:pt x="201" y="403"/>
                    <a:pt x="202" y="402"/>
                  </a:cubicBezTo>
                  <a:lnTo>
                    <a:pt x="306" y="204"/>
                  </a:lnTo>
                  <a:cubicBezTo>
                    <a:pt x="307" y="202"/>
                    <a:pt x="309" y="200"/>
                    <a:pt x="309" y="198"/>
                  </a:cubicBezTo>
                  <a:cubicBezTo>
                    <a:pt x="310" y="197"/>
                    <a:pt x="311" y="196"/>
                    <a:pt x="312" y="195"/>
                  </a:cubicBezTo>
                  <a:cubicBezTo>
                    <a:pt x="313" y="194"/>
                    <a:pt x="314" y="193"/>
                    <a:pt x="315" y="193"/>
                  </a:cubicBezTo>
                  <a:cubicBezTo>
                    <a:pt x="317" y="193"/>
                    <a:pt x="318" y="193"/>
                    <a:pt x="319" y="194"/>
                  </a:cubicBezTo>
                  <a:cubicBezTo>
                    <a:pt x="321" y="195"/>
                    <a:pt x="323" y="196"/>
                    <a:pt x="325" y="198"/>
                  </a:cubicBezTo>
                  <a:cubicBezTo>
                    <a:pt x="327" y="199"/>
                    <a:pt x="329" y="202"/>
                    <a:pt x="332" y="204"/>
                  </a:cubicBezTo>
                  <a:cubicBezTo>
                    <a:pt x="335" y="208"/>
                    <a:pt x="338" y="210"/>
                    <a:pt x="339" y="212"/>
                  </a:cubicBezTo>
                  <a:cubicBezTo>
                    <a:pt x="341" y="215"/>
                    <a:pt x="342" y="216"/>
                    <a:pt x="343" y="218"/>
                  </a:cubicBezTo>
                  <a:cubicBezTo>
                    <a:pt x="344" y="219"/>
                    <a:pt x="344" y="221"/>
                    <a:pt x="344" y="222"/>
                  </a:cubicBezTo>
                  <a:cubicBezTo>
                    <a:pt x="343" y="223"/>
                    <a:pt x="343" y="225"/>
                    <a:pt x="342" y="226"/>
                  </a:cubicBezTo>
                  <a:lnTo>
                    <a:pt x="249" y="396"/>
                  </a:lnTo>
                  <a:lnTo>
                    <a:pt x="248" y="397"/>
                  </a:lnTo>
                  <a:lnTo>
                    <a:pt x="250" y="396"/>
                  </a:lnTo>
                  <a:lnTo>
                    <a:pt x="416" y="300"/>
                  </a:lnTo>
                  <a:cubicBezTo>
                    <a:pt x="418" y="299"/>
                    <a:pt x="419" y="299"/>
                    <a:pt x="420" y="299"/>
                  </a:cubicBezTo>
                  <a:cubicBezTo>
                    <a:pt x="422" y="298"/>
                    <a:pt x="423" y="299"/>
                    <a:pt x="424" y="299"/>
                  </a:cubicBezTo>
                  <a:cubicBezTo>
                    <a:pt x="426" y="300"/>
                    <a:pt x="428" y="301"/>
                    <a:pt x="430" y="303"/>
                  </a:cubicBezTo>
                  <a:cubicBezTo>
                    <a:pt x="432" y="304"/>
                    <a:pt x="434" y="307"/>
                    <a:pt x="437" y="310"/>
                  </a:cubicBezTo>
                  <a:cubicBezTo>
                    <a:pt x="440" y="312"/>
                    <a:pt x="442" y="315"/>
                    <a:pt x="444" y="317"/>
                  </a:cubicBezTo>
                  <a:cubicBezTo>
                    <a:pt x="445" y="319"/>
                    <a:pt x="447" y="321"/>
                    <a:pt x="447" y="322"/>
                  </a:cubicBezTo>
                  <a:cubicBezTo>
                    <a:pt x="448" y="324"/>
                    <a:pt x="448" y="325"/>
                    <a:pt x="448" y="326"/>
                  </a:cubicBezTo>
                  <a:cubicBezTo>
                    <a:pt x="448" y="327"/>
                    <a:pt x="447" y="328"/>
                    <a:pt x="446" y="330"/>
                  </a:cubicBezTo>
                  <a:lnTo>
                    <a:pt x="353" y="499"/>
                  </a:lnTo>
                  <a:lnTo>
                    <a:pt x="352" y="501"/>
                  </a:lnTo>
                  <a:lnTo>
                    <a:pt x="353" y="500"/>
                  </a:lnTo>
                  <a:lnTo>
                    <a:pt x="522" y="406"/>
                  </a:lnTo>
                  <a:cubicBezTo>
                    <a:pt x="524" y="405"/>
                    <a:pt x="525" y="405"/>
                    <a:pt x="526" y="405"/>
                  </a:cubicBezTo>
                  <a:cubicBezTo>
                    <a:pt x="528" y="404"/>
                    <a:pt x="529" y="405"/>
                    <a:pt x="531" y="405"/>
                  </a:cubicBezTo>
                  <a:cubicBezTo>
                    <a:pt x="532" y="406"/>
                    <a:pt x="534" y="407"/>
                    <a:pt x="536" y="409"/>
                  </a:cubicBezTo>
                  <a:cubicBezTo>
                    <a:pt x="538" y="411"/>
                    <a:pt x="541" y="413"/>
                    <a:pt x="544" y="416"/>
                  </a:cubicBezTo>
                  <a:cubicBezTo>
                    <a:pt x="547" y="419"/>
                    <a:pt x="549" y="422"/>
                    <a:pt x="550" y="423"/>
                  </a:cubicBezTo>
                  <a:cubicBezTo>
                    <a:pt x="552" y="425"/>
                    <a:pt x="553" y="427"/>
                    <a:pt x="554" y="428"/>
                  </a:cubicBezTo>
                  <a:cubicBezTo>
                    <a:pt x="554" y="430"/>
                    <a:pt x="554" y="431"/>
                    <a:pt x="554" y="432"/>
                  </a:cubicBezTo>
                  <a:cubicBezTo>
                    <a:pt x="554" y="433"/>
                    <a:pt x="553" y="434"/>
                    <a:pt x="552" y="435"/>
                  </a:cubicBezTo>
                  <a:close/>
                  <a:moveTo>
                    <a:pt x="550" y="752"/>
                  </a:moveTo>
                  <a:cubicBezTo>
                    <a:pt x="549" y="754"/>
                    <a:pt x="547" y="754"/>
                    <a:pt x="546" y="754"/>
                  </a:cubicBezTo>
                  <a:cubicBezTo>
                    <a:pt x="544" y="754"/>
                    <a:pt x="542" y="753"/>
                    <a:pt x="540" y="752"/>
                  </a:cubicBezTo>
                  <a:cubicBezTo>
                    <a:pt x="538" y="750"/>
                    <a:pt x="536" y="748"/>
                    <a:pt x="532" y="745"/>
                  </a:cubicBezTo>
                  <a:cubicBezTo>
                    <a:pt x="529" y="742"/>
                    <a:pt x="527" y="739"/>
                    <a:pt x="526" y="737"/>
                  </a:cubicBezTo>
                  <a:cubicBezTo>
                    <a:pt x="524" y="735"/>
                    <a:pt x="523" y="733"/>
                    <a:pt x="523" y="732"/>
                  </a:cubicBezTo>
                  <a:cubicBezTo>
                    <a:pt x="523" y="730"/>
                    <a:pt x="524" y="729"/>
                    <a:pt x="525" y="727"/>
                  </a:cubicBezTo>
                  <a:lnTo>
                    <a:pt x="541" y="711"/>
                  </a:lnTo>
                  <a:cubicBezTo>
                    <a:pt x="527" y="712"/>
                    <a:pt x="513" y="710"/>
                    <a:pt x="500" y="705"/>
                  </a:cubicBezTo>
                  <a:cubicBezTo>
                    <a:pt x="488" y="701"/>
                    <a:pt x="477" y="694"/>
                    <a:pt x="467" y="684"/>
                  </a:cubicBezTo>
                  <a:cubicBezTo>
                    <a:pt x="459" y="676"/>
                    <a:pt x="452" y="667"/>
                    <a:pt x="448" y="658"/>
                  </a:cubicBezTo>
                  <a:cubicBezTo>
                    <a:pt x="443" y="649"/>
                    <a:pt x="440" y="640"/>
                    <a:pt x="440" y="632"/>
                  </a:cubicBezTo>
                  <a:cubicBezTo>
                    <a:pt x="439" y="623"/>
                    <a:pt x="441" y="614"/>
                    <a:pt x="444" y="605"/>
                  </a:cubicBezTo>
                  <a:cubicBezTo>
                    <a:pt x="447" y="597"/>
                    <a:pt x="453" y="588"/>
                    <a:pt x="460" y="581"/>
                  </a:cubicBezTo>
                  <a:cubicBezTo>
                    <a:pt x="469" y="572"/>
                    <a:pt x="479" y="566"/>
                    <a:pt x="489" y="563"/>
                  </a:cubicBezTo>
                  <a:cubicBezTo>
                    <a:pt x="499" y="560"/>
                    <a:pt x="510" y="560"/>
                    <a:pt x="521" y="562"/>
                  </a:cubicBezTo>
                  <a:cubicBezTo>
                    <a:pt x="533" y="565"/>
                    <a:pt x="544" y="570"/>
                    <a:pt x="556" y="578"/>
                  </a:cubicBezTo>
                  <a:cubicBezTo>
                    <a:pt x="568" y="585"/>
                    <a:pt x="581" y="595"/>
                    <a:pt x="593" y="608"/>
                  </a:cubicBezTo>
                  <a:lnTo>
                    <a:pt x="615" y="630"/>
                  </a:lnTo>
                  <a:lnTo>
                    <a:pt x="627" y="617"/>
                  </a:lnTo>
                  <a:cubicBezTo>
                    <a:pt x="633" y="611"/>
                    <a:pt x="638" y="605"/>
                    <a:pt x="642" y="599"/>
                  </a:cubicBezTo>
                  <a:cubicBezTo>
                    <a:pt x="645" y="593"/>
                    <a:pt x="647" y="587"/>
                    <a:pt x="647" y="581"/>
                  </a:cubicBezTo>
                  <a:cubicBezTo>
                    <a:pt x="647" y="575"/>
                    <a:pt x="646" y="569"/>
                    <a:pt x="643" y="563"/>
                  </a:cubicBezTo>
                  <a:cubicBezTo>
                    <a:pt x="640" y="556"/>
                    <a:pt x="635" y="550"/>
                    <a:pt x="628" y="543"/>
                  </a:cubicBezTo>
                  <a:cubicBezTo>
                    <a:pt x="621" y="536"/>
                    <a:pt x="614" y="531"/>
                    <a:pt x="606" y="527"/>
                  </a:cubicBezTo>
                  <a:cubicBezTo>
                    <a:pt x="599" y="522"/>
                    <a:pt x="592" y="519"/>
                    <a:pt x="586" y="517"/>
                  </a:cubicBezTo>
                  <a:cubicBezTo>
                    <a:pt x="579" y="515"/>
                    <a:pt x="574" y="513"/>
                    <a:pt x="569" y="512"/>
                  </a:cubicBezTo>
                  <a:cubicBezTo>
                    <a:pt x="565" y="511"/>
                    <a:pt x="562" y="510"/>
                    <a:pt x="560" y="508"/>
                  </a:cubicBezTo>
                  <a:cubicBezTo>
                    <a:pt x="559" y="507"/>
                    <a:pt x="559" y="506"/>
                    <a:pt x="559" y="505"/>
                  </a:cubicBezTo>
                  <a:cubicBezTo>
                    <a:pt x="558" y="504"/>
                    <a:pt x="558" y="502"/>
                    <a:pt x="559" y="501"/>
                  </a:cubicBezTo>
                  <a:cubicBezTo>
                    <a:pt x="559" y="499"/>
                    <a:pt x="560" y="498"/>
                    <a:pt x="561" y="496"/>
                  </a:cubicBezTo>
                  <a:cubicBezTo>
                    <a:pt x="563" y="494"/>
                    <a:pt x="564" y="493"/>
                    <a:pt x="566" y="491"/>
                  </a:cubicBezTo>
                  <a:cubicBezTo>
                    <a:pt x="569" y="488"/>
                    <a:pt x="571" y="486"/>
                    <a:pt x="573" y="485"/>
                  </a:cubicBezTo>
                  <a:cubicBezTo>
                    <a:pt x="576" y="483"/>
                    <a:pt x="578" y="483"/>
                    <a:pt x="581" y="483"/>
                  </a:cubicBezTo>
                  <a:cubicBezTo>
                    <a:pt x="584" y="483"/>
                    <a:pt x="589" y="484"/>
                    <a:pt x="595" y="486"/>
                  </a:cubicBezTo>
                  <a:cubicBezTo>
                    <a:pt x="601" y="487"/>
                    <a:pt x="607" y="490"/>
                    <a:pt x="614" y="493"/>
                  </a:cubicBezTo>
                  <a:cubicBezTo>
                    <a:pt x="621" y="497"/>
                    <a:pt x="628" y="501"/>
                    <a:pt x="635" y="506"/>
                  </a:cubicBezTo>
                  <a:cubicBezTo>
                    <a:pt x="642" y="511"/>
                    <a:pt x="649" y="516"/>
                    <a:pt x="655" y="522"/>
                  </a:cubicBezTo>
                  <a:cubicBezTo>
                    <a:pt x="666" y="534"/>
                    <a:pt x="675" y="545"/>
                    <a:pt x="680" y="555"/>
                  </a:cubicBezTo>
                  <a:cubicBezTo>
                    <a:pt x="685" y="566"/>
                    <a:pt x="688" y="576"/>
                    <a:pt x="688" y="586"/>
                  </a:cubicBezTo>
                  <a:cubicBezTo>
                    <a:pt x="688" y="596"/>
                    <a:pt x="685" y="606"/>
                    <a:pt x="680" y="616"/>
                  </a:cubicBezTo>
                  <a:cubicBezTo>
                    <a:pt x="675" y="625"/>
                    <a:pt x="667" y="635"/>
                    <a:pt x="658" y="645"/>
                  </a:cubicBezTo>
                  <a:lnTo>
                    <a:pt x="550" y="752"/>
                  </a:lnTo>
                  <a:close/>
                  <a:moveTo>
                    <a:pt x="594" y="651"/>
                  </a:moveTo>
                  <a:lnTo>
                    <a:pt x="569" y="626"/>
                  </a:lnTo>
                  <a:cubicBezTo>
                    <a:pt x="561" y="618"/>
                    <a:pt x="553" y="611"/>
                    <a:pt x="546" y="607"/>
                  </a:cubicBezTo>
                  <a:cubicBezTo>
                    <a:pt x="539" y="602"/>
                    <a:pt x="532" y="599"/>
                    <a:pt x="525" y="598"/>
                  </a:cubicBezTo>
                  <a:cubicBezTo>
                    <a:pt x="519" y="597"/>
                    <a:pt x="513" y="597"/>
                    <a:pt x="507" y="599"/>
                  </a:cubicBezTo>
                  <a:cubicBezTo>
                    <a:pt x="502" y="601"/>
                    <a:pt x="497" y="604"/>
                    <a:pt x="492" y="609"/>
                  </a:cubicBezTo>
                  <a:cubicBezTo>
                    <a:pt x="483" y="617"/>
                    <a:pt x="480" y="627"/>
                    <a:pt x="480" y="637"/>
                  </a:cubicBezTo>
                  <a:cubicBezTo>
                    <a:pt x="480" y="647"/>
                    <a:pt x="485" y="657"/>
                    <a:pt x="495" y="666"/>
                  </a:cubicBezTo>
                  <a:cubicBezTo>
                    <a:pt x="502" y="674"/>
                    <a:pt x="511" y="679"/>
                    <a:pt x="522" y="682"/>
                  </a:cubicBezTo>
                  <a:cubicBezTo>
                    <a:pt x="532" y="684"/>
                    <a:pt x="545" y="685"/>
                    <a:pt x="560" y="684"/>
                  </a:cubicBezTo>
                  <a:lnTo>
                    <a:pt x="594" y="651"/>
                  </a:lnTo>
                  <a:close/>
                  <a:moveTo>
                    <a:pt x="842" y="746"/>
                  </a:moveTo>
                  <a:cubicBezTo>
                    <a:pt x="839" y="749"/>
                    <a:pt x="837" y="751"/>
                    <a:pt x="835" y="753"/>
                  </a:cubicBezTo>
                  <a:cubicBezTo>
                    <a:pt x="833" y="754"/>
                    <a:pt x="832" y="755"/>
                    <a:pt x="830" y="756"/>
                  </a:cubicBezTo>
                  <a:cubicBezTo>
                    <a:pt x="829" y="757"/>
                    <a:pt x="828" y="757"/>
                    <a:pt x="827" y="757"/>
                  </a:cubicBezTo>
                  <a:cubicBezTo>
                    <a:pt x="826" y="757"/>
                    <a:pt x="825" y="757"/>
                    <a:pt x="824" y="756"/>
                  </a:cubicBezTo>
                  <a:cubicBezTo>
                    <a:pt x="823" y="755"/>
                    <a:pt x="822" y="753"/>
                    <a:pt x="821" y="751"/>
                  </a:cubicBezTo>
                  <a:cubicBezTo>
                    <a:pt x="820" y="749"/>
                    <a:pt x="819" y="747"/>
                    <a:pt x="818" y="745"/>
                  </a:cubicBezTo>
                  <a:cubicBezTo>
                    <a:pt x="817" y="743"/>
                    <a:pt x="815" y="741"/>
                    <a:pt x="814" y="738"/>
                  </a:cubicBezTo>
                  <a:cubicBezTo>
                    <a:pt x="812" y="735"/>
                    <a:pt x="810" y="733"/>
                    <a:pt x="808" y="730"/>
                  </a:cubicBezTo>
                  <a:cubicBezTo>
                    <a:pt x="805" y="727"/>
                    <a:pt x="801" y="725"/>
                    <a:pt x="797" y="723"/>
                  </a:cubicBezTo>
                  <a:cubicBezTo>
                    <a:pt x="793" y="722"/>
                    <a:pt x="788" y="721"/>
                    <a:pt x="782" y="720"/>
                  </a:cubicBezTo>
                  <a:cubicBezTo>
                    <a:pt x="777" y="720"/>
                    <a:pt x="770" y="720"/>
                    <a:pt x="762" y="721"/>
                  </a:cubicBezTo>
                  <a:cubicBezTo>
                    <a:pt x="754" y="722"/>
                    <a:pt x="745" y="724"/>
                    <a:pt x="734" y="726"/>
                  </a:cubicBezTo>
                  <a:lnTo>
                    <a:pt x="629" y="831"/>
                  </a:lnTo>
                  <a:cubicBezTo>
                    <a:pt x="628" y="832"/>
                    <a:pt x="627" y="833"/>
                    <a:pt x="626" y="833"/>
                  </a:cubicBezTo>
                  <a:cubicBezTo>
                    <a:pt x="625" y="833"/>
                    <a:pt x="624" y="833"/>
                    <a:pt x="622" y="832"/>
                  </a:cubicBezTo>
                  <a:cubicBezTo>
                    <a:pt x="621" y="832"/>
                    <a:pt x="619" y="830"/>
                    <a:pt x="617" y="829"/>
                  </a:cubicBezTo>
                  <a:cubicBezTo>
                    <a:pt x="615" y="827"/>
                    <a:pt x="612" y="825"/>
                    <a:pt x="609" y="822"/>
                  </a:cubicBezTo>
                  <a:cubicBezTo>
                    <a:pt x="606" y="819"/>
                    <a:pt x="604" y="817"/>
                    <a:pt x="603" y="814"/>
                  </a:cubicBezTo>
                  <a:cubicBezTo>
                    <a:pt x="601" y="812"/>
                    <a:pt x="600" y="810"/>
                    <a:pt x="599" y="809"/>
                  </a:cubicBezTo>
                  <a:cubicBezTo>
                    <a:pt x="598" y="807"/>
                    <a:pt x="598" y="806"/>
                    <a:pt x="598" y="805"/>
                  </a:cubicBezTo>
                  <a:cubicBezTo>
                    <a:pt x="599" y="804"/>
                    <a:pt x="599" y="803"/>
                    <a:pt x="600" y="802"/>
                  </a:cubicBezTo>
                  <a:lnTo>
                    <a:pt x="759" y="643"/>
                  </a:lnTo>
                  <a:cubicBezTo>
                    <a:pt x="760" y="642"/>
                    <a:pt x="761" y="641"/>
                    <a:pt x="762" y="641"/>
                  </a:cubicBezTo>
                  <a:cubicBezTo>
                    <a:pt x="763" y="641"/>
                    <a:pt x="765" y="641"/>
                    <a:pt x="766" y="641"/>
                  </a:cubicBezTo>
                  <a:cubicBezTo>
                    <a:pt x="768" y="642"/>
                    <a:pt x="769" y="643"/>
                    <a:pt x="771" y="644"/>
                  </a:cubicBezTo>
                  <a:cubicBezTo>
                    <a:pt x="773" y="646"/>
                    <a:pt x="775" y="648"/>
                    <a:pt x="778" y="651"/>
                  </a:cubicBezTo>
                  <a:cubicBezTo>
                    <a:pt x="781" y="653"/>
                    <a:pt x="783" y="655"/>
                    <a:pt x="784" y="657"/>
                  </a:cubicBezTo>
                  <a:cubicBezTo>
                    <a:pt x="786" y="659"/>
                    <a:pt x="787" y="661"/>
                    <a:pt x="787" y="662"/>
                  </a:cubicBezTo>
                  <a:cubicBezTo>
                    <a:pt x="788" y="664"/>
                    <a:pt x="788" y="665"/>
                    <a:pt x="787" y="666"/>
                  </a:cubicBezTo>
                  <a:cubicBezTo>
                    <a:pt x="787" y="667"/>
                    <a:pt x="787" y="668"/>
                    <a:pt x="786" y="669"/>
                  </a:cubicBezTo>
                  <a:lnTo>
                    <a:pt x="763" y="692"/>
                  </a:lnTo>
                  <a:cubicBezTo>
                    <a:pt x="773" y="690"/>
                    <a:pt x="783" y="689"/>
                    <a:pt x="790" y="689"/>
                  </a:cubicBezTo>
                  <a:cubicBezTo>
                    <a:pt x="798" y="689"/>
                    <a:pt x="805" y="689"/>
                    <a:pt x="811" y="690"/>
                  </a:cubicBezTo>
                  <a:cubicBezTo>
                    <a:pt x="816" y="692"/>
                    <a:pt x="821" y="693"/>
                    <a:pt x="826" y="696"/>
                  </a:cubicBezTo>
                  <a:cubicBezTo>
                    <a:pt x="830" y="698"/>
                    <a:pt x="834" y="701"/>
                    <a:pt x="837" y="705"/>
                  </a:cubicBezTo>
                  <a:cubicBezTo>
                    <a:pt x="839" y="706"/>
                    <a:pt x="840" y="708"/>
                    <a:pt x="842" y="710"/>
                  </a:cubicBezTo>
                  <a:cubicBezTo>
                    <a:pt x="844" y="712"/>
                    <a:pt x="846" y="715"/>
                    <a:pt x="847" y="717"/>
                  </a:cubicBezTo>
                  <a:cubicBezTo>
                    <a:pt x="849" y="720"/>
                    <a:pt x="850" y="722"/>
                    <a:pt x="851" y="725"/>
                  </a:cubicBezTo>
                  <a:cubicBezTo>
                    <a:pt x="852" y="727"/>
                    <a:pt x="853" y="729"/>
                    <a:pt x="853" y="730"/>
                  </a:cubicBezTo>
                  <a:cubicBezTo>
                    <a:pt x="853" y="731"/>
                    <a:pt x="853" y="732"/>
                    <a:pt x="853" y="733"/>
                  </a:cubicBezTo>
                  <a:cubicBezTo>
                    <a:pt x="853" y="734"/>
                    <a:pt x="852" y="735"/>
                    <a:pt x="852" y="736"/>
                  </a:cubicBezTo>
                  <a:cubicBezTo>
                    <a:pt x="851" y="737"/>
                    <a:pt x="850" y="738"/>
                    <a:pt x="848" y="740"/>
                  </a:cubicBezTo>
                  <a:cubicBezTo>
                    <a:pt x="847" y="741"/>
                    <a:pt x="845" y="744"/>
                    <a:pt x="842" y="746"/>
                  </a:cubicBezTo>
                  <a:close/>
                  <a:moveTo>
                    <a:pt x="834" y="1020"/>
                  </a:moveTo>
                  <a:cubicBezTo>
                    <a:pt x="832" y="1022"/>
                    <a:pt x="830" y="1024"/>
                    <a:pt x="828" y="1025"/>
                  </a:cubicBezTo>
                  <a:cubicBezTo>
                    <a:pt x="826" y="1026"/>
                    <a:pt x="824" y="1027"/>
                    <a:pt x="823" y="1028"/>
                  </a:cubicBezTo>
                  <a:cubicBezTo>
                    <a:pt x="821" y="1028"/>
                    <a:pt x="820" y="1028"/>
                    <a:pt x="819" y="1028"/>
                  </a:cubicBezTo>
                  <a:cubicBezTo>
                    <a:pt x="817" y="1028"/>
                    <a:pt x="816" y="1027"/>
                    <a:pt x="815" y="1026"/>
                  </a:cubicBezTo>
                  <a:lnTo>
                    <a:pt x="717" y="928"/>
                  </a:lnTo>
                  <a:cubicBezTo>
                    <a:pt x="715" y="925"/>
                    <a:pt x="714" y="923"/>
                    <a:pt x="714" y="919"/>
                  </a:cubicBezTo>
                  <a:cubicBezTo>
                    <a:pt x="714" y="916"/>
                    <a:pt x="716" y="913"/>
                    <a:pt x="720" y="909"/>
                  </a:cubicBezTo>
                  <a:lnTo>
                    <a:pt x="726" y="903"/>
                  </a:lnTo>
                  <a:cubicBezTo>
                    <a:pt x="727" y="901"/>
                    <a:pt x="729" y="900"/>
                    <a:pt x="731" y="899"/>
                  </a:cubicBezTo>
                  <a:cubicBezTo>
                    <a:pt x="732" y="898"/>
                    <a:pt x="734" y="897"/>
                    <a:pt x="735" y="896"/>
                  </a:cubicBezTo>
                  <a:cubicBezTo>
                    <a:pt x="737" y="895"/>
                    <a:pt x="739" y="894"/>
                    <a:pt x="742" y="894"/>
                  </a:cubicBezTo>
                  <a:cubicBezTo>
                    <a:pt x="744" y="893"/>
                    <a:pt x="747" y="892"/>
                    <a:pt x="750" y="892"/>
                  </a:cubicBezTo>
                  <a:lnTo>
                    <a:pt x="929" y="852"/>
                  </a:lnTo>
                  <a:lnTo>
                    <a:pt x="861" y="784"/>
                  </a:lnTo>
                  <a:cubicBezTo>
                    <a:pt x="859" y="783"/>
                    <a:pt x="859" y="780"/>
                    <a:pt x="859" y="777"/>
                  </a:cubicBezTo>
                  <a:cubicBezTo>
                    <a:pt x="860" y="774"/>
                    <a:pt x="863" y="770"/>
                    <a:pt x="867" y="766"/>
                  </a:cubicBezTo>
                  <a:cubicBezTo>
                    <a:pt x="869" y="764"/>
                    <a:pt x="871" y="762"/>
                    <a:pt x="873" y="761"/>
                  </a:cubicBezTo>
                  <a:cubicBezTo>
                    <a:pt x="875" y="759"/>
                    <a:pt x="877" y="758"/>
                    <a:pt x="878" y="758"/>
                  </a:cubicBezTo>
                  <a:cubicBezTo>
                    <a:pt x="880" y="757"/>
                    <a:pt x="881" y="757"/>
                    <a:pt x="882" y="758"/>
                  </a:cubicBezTo>
                  <a:cubicBezTo>
                    <a:pt x="883" y="758"/>
                    <a:pt x="885" y="759"/>
                    <a:pt x="886" y="760"/>
                  </a:cubicBezTo>
                  <a:lnTo>
                    <a:pt x="977" y="851"/>
                  </a:lnTo>
                  <a:cubicBezTo>
                    <a:pt x="978" y="852"/>
                    <a:pt x="979" y="854"/>
                    <a:pt x="980" y="855"/>
                  </a:cubicBezTo>
                  <a:cubicBezTo>
                    <a:pt x="980" y="856"/>
                    <a:pt x="981" y="858"/>
                    <a:pt x="981" y="859"/>
                  </a:cubicBezTo>
                  <a:cubicBezTo>
                    <a:pt x="980" y="861"/>
                    <a:pt x="980" y="863"/>
                    <a:pt x="979" y="864"/>
                  </a:cubicBezTo>
                  <a:cubicBezTo>
                    <a:pt x="978" y="866"/>
                    <a:pt x="977" y="868"/>
                    <a:pt x="975" y="870"/>
                  </a:cubicBezTo>
                  <a:lnTo>
                    <a:pt x="969" y="875"/>
                  </a:lnTo>
                  <a:cubicBezTo>
                    <a:pt x="967" y="877"/>
                    <a:pt x="966" y="879"/>
                    <a:pt x="964" y="880"/>
                  </a:cubicBezTo>
                  <a:cubicBezTo>
                    <a:pt x="962" y="881"/>
                    <a:pt x="961" y="882"/>
                    <a:pt x="959" y="883"/>
                  </a:cubicBezTo>
                  <a:cubicBezTo>
                    <a:pt x="957" y="884"/>
                    <a:pt x="955" y="884"/>
                    <a:pt x="953" y="885"/>
                  </a:cubicBezTo>
                  <a:cubicBezTo>
                    <a:pt x="950" y="886"/>
                    <a:pt x="948" y="887"/>
                    <a:pt x="944" y="887"/>
                  </a:cubicBezTo>
                  <a:lnTo>
                    <a:pt x="765" y="927"/>
                  </a:lnTo>
                  <a:lnTo>
                    <a:pt x="840" y="1001"/>
                  </a:lnTo>
                  <a:cubicBezTo>
                    <a:pt x="841" y="1002"/>
                    <a:pt x="842" y="1003"/>
                    <a:pt x="842" y="1005"/>
                  </a:cubicBezTo>
                  <a:cubicBezTo>
                    <a:pt x="842" y="1006"/>
                    <a:pt x="842" y="1007"/>
                    <a:pt x="842" y="1008"/>
                  </a:cubicBezTo>
                  <a:cubicBezTo>
                    <a:pt x="841" y="1010"/>
                    <a:pt x="841" y="1012"/>
                    <a:pt x="839" y="1014"/>
                  </a:cubicBezTo>
                  <a:cubicBezTo>
                    <a:pt x="838" y="1016"/>
                    <a:pt x="836" y="1018"/>
                    <a:pt x="834" y="1020"/>
                  </a:cubicBezTo>
                  <a:close/>
                  <a:moveTo>
                    <a:pt x="1094" y="1123"/>
                  </a:moveTo>
                  <a:cubicBezTo>
                    <a:pt x="1089" y="1127"/>
                    <a:pt x="1085" y="1129"/>
                    <a:pt x="1081" y="1129"/>
                  </a:cubicBezTo>
                  <a:cubicBezTo>
                    <a:pt x="1076" y="1129"/>
                    <a:pt x="1073" y="1127"/>
                    <a:pt x="1070" y="1124"/>
                  </a:cubicBezTo>
                  <a:lnTo>
                    <a:pt x="966" y="1020"/>
                  </a:lnTo>
                  <a:cubicBezTo>
                    <a:pt x="957" y="1029"/>
                    <a:pt x="950" y="1038"/>
                    <a:pt x="944" y="1046"/>
                  </a:cubicBezTo>
                  <a:cubicBezTo>
                    <a:pt x="939" y="1055"/>
                    <a:pt x="936" y="1064"/>
                    <a:pt x="935" y="1073"/>
                  </a:cubicBezTo>
                  <a:cubicBezTo>
                    <a:pt x="934" y="1083"/>
                    <a:pt x="936" y="1092"/>
                    <a:pt x="939" y="1101"/>
                  </a:cubicBezTo>
                  <a:cubicBezTo>
                    <a:pt x="943" y="1111"/>
                    <a:pt x="950" y="1120"/>
                    <a:pt x="960" y="1129"/>
                  </a:cubicBezTo>
                  <a:cubicBezTo>
                    <a:pt x="967" y="1137"/>
                    <a:pt x="975" y="1143"/>
                    <a:pt x="982" y="1148"/>
                  </a:cubicBezTo>
                  <a:cubicBezTo>
                    <a:pt x="989" y="1152"/>
                    <a:pt x="995" y="1156"/>
                    <a:pt x="1001" y="1159"/>
                  </a:cubicBezTo>
                  <a:cubicBezTo>
                    <a:pt x="1007" y="1162"/>
                    <a:pt x="1012" y="1164"/>
                    <a:pt x="1016" y="1165"/>
                  </a:cubicBezTo>
                  <a:cubicBezTo>
                    <a:pt x="1020" y="1167"/>
                    <a:pt x="1023" y="1168"/>
                    <a:pt x="1024" y="1170"/>
                  </a:cubicBezTo>
                  <a:cubicBezTo>
                    <a:pt x="1025" y="1171"/>
                    <a:pt x="1025" y="1172"/>
                    <a:pt x="1026" y="1173"/>
                  </a:cubicBezTo>
                  <a:cubicBezTo>
                    <a:pt x="1026" y="1174"/>
                    <a:pt x="1026" y="1175"/>
                    <a:pt x="1025" y="1176"/>
                  </a:cubicBezTo>
                  <a:cubicBezTo>
                    <a:pt x="1025" y="1177"/>
                    <a:pt x="1024" y="1179"/>
                    <a:pt x="1023" y="1180"/>
                  </a:cubicBezTo>
                  <a:cubicBezTo>
                    <a:pt x="1021" y="1182"/>
                    <a:pt x="1020" y="1184"/>
                    <a:pt x="1017" y="1186"/>
                  </a:cubicBezTo>
                  <a:cubicBezTo>
                    <a:pt x="1015" y="1188"/>
                    <a:pt x="1013" y="1190"/>
                    <a:pt x="1011" y="1192"/>
                  </a:cubicBezTo>
                  <a:cubicBezTo>
                    <a:pt x="1010" y="1193"/>
                    <a:pt x="1008" y="1194"/>
                    <a:pt x="1007" y="1195"/>
                  </a:cubicBezTo>
                  <a:cubicBezTo>
                    <a:pt x="1005" y="1196"/>
                    <a:pt x="1004" y="1197"/>
                    <a:pt x="1002" y="1197"/>
                  </a:cubicBezTo>
                  <a:cubicBezTo>
                    <a:pt x="1001" y="1198"/>
                    <a:pt x="999" y="1198"/>
                    <a:pt x="997" y="1198"/>
                  </a:cubicBezTo>
                  <a:lnTo>
                    <a:pt x="949" y="1198"/>
                  </a:lnTo>
                  <a:cubicBezTo>
                    <a:pt x="943" y="1198"/>
                    <a:pt x="938" y="1199"/>
                    <a:pt x="935" y="1200"/>
                  </a:cubicBezTo>
                  <a:cubicBezTo>
                    <a:pt x="932" y="1201"/>
                    <a:pt x="929" y="1203"/>
                    <a:pt x="928" y="1204"/>
                  </a:cubicBezTo>
                  <a:cubicBezTo>
                    <a:pt x="924" y="1208"/>
                    <a:pt x="923" y="1211"/>
                    <a:pt x="923" y="1215"/>
                  </a:cubicBezTo>
                  <a:cubicBezTo>
                    <a:pt x="924" y="1218"/>
                    <a:pt x="926" y="1222"/>
                    <a:pt x="931" y="1227"/>
                  </a:cubicBezTo>
                  <a:lnTo>
                    <a:pt x="950" y="1246"/>
                  </a:lnTo>
                  <a:cubicBezTo>
                    <a:pt x="952" y="1248"/>
                    <a:pt x="953" y="1250"/>
                    <a:pt x="952" y="1251"/>
                  </a:cubicBezTo>
                  <a:cubicBezTo>
                    <a:pt x="952" y="1253"/>
                    <a:pt x="950" y="1256"/>
                    <a:pt x="947" y="1259"/>
                  </a:cubicBezTo>
                  <a:cubicBezTo>
                    <a:pt x="945" y="1261"/>
                    <a:pt x="944" y="1262"/>
                    <a:pt x="942" y="1263"/>
                  </a:cubicBezTo>
                  <a:cubicBezTo>
                    <a:pt x="941" y="1265"/>
                    <a:pt x="939" y="1265"/>
                    <a:pt x="938" y="1266"/>
                  </a:cubicBezTo>
                  <a:cubicBezTo>
                    <a:pt x="937" y="1266"/>
                    <a:pt x="936" y="1266"/>
                    <a:pt x="935" y="1266"/>
                  </a:cubicBezTo>
                  <a:cubicBezTo>
                    <a:pt x="934" y="1265"/>
                    <a:pt x="932" y="1265"/>
                    <a:pt x="931" y="1264"/>
                  </a:cubicBezTo>
                  <a:cubicBezTo>
                    <a:pt x="926" y="1261"/>
                    <a:pt x="921" y="1258"/>
                    <a:pt x="917" y="1254"/>
                  </a:cubicBezTo>
                  <a:cubicBezTo>
                    <a:pt x="912" y="1251"/>
                    <a:pt x="907" y="1247"/>
                    <a:pt x="903" y="1242"/>
                  </a:cubicBezTo>
                  <a:cubicBezTo>
                    <a:pt x="892" y="1231"/>
                    <a:pt x="885" y="1221"/>
                    <a:pt x="884" y="1210"/>
                  </a:cubicBezTo>
                  <a:cubicBezTo>
                    <a:pt x="882" y="1199"/>
                    <a:pt x="886" y="1190"/>
                    <a:pt x="894" y="1181"/>
                  </a:cubicBezTo>
                  <a:cubicBezTo>
                    <a:pt x="897" y="1179"/>
                    <a:pt x="899" y="1177"/>
                    <a:pt x="902" y="1175"/>
                  </a:cubicBezTo>
                  <a:cubicBezTo>
                    <a:pt x="904" y="1173"/>
                    <a:pt x="907" y="1172"/>
                    <a:pt x="910" y="1171"/>
                  </a:cubicBezTo>
                  <a:cubicBezTo>
                    <a:pt x="914" y="1170"/>
                    <a:pt x="917" y="1169"/>
                    <a:pt x="921" y="1168"/>
                  </a:cubicBezTo>
                  <a:cubicBezTo>
                    <a:pt x="926" y="1168"/>
                    <a:pt x="930" y="1167"/>
                    <a:pt x="936" y="1167"/>
                  </a:cubicBezTo>
                  <a:lnTo>
                    <a:pt x="955" y="1167"/>
                  </a:lnTo>
                  <a:cubicBezTo>
                    <a:pt x="951" y="1165"/>
                    <a:pt x="948" y="1162"/>
                    <a:pt x="944" y="1159"/>
                  </a:cubicBezTo>
                  <a:cubicBezTo>
                    <a:pt x="940" y="1156"/>
                    <a:pt x="936" y="1153"/>
                    <a:pt x="931" y="1148"/>
                  </a:cubicBezTo>
                  <a:cubicBezTo>
                    <a:pt x="919" y="1136"/>
                    <a:pt x="909" y="1123"/>
                    <a:pt x="903" y="1109"/>
                  </a:cubicBezTo>
                  <a:cubicBezTo>
                    <a:pt x="897" y="1096"/>
                    <a:pt x="895" y="1082"/>
                    <a:pt x="895" y="1069"/>
                  </a:cubicBezTo>
                  <a:cubicBezTo>
                    <a:pt x="896" y="1055"/>
                    <a:pt x="900" y="1041"/>
                    <a:pt x="908" y="1027"/>
                  </a:cubicBezTo>
                  <a:cubicBezTo>
                    <a:pt x="915" y="1013"/>
                    <a:pt x="926" y="998"/>
                    <a:pt x="940" y="984"/>
                  </a:cubicBezTo>
                  <a:cubicBezTo>
                    <a:pt x="954" y="970"/>
                    <a:pt x="968" y="960"/>
                    <a:pt x="982" y="952"/>
                  </a:cubicBezTo>
                  <a:cubicBezTo>
                    <a:pt x="997" y="945"/>
                    <a:pt x="1011" y="941"/>
                    <a:pt x="1025" y="940"/>
                  </a:cubicBezTo>
                  <a:cubicBezTo>
                    <a:pt x="1039" y="939"/>
                    <a:pt x="1053" y="941"/>
                    <a:pt x="1067" y="947"/>
                  </a:cubicBezTo>
                  <a:cubicBezTo>
                    <a:pt x="1080" y="952"/>
                    <a:pt x="1093" y="960"/>
                    <a:pt x="1105" y="972"/>
                  </a:cubicBezTo>
                  <a:cubicBezTo>
                    <a:pt x="1117" y="985"/>
                    <a:pt x="1126" y="997"/>
                    <a:pt x="1131" y="1010"/>
                  </a:cubicBezTo>
                  <a:cubicBezTo>
                    <a:pt x="1135" y="1023"/>
                    <a:pt x="1137" y="1035"/>
                    <a:pt x="1136" y="1048"/>
                  </a:cubicBezTo>
                  <a:cubicBezTo>
                    <a:pt x="1135" y="1060"/>
                    <a:pt x="1131" y="1072"/>
                    <a:pt x="1125" y="1084"/>
                  </a:cubicBezTo>
                  <a:cubicBezTo>
                    <a:pt x="1118" y="1096"/>
                    <a:pt x="1110" y="1107"/>
                    <a:pt x="1099" y="1117"/>
                  </a:cubicBezTo>
                  <a:lnTo>
                    <a:pt x="1094" y="1123"/>
                  </a:lnTo>
                  <a:close/>
                  <a:moveTo>
                    <a:pt x="1073" y="1085"/>
                  </a:moveTo>
                  <a:cubicBezTo>
                    <a:pt x="1089" y="1070"/>
                    <a:pt x="1098" y="1054"/>
                    <a:pt x="1099" y="1039"/>
                  </a:cubicBezTo>
                  <a:cubicBezTo>
                    <a:pt x="1101" y="1023"/>
                    <a:pt x="1095" y="1008"/>
                    <a:pt x="1081" y="994"/>
                  </a:cubicBezTo>
                  <a:cubicBezTo>
                    <a:pt x="1073" y="987"/>
                    <a:pt x="1066" y="982"/>
                    <a:pt x="1058" y="979"/>
                  </a:cubicBezTo>
                  <a:cubicBezTo>
                    <a:pt x="1049" y="976"/>
                    <a:pt x="1041" y="975"/>
                    <a:pt x="1033" y="976"/>
                  </a:cubicBezTo>
                  <a:cubicBezTo>
                    <a:pt x="1025" y="977"/>
                    <a:pt x="1017" y="979"/>
                    <a:pt x="1009" y="983"/>
                  </a:cubicBezTo>
                  <a:cubicBezTo>
                    <a:pt x="1001" y="987"/>
                    <a:pt x="994" y="992"/>
                    <a:pt x="987" y="999"/>
                  </a:cubicBezTo>
                  <a:lnTo>
                    <a:pt x="1073" y="1085"/>
                  </a:lnTo>
                  <a:close/>
                  <a:moveTo>
                    <a:pt x="1189" y="1391"/>
                  </a:moveTo>
                  <a:cubicBezTo>
                    <a:pt x="1188" y="1392"/>
                    <a:pt x="1187" y="1392"/>
                    <a:pt x="1186" y="1393"/>
                  </a:cubicBezTo>
                  <a:cubicBezTo>
                    <a:pt x="1185" y="1393"/>
                    <a:pt x="1184" y="1393"/>
                    <a:pt x="1182" y="1392"/>
                  </a:cubicBezTo>
                  <a:cubicBezTo>
                    <a:pt x="1181" y="1392"/>
                    <a:pt x="1179" y="1391"/>
                    <a:pt x="1177" y="1389"/>
                  </a:cubicBezTo>
                  <a:cubicBezTo>
                    <a:pt x="1175" y="1388"/>
                    <a:pt x="1173" y="1386"/>
                    <a:pt x="1171" y="1384"/>
                  </a:cubicBezTo>
                  <a:cubicBezTo>
                    <a:pt x="1168" y="1381"/>
                    <a:pt x="1166" y="1379"/>
                    <a:pt x="1165" y="1377"/>
                  </a:cubicBezTo>
                  <a:cubicBezTo>
                    <a:pt x="1164" y="1375"/>
                    <a:pt x="1163" y="1373"/>
                    <a:pt x="1162" y="1372"/>
                  </a:cubicBezTo>
                  <a:cubicBezTo>
                    <a:pt x="1161" y="1370"/>
                    <a:pt x="1161" y="1369"/>
                    <a:pt x="1161" y="1368"/>
                  </a:cubicBezTo>
                  <a:cubicBezTo>
                    <a:pt x="1162" y="1367"/>
                    <a:pt x="1162" y="1366"/>
                    <a:pt x="1163" y="1365"/>
                  </a:cubicBezTo>
                  <a:lnTo>
                    <a:pt x="1184" y="1344"/>
                  </a:lnTo>
                  <a:cubicBezTo>
                    <a:pt x="1167" y="1344"/>
                    <a:pt x="1151" y="1343"/>
                    <a:pt x="1137" y="1339"/>
                  </a:cubicBezTo>
                  <a:cubicBezTo>
                    <a:pt x="1123" y="1335"/>
                    <a:pt x="1110" y="1328"/>
                    <a:pt x="1100" y="1317"/>
                  </a:cubicBezTo>
                  <a:cubicBezTo>
                    <a:pt x="1088" y="1305"/>
                    <a:pt x="1080" y="1293"/>
                    <a:pt x="1077" y="1280"/>
                  </a:cubicBezTo>
                  <a:cubicBezTo>
                    <a:pt x="1073" y="1267"/>
                    <a:pt x="1072" y="1255"/>
                    <a:pt x="1075" y="1242"/>
                  </a:cubicBezTo>
                  <a:cubicBezTo>
                    <a:pt x="1078" y="1229"/>
                    <a:pt x="1083" y="1216"/>
                    <a:pt x="1091" y="1203"/>
                  </a:cubicBezTo>
                  <a:cubicBezTo>
                    <a:pt x="1099" y="1191"/>
                    <a:pt x="1109" y="1178"/>
                    <a:pt x="1120" y="1167"/>
                  </a:cubicBezTo>
                  <a:cubicBezTo>
                    <a:pt x="1134" y="1153"/>
                    <a:pt x="1148" y="1142"/>
                    <a:pt x="1162" y="1134"/>
                  </a:cubicBezTo>
                  <a:cubicBezTo>
                    <a:pt x="1176" y="1126"/>
                    <a:pt x="1190" y="1121"/>
                    <a:pt x="1203" y="1119"/>
                  </a:cubicBezTo>
                  <a:cubicBezTo>
                    <a:pt x="1217" y="1117"/>
                    <a:pt x="1230" y="1118"/>
                    <a:pt x="1242" y="1123"/>
                  </a:cubicBezTo>
                  <a:cubicBezTo>
                    <a:pt x="1255" y="1127"/>
                    <a:pt x="1267" y="1135"/>
                    <a:pt x="1278" y="1146"/>
                  </a:cubicBezTo>
                  <a:cubicBezTo>
                    <a:pt x="1288" y="1155"/>
                    <a:pt x="1294" y="1166"/>
                    <a:pt x="1298" y="1178"/>
                  </a:cubicBezTo>
                  <a:cubicBezTo>
                    <a:pt x="1301" y="1189"/>
                    <a:pt x="1303" y="1203"/>
                    <a:pt x="1303" y="1218"/>
                  </a:cubicBezTo>
                  <a:lnTo>
                    <a:pt x="1395" y="1126"/>
                  </a:lnTo>
                  <a:cubicBezTo>
                    <a:pt x="1396" y="1125"/>
                    <a:pt x="1397" y="1125"/>
                    <a:pt x="1398" y="1124"/>
                  </a:cubicBezTo>
                  <a:cubicBezTo>
                    <a:pt x="1399" y="1124"/>
                    <a:pt x="1401" y="1124"/>
                    <a:pt x="1402" y="1125"/>
                  </a:cubicBezTo>
                  <a:cubicBezTo>
                    <a:pt x="1404" y="1126"/>
                    <a:pt x="1406" y="1127"/>
                    <a:pt x="1408" y="1128"/>
                  </a:cubicBezTo>
                  <a:cubicBezTo>
                    <a:pt x="1410" y="1130"/>
                    <a:pt x="1413" y="1132"/>
                    <a:pt x="1415" y="1135"/>
                  </a:cubicBezTo>
                  <a:cubicBezTo>
                    <a:pt x="1418" y="1138"/>
                    <a:pt x="1421" y="1140"/>
                    <a:pt x="1422" y="1142"/>
                  </a:cubicBezTo>
                  <a:cubicBezTo>
                    <a:pt x="1424" y="1145"/>
                    <a:pt x="1425" y="1146"/>
                    <a:pt x="1426" y="1148"/>
                  </a:cubicBezTo>
                  <a:cubicBezTo>
                    <a:pt x="1426" y="1149"/>
                    <a:pt x="1426" y="1151"/>
                    <a:pt x="1426" y="1152"/>
                  </a:cubicBezTo>
                  <a:cubicBezTo>
                    <a:pt x="1426" y="1153"/>
                    <a:pt x="1425" y="1154"/>
                    <a:pt x="1425" y="1155"/>
                  </a:cubicBezTo>
                  <a:lnTo>
                    <a:pt x="1189" y="1391"/>
                  </a:lnTo>
                  <a:close/>
                  <a:moveTo>
                    <a:pt x="1272" y="1250"/>
                  </a:moveTo>
                  <a:cubicBezTo>
                    <a:pt x="1274" y="1232"/>
                    <a:pt x="1273" y="1217"/>
                    <a:pt x="1271" y="1204"/>
                  </a:cubicBezTo>
                  <a:cubicBezTo>
                    <a:pt x="1269" y="1192"/>
                    <a:pt x="1264" y="1182"/>
                    <a:pt x="1256" y="1174"/>
                  </a:cubicBezTo>
                  <a:cubicBezTo>
                    <a:pt x="1248" y="1166"/>
                    <a:pt x="1240" y="1162"/>
                    <a:pt x="1232" y="1160"/>
                  </a:cubicBezTo>
                  <a:cubicBezTo>
                    <a:pt x="1223" y="1158"/>
                    <a:pt x="1214" y="1159"/>
                    <a:pt x="1205" y="1161"/>
                  </a:cubicBezTo>
                  <a:cubicBezTo>
                    <a:pt x="1196" y="1164"/>
                    <a:pt x="1187" y="1168"/>
                    <a:pt x="1178" y="1174"/>
                  </a:cubicBezTo>
                  <a:cubicBezTo>
                    <a:pt x="1169" y="1180"/>
                    <a:pt x="1161" y="1186"/>
                    <a:pt x="1154" y="1194"/>
                  </a:cubicBezTo>
                  <a:cubicBezTo>
                    <a:pt x="1146" y="1202"/>
                    <a:pt x="1139" y="1210"/>
                    <a:pt x="1132" y="1219"/>
                  </a:cubicBezTo>
                  <a:cubicBezTo>
                    <a:pt x="1126" y="1228"/>
                    <a:pt x="1121" y="1237"/>
                    <a:pt x="1118" y="1246"/>
                  </a:cubicBezTo>
                  <a:cubicBezTo>
                    <a:pt x="1115" y="1255"/>
                    <a:pt x="1115" y="1264"/>
                    <a:pt x="1116" y="1273"/>
                  </a:cubicBezTo>
                  <a:cubicBezTo>
                    <a:pt x="1117" y="1281"/>
                    <a:pt x="1122" y="1289"/>
                    <a:pt x="1130" y="1297"/>
                  </a:cubicBezTo>
                  <a:cubicBezTo>
                    <a:pt x="1134" y="1301"/>
                    <a:pt x="1138" y="1304"/>
                    <a:pt x="1143" y="1307"/>
                  </a:cubicBezTo>
                  <a:cubicBezTo>
                    <a:pt x="1147" y="1309"/>
                    <a:pt x="1153" y="1311"/>
                    <a:pt x="1159" y="1312"/>
                  </a:cubicBezTo>
                  <a:cubicBezTo>
                    <a:pt x="1165" y="1314"/>
                    <a:pt x="1172" y="1314"/>
                    <a:pt x="1180" y="1315"/>
                  </a:cubicBezTo>
                  <a:cubicBezTo>
                    <a:pt x="1188" y="1315"/>
                    <a:pt x="1198" y="1314"/>
                    <a:pt x="1208" y="1313"/>
                  </a:cubicBezTo>
                  <a:lnTo>
                    <a:pt x="1272" y="1250"/>
                  </a:lnTo>
                  <a:close/>
                  <a:moveTo>
                    <a:pt x="1343" y="1529"/>
                  </a:moveTo>
                  <a:cubicBezTo>
                    <a:pt x="1341" y="1531"/>
                    <a:pt x="1339" y="1533"/>
                    <a:pt x="1337" y="1534"/>
                  </a:cubicBezTo>
                  <a:cubicBezTo>
                    <a:pt x="1335" y="1535"/>
                    <a:pt x="1333" y="1536"/>
                    <a:pt x="1332" y="1537"/>
                  </a:cubicBezTo>
                  <a:cubicBezTo>
                    <a:pt x="1330" y="1537"/>
                    <a:pt x="1329" y="1537"/>
                    <a:pt x="1328" y="1537"/>
                  </a:cubicBezTo>
                  <a:cubicBezTo>
                    <a:pt x="1327" y="1537"/>
                    <a:pt x="1325" y="1536"/>
                    <a:pt x="1325" y="1535"/>
                  </a:cubicBezTo>
                  <a:lnTo>
                    <a:pt x="1227" y="1437"/>
                  </a:lnTo>
                  <a:cubicBezTo>
                    <a:pt x="1224" y="1435"/>
                    <a:pt x="1223" y="1432"/>
                    <a:pt x="1223" y="1429"/>
                  </a:cubicBezTo>
                  <a:cubicBezTo>
                    <a:pt x="1223" y="1425"/>
                    <a:pt x="1225" y="1422"/>
                    <a:pt x="1229" y="1418"/>
                  </a:cubicBezTo>
                  <a:lnTo>
                    <a:pt x="1235" y="1412"/>
                  </a:lnTo>
                  <a:cubicBezTo>
                    <a:pt x="1237" y="1410"/>
                    <a:pt x="1238" y="1409"/>
                    <a:pt x="1240" y="1408"/>
                  </a:cubicBezTo>
                  <a:cubicBezTo>
                    <a:pt x="1241" y="1407"/>
                    <a:pt x="1243" y="1406"/>
                    <a:pt x="1245" y="1405"/>
                  </a:cubicBezTo>
                  <a:cubicBezTo>
                    <a:pt x="1246" y="1404"/>
                    <a:pt x="1248" y="1403"/>
                    <a:pt x="1251" y="1403"/>
                  </a:cubicBezTo>
                  <a:cubicBezTo>
                    <a:pt x="1253" y="1402"/>
                    <a:pt x="1256" y="1401"/>
                    <a:pt x="1259" y="1401"/>
                  </a:cubicBezTo>
                  <a:lnTo>
                    <a:pt x="1438" y="1362"/>
                  </a:lnTo>
                  <a:lnTo>
                    <a:pt x="1370" y="1294"/>
                  </a:lnTo>
                  <a:cubicBezTo>
                    <a:pt x="1368" y="1292"/>
                    <a:pt x="1368" y="1289"/>
                    <a:pt x="1369" y="1286"/>
                  </a:cubicBezTo>
                  <a:cubicBezTo>
                    <a:pt x="1369" y="1283"/>
                    <a:pt x="1372" y="1279"/>
                    <a:pt x="1376" y="1275"/>
                  </a:cubicBezTo>
                  <a:cubicBezTo>
                    <a:pt x="1378" y="1273"/>
                    <a:pt x="1380" y="1271"/>
                    <a:pt x="1382" y="1270"/>
                  </a:cubicBezTo>
                  <a:cubicBezTo>
                    <a:pt x="1384" y="1268"/>
                    <a:pt x="1386" y="1267"/>
                    <a:pt x="1387" y="1267"/>
                  </a:cubicBezTo>
                  <a:cubicBezTo>
                    <a:pt x="1389" y="1267"/>
                    <a:pt x="1390" y="1266"/>
                    <a:pt x="1391" y="1267"/>
                  </a:cubicBezTo>
                  <a:cubicBezTo>
                    <a:pt x="1393" y="1267"/>
                    <a:pt x="1394" y="1268"/>
                    <a:pt x="1395" y="1269"/>
                  </a:cubicBezTo>
                  <a:lnTo>
                    <a:pt x="1486" y="1360"/>
                  </a:lnTo>
                  <a:cubicBezTo>
                    <a:pt x="1487" y="1361"/>
                    <a:pt x="1488" y="1363"/>
                    <a:pt x="1489" y="1364"/>
                  </a:cubicBezTo>
                  <a:cubicBezTo>
                    <a:pt x="1489" y="1366"/>
                    <a:pt x="1490" y="1367"/>
                    <a:pt x="1490" y="1368"/>
                  </a:cubicBezTo>
                  <a:cubicBezTo>
                    <a:pt x="1490" y="1370"/>
                    <a:pt x="1489" y="1372"/>
                    <a:pt x="1488" y="1373"/>
                  </a:cubicBezTo>
                  <a:cubicBezTo>
                    <a:pt x="1487" y="1375"/>
                    <a:pt x="1486" y="1377"/>
                    <a:pt x="1484" y="1379"/>
                  </a:cubicBezTo>
                  <a:lnTo>
                    <a:pt x="1478" y="1385"/>
                  </a:lnTo>
                  <a:cubicBezTo>
                    <a:pt x="1476" y="1386"/>
                    <a:pt x="1475" y="1388"/>
                    <a:pt x="1473" y="1389"/>
                  </a:cubicBezTo>
                  <a:cubicBezTo>
                    <a:pt x="1472" y="1390"/>
                    <a:pt x="1470" y="1391"/>
                    <a:pt x="1468" y="1392"/>
                  </a:cubicBezTo>
                  <a:cubicBezTo>
                    <a:pt x="1466" y="1393"/>
                    <a:pt x="1464" y="1394"/>
                    <a:pt x="1462" y="1394"/>
                  </a:cubicBezTo>
                  <a:cubicBezTo>
                    <a:pt x="1459" y="1395"/>
                    <a:pt x="1457" y="1396"/>
                    <a:pt x="1454" y="1396"/>
                  </a:cubicBezTo>
                  <a:lnTo>
                    <a:pt x="1274" y="1436"/>
                  </a:lnTo>
                  <a:lnTo>
                    <a:pt x="1349" y="1510"/>
                  </a:lnTo>
                  <a:cubicBezTo>
                    <a:pt x="1350" y="1511"/>
                    <a:pt x="1351" y="1512"/>
                    <a:pt x="1351" y="1514"/>
                  </a:cubicBezTo>
                  <a:cubicBezTo>
                    <a:pt x="1351" y="1515"/>
                    <a:pt x="1351" y="1516"/>
                    <a:pt x="1351" y="1518"/>
                  </a:cubicBezTo>
                  <a:cubicBezTo>
                    <a:pt x="1351" y="1519"/>
                    <a:pt x="1350" y="1521"/>
                    <a:pt x="1348" y="1523"/>
                  </a:cubicBezTo>
                  <a:cubicBezTo>
                    <a:pt x="1347" y="1525"/>
                    <a:pt x="1345" y="1527"/>
                    <a:pt x="1343" y="1529"/>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80" name="Freeform 127"/>
            <p:cNvSpPr>
              <a:spLocks noEditPoints="1"/>
            </p:cNvSpPr>
            <p:nvPr/>
          </p:nvSpPr>
          <p:spPr bwMode="auto">
            <a:xfrm>
              <a:off x="1787" y="1997"/>
              <a:ext cx="102" cy="107"/>
            </a:xfrm>
            <a:custGeom>
              <a:avLst/>
              <a:gdLst>
                <a:gd name="T0" fmla="*/ 138 w 963"/>
                <a:gd name="T1" fmla="*/ 368 h 1020"/>
                <a:gd name="T2" fmla="*/ 117 w 963"/>
                <a:gd name="T3" fmla="*/ 336 h 1020"/>
                <a:gd name="T4" fmla="*/ 25 w 963"/>
                <a:gd name="T5" fmla="*/ 253 h 1020"/>
                <a:gd name="T6" fmla="*/ 1 w 963"/>
                <a:gd name="T7" fmla="*/ 229 h 1020"/>
                <a:gd name="T8" fmla="*/ 225 w 963"/>
                <a:gd name="T9" fmla="*/ 0 h 1020"/>
                <a:gd name="T10" fmla="*/ 250 w 963"/>
                <a:gd name="T11" fmla="*/ 20 h 1020"/>
                <a:gd name="T12" fmla="*/ 151 w 963"/>
                <a:gd name="T13" fmla="*/ 134 h 1020"/>
                <a:gd name="T14" fmla="*/ 349 w 963"/>
                <a:gd name="T15" fmla="*/ 119 h 1020"/>
                <a:gd name="T16" fmla="*/ 368 w 963"/>
                <a:gd name="T17" fmla="*/ 144 h 1020"/>
                <a:gd name="T18" fmla="*/ 183 w 963"/>
                <a:gd name="T19" fmla="*/ 167 h 1020"/>
                <a:gd name="T20" fmla="*/ 327 w 963"/>
                <a:gd name="T21" fmla="*/ 547 h 1020"/>
                <a:gd name="T22" fmla="*/ 309 w 963"/>
                <a:gd name="T23" fmla="*/ 539 h 1020"/>
                <a:gd name="T24" fmla="*/ 301 w 963"/>
                <a:gd name="T25" fmla="*/ 521 h 1020"/>
                <a:gd name="T26" fmla="*/ 218 w 963"/>
                <a:gd name="T27" fmla="*/ 443 h 1020"/>
                <a:gd name="T28" fmla="*/ 349 w 963"/>
                <a:gd name="T29" fmla="*/ 251 h 1020"/>
                <a:gd name="T30" fmla="*/ 369 w 963"/>
                <a:gd name="T31" fmla="*/ 260 h 1020"/>
                <a:gd name="T32" fmla="*/ 379 w 963"/>
                <a:gd name="T33" fmla="*/ 280 h 1020"/>
                <a:gd name="T34" fmla="*/ 259 w 963"/>
                <a:gd name="T35" fmla="*/ 437 h 1020"/>
                <a:gd name="T36" fmla="*/ 457 w 963"/>
                <a:gd name="T37" fmla="*/ 359 h 1020"/>
                <a:gd name="T38" fmla="*/ 477 w 963"/>
                <a:gd name="T39" fmla="*/ 368 h 1020"/>
                <a:gd name="T40" fmla="*/ 486 w 963"/>
                <a:gd name="T41" fmla="*/ 388 h 1020"/>
                <a:gd name="T42" fmla="*/ 451 w 963"/>
                <a:gd name="T43" fmla="*/ 673 h 1020"/>
                <a:gd name="T44" fmla="*/ 418 w 963"/>
                <a:gd name="T45" fmla="*/ 653 h 1020"/>
                <a:gd name="T46" fmla="*/ 425 w 963"/>
                <a:gd name="T47" fmla="*/ 552 h 1020"/>
                <a:gd name="T48" fmla="*/ 502 w 963"/>
                <a:gd name="T49" fmla="*/ 419 h 1020"/>
                <a:gd name="T50" fmla="*/ 521 w 963"/>
                <a:gd name="T51" fmla="*/ 413 h 1020"/>
                <a:gd name="T52" fmla="*/ 588 w 963"/>
                <a:gd name="T53" fmla="*/ 396 h 1020"/>
                <a:gd name="T54" fmla="*/ 611 w 963"/>
                <a:gd name="T55" fmla="*/ 419 h 1020"/>
                <a:gd name="T56" fmla="*/ 613 w 963"/>
                <a:gd name="T57" fmla="*/ 505 h 1020"/>
                <a:gd name="T58" fmla="*/ 606 w 963"/>
                <a:gd name="T59" fmla="*/ 523 h 1020"/>
                <a:gd name="T60" fmla="*/ 459 w 963"/>
                <a:gd name="T61" fmla="*/ 577 h 1020"/>
                <a:gd name="T62" fmla="*/ 463 w 963"/>
                <a:gd name="T63" fmla="*/ 643 h 1020"/>
                <a:gd name="T64" fmla="*/ 474 w 963"/>
                <a:gd name="T65" fmla="*/ 653 h 1020"/>
                <a:gd name="T66" fmla="*/ 630 w 963"/>
                <a:gd name="T67" fmla="*/ 855 h 1020"/>
                <a:gd name="T68" fmla="*/ 607 w 963"/>
                <a:gd name="T69" fmla="*/ 837 h 1020"/>
                <a:gd name="T70" fmla="*/ 697 w 963"/>
                <a:gd name="T71" fmla="*/ 731 h 1020"/>
                <a:gd name="T72" fmla="*/ 712 w 963"/>
                <a:gd name="T73" fmla="*/ 649 h 1020"/>
                <a:gd name="T74" fmla="*/ 523 w 963"/>
                <a:gd name="T75" fmla="*/ 747 h 1020"/>
                <a:gd name="T76" fmla="*/ 499 w 963"/>
                <a:gd name="T77" fmla="*/ 729 h 1020"/>
                <a:gd name="T78" fmla="*/ 656 w 963"/>
                <a:gd name="T79" fmla="*/ 557 h 1020"/>
                <a:gd name="T80" fmla="*/ 674 w 963"/>
                <a:gd name="T81" fmla="*/ 565 h 1020"/>
                <a:gd name="T82" fmla="*/ 682 w 963"/>
                <a:gd name="T83" fmla="*/ 584 h 1020"/>
                <a:gd name="T84" fmla="*/ 765 w 963"/>
                <a:gd name="T85" fmla="*/ 662 h 1020"/>
                <a:gd name="T86" fmla="*/ 633 w 963"/>
                <a:gd name="T87" fmla="*/ 853 h 1020"/>
                <a:gd name="T88" fmla="*/ 790 w 963"/>
                <a:gd name="T89" fmla="*/ 1012 h 1020"/>
                <a:gd name="T90" fmla="*/ 725 w 963"/>
                <a:gd name="T91" fmla="*/ 860 h 1020"/>
                <a:gd name="T92" fmla="*/ 884 w 963"/>
                <a:gd name="T93" fmla="*/ 783 h 1020"/>
                <a:gd name="T94" fmla="*/ 949 w 963"/>
                <a:gd name="T95" fmla="*/ 935 h 1020"/>
                <a:gd name="T96" fmla="*/ 920 w 963"/>
                <a:gd name="T97" fmla="*/ 892 h 1020"/>
                <a:gd name="T98" fmla="*/ 845 w 963"/>
                <a:gd name="T99" fmla="*/ 815 h 1020"/>
                <a:gd name="T100" fmla="*/ 754 w 963"/>
                <a:gd name="T101" fmla="*/ 903 h 1020"/>
                <a:gd name="T102" fmla="*/ 829 w 963"/>
                <a:gd name="T103" fmla="*/ 98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63" h="1020">
                  <a:moveTo>
                    <a:pt x="152" y="371"/>
                  </a:moveTo>
                  <a:cubicBezTo>
                    <a:pt x="151" y="372"/>
                    <a:pt x="150" y="372"/>
                    <a:pt x="149" y="373"/>
                  </a:cubicBezTo>
                  <a:cubicBezTo>
                    <a:pt x="147" y="373"/>
                    <a:pt x="146" y="373"/>
                    <a:pt x="144" y="372"/>
                  </a:cubicBezTo>
                  <a:cubicBezTo>
                    <a:pt x="143" y="371"/>
                    <a:pt x="141" y="370"/>
                    <a:pt x="138" y="368"/>
                  </a:cubicBezTo>
                  <a:cubicBezTo>
                    <a:pt x="136" y="367"/>
                    <a:pt x="133" y="364"/>
                    <a:pt x="130" y="361"/>
                  </a:cubicBezTo>
                  <a:cubicBezTo>
                    <a:pt x="126" y="357"/>
                    <a:pt x="123" y="353"/>
                    <a:pt x="121" y="350"/>
                  </a:cubicBezTo>
                  <a:cubicBezTo>
                    <a:pt x="118" y="347"/>
                    <a:pt x="117" y="345"/>
                    <a:pt x="117" y="343"/>
                  </a:cubicBezTo>
                  <a:cubicBezTo>
                    <a:pt x="116" y="340"/>
                    <a:pt x="116" y="338"/>
                    <a:pt x="117" y="336"/>
                  </a:cubicBezTo>
                  <a:lnTo>
                    <a:pt x="147" y="138"/>
                  </a:lnTo>
                  <a:lnTo>
                    <a:pt x="33" y="252"/>
                  </a:lnTo>
                  <a:cubicBezTo>
                    <a:pt x="32" y="253"/>
                    <a:pt x="31" y="254"/>
                    <a:pt x="30" y="254"/>
                  </a:cubicBezTo>
                  <a:cubicBezTo>
                    <a:pt x="28" y="254"/>
                    <a:pt x="27" y="254"/>
                    <a:pt x="25" y="253"/>
                  </a:cubicBezTo>
                  <a:cubicBezTo>
                    <a:pt x="24" y="252"/>
                    <a:pt x="22" y="251"/>
                    <a:pt x="20" y="249"/>
                  </a:cubicBezTo>
                  <a:cubicBezTo>
                    <a:pt x="17" y="248"/>
                    <a:pt x="15" y="246"/>
                    <a:pt x="12" y="243"/>
                  </a:cubicBezTo>
                  <a:cubicBezTo>
                    <a:pt x="9" y="240"/>
                    <a:pt x="7" y="237"/>
                    <a:pt x="5" y="235"/>
                  </a:cubicBezTo>
                  <a:cubicBezTo>
                    <a:pt x="3" y="233"/>
                    <a:pt x="2" y="231"/>
                    <a:pt x="1" y="229"/>
                  </a:cubicBezTo>
                  <a:cubicBezTo>
                    <a:pt x="0" y="227"/>
                    <a:pt x="0" y="226"/>
                    <a:pt x="1" y="225"/>
                  </a:cubicBezTo>
                  <a:cubicBezTo>
                    <a:pt x="1" y="224"/>
                    <a:pt x="1" y="223"/>
                    <a:pt x="2" y="222"/>
                  </a:cubicBezTo>
                  <a:lnTo>
                    <a:pt x="222" y="2"/>
                  </a:lnTo>
                  <a:cubicBezTo>
                    <a:pt x="223" y="1"/>
                    <a:pt x="224" y="1"/>
                    <a:pt x="225" y="0"/>
                  </a:cubicBezTo>
                  <a:cubicBezTo>
                    <a:pt x="226" y="0"/>
                    <a:pt x="228" y="0"/>
                    <a:pt x="229" y="1"/>
                  </a:cubicBezTo>
                  <a:cubicBezTo>
                    <a:pt x="231" y="2"/>
                    <a:pt x="233" y="3"/>
                    <a:pt x="235" y="5"/>
                  </a:cubicBezTo>
                  <a:cubicBezTo>
                    <a:pt x="237" y="7"/>
                    <a:pt x="240" y="9"/>
                    <a:pt x="243" y="12"/>
                  </a:cubicBezTo>
                  <a:cubicBezTo>
                    <a:pt x="246" y="15"/>
                    <a:pt x="248" y="17"/>
                    <a:pt x="250" y="20"/>
                  </a:cubicBezTo>
                  <a:cubicBezTo>
                    <a:pt x="251" y="22"/>
                    <a:pt x="252" y="24"/>
                    <a:pt x="253" y="25"/>
                  </a:cubicBezTo>
                  <a:cubicBezTo>
                    <a:pt x="254" y="27"/>
                    <a:pt x="254" y="28"/>
                    <a:pt x="254" y="29"/>
                  </a:cubicBezTo>
                  <a:cubicBezTo>
                    <a:pt x="254" y="31"/>
                    <a:pt x="253" y="32"/>
                    <a:pt x="252" y="33"/>
                  </a:cubicBezTo>
                  <a:lnTo>
                    <a:pt x="151" y="134"/>
                  </a:lnTo>
                  <a:lnTo>
                    <a:pt x="333" y="114"/>
                  </a:lnTo>
                  <a:cubicBezTo>
                    <a:pt x="335" y="113"/>
                    <a:pt x="337" y="113"/>
                    <a:pt x="338" y="113"/>
                  </a:cubicBezTo>
                  <a:cubicBezTo>
                    <a:pt x="340" y="114"/>
                    <a:pt x="342" y="114"/>
                    <a:pt x="343" y="115"/>
                  </a:cubicBezTo>
                  <a:cubicBezTo>
                    <a:pt x="345" y="116"/>
                    <a:pt x="347" y="117"/>
                    <a:pt x="349" y="119"/>
                  </a:cubicBezTo>
                  <a:cubicBezTo>
                    <a:pt x="351" y="121"/>
                    <a:pt x="354" y="123"/>
                    <a:pt x="357" y="126"/>
                  </a:cubicBezTo>
                  <a:cubicBezTo>
                    <a:pt x="360" y="129"/>
                    <a:pt x="363" y="132"/>
                    <a:pt x="364" y="134"/>
                  </a:cubicBezTo>
                  <a:cubicBezTo>
                    <a:pt x="366" y="136"/>
                    <a:pt x="367" y="138"/>
                    <a:pt x="368" y="140"/>
                  </a:cubicBezTo>
                  <a:cubicBezTo>
                    <a:pt x="368" y="141"/>
                    <a:pt x="368" y="143"/>
                    <a:pt x="368" y="144"/>
                  </a:cubicBezTo>
                  <a:cubicBezTo>
                    <a:pt x="368" y="145"/>
                    <a:pt x="367" y="146"/>
                    <a:pt x="366" y="147"/>
                  </a:cubicBezTo>
                  <a:cubicBezTo>
                    <a:pt x="365" y="148"/>
                    <a:pt x="363" y="149"/>
                    <a:pt x="361" y="150"/>
                  </a:cubicBezTo>
                  <a:cubicBezTo>
                    <a:pt x="358" y="151"/>
                    <a:pt x="355" y="152"/>
                    <a:pt x="350" y="152"/>
                  </a:cubicBezTo>
                  <a:lnTo>
                    <a:pt x="183" y="167"/>
                  </a:lnTo>
                  <a:lnTo>
                    <a:pt x="157" y="357"/>
                  </a:lnTo>
                  <a:cubicBezTo>
                    <a:pt x="155" y="362"/>
                    <a:pt x="155" y="366"/>
                    <a:pt x="154" y="367"/>
                  </a:cubicBezTo>
                  <a:cubicBezTo>
                    <a:pt x="153" y="369"/>
                    <a:pt x="152" y="370"/>
                    <a:pt x="152" y="371"/>
                  </a:cubicBezTo>
                  <a:close/>
                  <a:moveTo>
                    <a:pt x="327" y="547"/>
                  </a:moveTo>
                  <a:cubicBezTo>
                    <a:pt x="326" y="548"/>
                    <a:pt x="325" y="549"/>
                    <a:pt x="324" y="549"/>
                  </a:cubicBezTo>
                  <a:cubicBezTo>
                    <a:pt x="323" y="549"/>
                    <a:pt x="322" y="549"/>
                    <a:pt x="320" y="548"/>
                  </a:cubicBezTo>
                  <a:cubicBezTo>
                    <a:pt x="319" y="548"/>
                    <a:pt x="317" y="547"/>
                    <a:pt x="315" y="545"/>
                  </a:cubicBezTo>
                  <a:cubicBezTo>
                    <a:pt x="313" y="544"/>
                    <a:pt x="311" y="542"/>
                    <a:pt x="309" y="539"/>
                  </a:cubicBezTo>
                  <a:cubicBezTo>
                    <a:pt x="306" y="537"/>
                    <a:pt x="304" y="534"/>
                    <a:pt x="302" y="532"/>
                  </a:cubicBezTo>
                  <a:cubicBezTo>
                    <a:pt x="301" y="530"/>
                    <a:pt x="300" y="529"/>
                    <a:pt x="299" y="527"/>
                  </a:cubicBezTo>
                  <a:cubicBezTo>
                    <a:pt x="299" y="526"/>
                    <a:pt x="299" y="525"/>
                    <a:pt x="299" y="524"/>
                  </a:cubicBezTo>
                  <a:cubicBezTo>
                    <a:pt x="299" y="523"/>
                    <a:pt x="300" y="522"/>
                    <a:pt x="301" y="521"/>
                  </a:cubicBezTo>
                  <a:lnTo>
                    <a:pt x="322" y="500"/>
                  </a:lnTo>
                  <a:cubicBezTo>
                    <a:pt x="303" y="501"/>
                    <a:pt x="286" y="499"/>
                    <a:pt x="273" y="495"/>
                  </a:cubicBezTo>
                  <a:cubicBezTo>
                    <a:pt x="260" y="490"/>
                    <a:pt x="248" y="484"/>
                    <a:pt x="239" y="475"/>
                  </a:cubicBezTo>
                  <a:cubicBezTo>
                    <a:pt x="229" y="464"/>
                    <a:pt x="222" y="453"/>
                    <a:pt x="218" y="443"/>
                  </a:cubicBezTo>
                  <a:cubicBezTo>
                    <a:pt x="214" y="432"/>
                    <a:pt x="213" y="421"/>
                    <a:pt x="215" y="411"/>
                  </a:cubicBezTo>
                  <a:cubicBezTo>
                    <a:pt x="216" y="400"/>
                    <a:pt x="220" y="390"/>
                    <a:pt x="226" y="380"/>
                  </a:cubicBezTo>
                  <a:cubicBezTo>
                    <a:pt x="232" y="370"/>
                    <a:pt x="241" y="359"/>
                    <a:pt x="253" y="347"/>
                  </a:cubicBezTo>
                  <a:lnTo>
                    <a:pt x="349" y="251"/>
                  </a:lnTo>
                  <a:cubicBezTo>
                    <a:pt x="350" y="250"/>
                    <a:pt x="351" y="249"/>
                    <a:pt x="352" y="249"/>
                  </a:cubicBezTo>
                  <a:cubicBezTo>
                    <a:pt x="353" y="249"/>
                    <a:pt x="355" y="249"/>
                    <a:pt x="356" y="250"/>
                  </a:cubicBezTo>
                  <a:cubicBezTo>
                    <a:pt x="358" y="250"/>
                    <a:pt x="360" y="252"/>
                    <a:pt x="362" y="253"/>
                  </a:cubicBezTo>
                  <a:cubicBezTo>
                    <a:pt x="364" y="255"/>
                    <a:pt x="367" y="257"/>
                    <a:pt x="369" y="260"/>
                  </a:cubicBezTo>
                  <a:cubicBezTo>
                    <a:pt x="372" y="263"/>
                    <a:pt x="374" y="265"/>
                    <a:pt x="376" y="267"/>
                  </a:cubicBezTo>
                  <a:cubicBezTo>
                    <a:pt x="378" y="269"/>
                    <a:pt x="379" y="271"/>
                    <a:pt x="380" y="273"/>
                  </a:cubicBezTo>
                  <a:cubicBezTo>
                    <a:pt x="380" y="275"/>
                    <a:pt x="380" y="276"/>
                    <a:pt x="380" y="277"/>
                  </a:cubicBezTo>
                  <a:cubicBezTo>
                    <a:pt x="380" y="278"/>
                    <a:pt x="380" y="279"/>
                    <a:pt x="379" y="280"/>
                  </a:cubicBezTo>
                  <a:lnTo>
                    <a:pt x="286" y="373"/>
                  </a:lnTo>
                  <a:cubicBezTo>
                    <a:pt x="277" y="382"/>
                    <a:pt x="270" y="390"/>
                    <a:pt x="266" y="397"/>
                  </a:cubicBezTo>
                  <a:cubicBezTo>
                    <a:pt x="261" y="404"/>
                    <a:pt x="259" y="411"/>
                    <a:pt x="257" y="418"/>
                  </a:cubicBezTo>
                  <a:cubicBezTo>
                    <a:pt x="256" y="425"/>
                    <a:pt x="257" y="431"/>
                    <a:pt x="259" y="437"/>
                  </a:cubicBezTo>
                  <a:cubicBezTo>
                    <a:pt x="261" y="444"/>
                    <a:pt x="265" y="450"/>
                    <a:pt x="270" y="456"/>
                  </a:cubicBezTo>
                  <a:cubicBezTo>
                    <a:pt x="278" y="463"/>
                    <a:pt x="288" y="468"/>
                    <a:pt x="300" y="470"/>
                  </a:cubicBezTo>
                  <a:cubicBezTo>
                    <a:pt x="312" y="472"/>
                    <a:pt x="328" y="472"/>
                    <a:pt x="346" y="470"/>
                  </a:cubicBezTo>
                  <a:lnTo>
                    <a:pt x="457" y="359"/>
                  </a:lnTo>
                  <a:cubicBezTo>
                    <a:pt x="458" y="358"/>
                    <a:pt x="459" y="357"/>
                    <a:pt x="460" y="357"/>
                  </a:cubicBezTo>
                  <a:cubicBezTo>
                    <a:pt x="461" y="357"/>
                    <a:pt x="463" y="357"/>
                    <a:pt x="464" y="358"/>
                  </a:cubicBezTo>
                  <a:cubicBezTo>
                    <a:pt x="466" y="358"/>
                    <a:pt x="468" y="359"/>
                    <a:pt x="470" y="361"/>
                  </a:cubicBezTo>
                  <a:cubicBezTo>
                    <a:pt x="472" y="363"/>
                    <a:pt x="474" y="365"/>
                    <a:pt x="477" y="368"/>
                  </a:cubicBezTo>
                  <a:cubicBezTo>
                    <a:pt x="480" y="371"/>
                    <a:pt x="482" y="373"/>
                    <a:pt x="484" y="375"/>
                  </a:cubicBezTo>
                  <a:cubicBezTo>
                    <a:pt x="486" y="377"/>
                    <a:pt x="487" y="379"/>
                    <a:pt x="487" y="381"/>
                  </a:cubicBezTo>
                  <a:cubicBezTo>
                    <a:pt x="488" y="382"/>
                    <a:pt x="488" y="384"/>
                    <a:pt x="488" y="385"/>
                  </a:cubicBezTo>
                  <a:cubicBezTo>
                    <a:pt x="488" y="386"/>
                    <a:pt x="487" y="387"/>
                    <a:pt x="486" y="388"/>
                  </a:cubicBezTo>
                  <a:lnTo>
                    <a:pt x="327" y="547"/>
                  </a:lnTo>
                  <a:close/>
                  <a:moveTo>
                    <a:pt x="466" y="663"/>
                  </a:moveTo>
                  <a:cubicBezTo>
                    <a:pt x="463" y="666"/>
                    <a:pt x="460" y="669"/>
                    <a:pt x="458" y="670"/>
                  </a:cubicBezTo>
                  <a:cubicBezTo>
                    <a:pt x="455" y="672"/>
                    <a:pt x="453" y="673"/>
                    <a:pt x="451" y="673"/>
                  </a:cubicBezTo>
                  <a:cubicBezTo>
                    <a:pt x="449" y="673"/>
                    <a:pt x="447" y="672"/>
                    <a:pt x="444" y="671"/>
                  </a:cubicBezTo>
                  <a:cubicBezTo>
                    <a:pt x="441" y="670"/>
                    <a:pt x="439" y="669"/>
                    <a:pt x="436" y="667"/>
                  </a:cubicBezTo>
                  <a:cubicBezTo>
                    <a:pt x="433" y="665"/>
                    <a:pt x="430" y="663"/>
                    <a:pt x="427" y="660"/>
                  </a:cubicBezTo>
                  <a:cubicBezTo>
                    <a:pt x="424" y="658"/>
                    <a:pt x="421" y="655"/>
                    <a:pt x="418" y="653"/>
                  </a:cubicBezTo>
                  <a:cubicBezTo>
                    <a:pt x="410" y="644"/>
                    <a:pt x="404" y="636"/>
                    <a:pt x="400" y="628"/>
                  </a:cubicBezTo>
                  <a:cubicBezTo>
                    <a:pt x="396" y="620"/>
                    <a:pt x="395" y="612"/>
                    <a:pt x="395" y="604"/>
                  </a:cubicBezTo>
                  <a:cubicBezTo>
                    <a:pt x="396" y="596"/>
                    <a:pt x="399" y="587"/>
                    <a:pt x="404" y="579"/>
                  </a:cubicBezTo>
                  <a:cubicBezTo>
                    <a:pt x="409" y="570"/>
                    <a:pt x="416" y="562"/>
                    <a:pt x="425" y="552"/>
                  </a:cubicBezTo>
                  <a:lnTo>
                    <a:pt x="518" y="459"/>
                  </a:lnTo>
                  <a:lnTo>
                    <a:pt x="496" y="437"/>
                  </a:lnTo>
                  <a:cubicBezTo>
                    <a:pt x="494" y="435"/>
                    <a:pt x="494" y="433"/>
                    <a:pt x="495" y="430"/>
                  </a:cubicBezTo>
                  <a:cubicBezTo>
                    <a:pt x="496" y="427"/>
                    <a:pt x="498" y="423"/>
                    <a:pt x="502" y="419"/>
                  </a:cubicBezTo>
                  <a:cubicBezTo>
                    <a:pt x="505" y="417"/>
                    <a:pt x="507" y="415"/>
                    <a:pt x="508" y="414"/>
                  </a:cubicBezTo>
                  <a:cubicBezTo>
                    <a:pt x="510" y="413"/>
                    <a:pt x="512" y="412"/>
                    <a:pt x="513" y="411"/>
                  </a:cubicBezTo>
                  <a:cubicBezTo>
                    <a:pt x="515" y="411"/>
                    <a:pt x="516" y="411"/>
                    <a:pt x="517" y="411"/>
                  </a:cubicBezTo>
                  <a:cubicBezTo>
                    <a:pt x="519" y="411"/>
                    <a:pt x="520" y="412"/>
                    <a:pt x="521" y="413"/>
                  </a:cubicBezTo>
                  <a:lnTo>
                    <a:pt x="543" y="435"/>
                  </a:lnTo>
                  <a:lnTo>
                    <a:pt x="580" y="397"/>
                  </a:lnTo>
                  <a:cubicBezTo>
                    <a:pt x="581" y="396"/>
                    <a:pt x="582" y="396"/>
                    <a:pt x="583" y="396"/>
                  </a:cubicBezTo>
                  <a:cubicBezTo>
                    <a:pt x="584" y="395"/>
                    <a:pt x="586" y="395"/>
                    <a:pt x="588" y="396"/>
                  </a:cubicBezTo>
                  <a:cubicBezTo>
                    <a:pt x="589" y="397"/>
                    <a:pt x="591" y="398"/>
                    <a:pt x="593" y="399"/>
                  </a:cubicBezTo>
                  <a:cubicBezTo>
                    <a:pt x="595" y="401"/>
                    <a:pt x="598" y="403"/>
                    <a:pt x="601" y="406"/>
                  </a:cubicBezTo>
                  <a:cubicBezTo>
                    <a:pt x="604" y="409"/>
                    <a:pt x="606" y="412"/>
                    <a:pt x="607" y="414"/>
                  </a:cubicBezTo>
                  <a:cubicBezTo>
                    <a:pt x="609" y="416"/>
                    <a:pt x="610" y="418"/>
                    <a:pt x="611" y="419"/>
                  </a:cubicBezTo>
                  <a:cubicBezTo>
                    <a:pt x="611" y="421"/>
                    <a:pt x="611" y="422"/>
                    <a:pt x="611" y="423"/>
                  </a:cubicBezTo>
                  <a:cubicBezTo>
                    <a:pt x="611" y="425"/>
                    <a:pt x="610" y="426"/>
                    <a:pt x="610" y="426"/>
                  </a:cubicBezTo>
                  <a:lnTo>
                    <a:pt x="572" y="464"/>
                  </a:lnTo>
                  <a:lnTo>
                    <a:pt x="613" y="505"/>
                  </a:lnTo>
                  <a:cubicBezTo>
                    <a:pt x="614" y="506"/>
                    <a:pt x="614" y="507"/>
                    <a:pt x="614" y="508"/>
                  </a:cubicBezTo>
                  <a:cubicBezTo>
                    <a:pt x="615" y="509"/>
                    <a:pt x="615" y="511"/>
                    <a:pt x="614" y="512"/>
                  </a:cubicBezTo>
                  <a:cubicBezTo>
                    <a:pt x="614" y="514"/>
                    <a:pt x="613" y="515"/>
                    <a:pt x="612" y="517"/>
                  </a:cubicBezTo>
                  <a:cubicBezTo>
                    <a:pt x="610" y="519"/>
                    <a:pt x="608" y="521"/>
                    <a:pt x="606" y="523"/>
                  </a:cubicBezTo>
                  <a:cubicBezTo>
                    <a:pt x="602" y="527"/>
                    <a:pt x="598" y="530"/>
                    <a:pt x="595" y="531"/>
                  </a:cubicBezTo>
                  <a:cubicBezTo>
                    <a:pt x="593" y="532"/>
                    <a:pt x="590" y="531"/>
                    <a:pt x="588" y="529"/>
                  </a:cubicBezTo>
                  <a:lnTo>
                    <a:pt x="548" y="488"/>
                  </a:lnTo>
                  <a:lnTo>
                    <a:pt x="459" y="577"/>
                  </a:lnTo>
                  <a:cubicBezTo>
                    <a:pt x="448" y="588"/>
                    <a:pt x="441" y="598"/>
                    <a:pt x="439" y="607"/>
                  </a:cubicBezTo>
                  <a:cubicBezTo>
                    <a:pt x="436" y="616"/>
                    <a:pt x="439" y="624"/>
                    <a:pt x="448" y="633"/>
                  </a:cubicBezTo>
                  <a:cubicBezTo>
                    <a:pt x="451" y="635"/>
                    <a:pt x="453" y="638"/>
                    <a:pt x="456" y="639"/>
                  </a:cubicBezTo>
                  <a:cubicBezTo>
                    <a:pt x="459" y="641"/>
                    <a:pt x="461" y="642"/>
                    <a:pt x="463" y="643"/>
                  </a:cubicBezTo>
                  <a:cubicBezTo>
                    <a:pt x="465" y="644"/>
                    <a:pt x="467" y="645"/>
                    <a:pt x="469" y="646"/>
                  </a:cubicBezTo>
                  <a:cubicBezTo>
                    <a:pt x="471" y="646"/>
                    <a:pt x="472" y="647"/>
                    <a:pt x="473" y="648"/>
                  </a:cubicBezTo>
                  <a:cubicBezTo>
                    <a:pt x="474" y="649"/>
                    <a:pt x="474" y="649"/>
                    <a:pt x="474" y="650"/>
                  </a:cubicBezTo>
                  <a:cubicBezTo>
                    <a:pt x="475" y="651"/>
                    <a:pt x="474" y="652"/>
                    <a:pt x="474" y="653"/>
                  </a:cubicBezTo>
                  <a:cubicBezTo>
                    <a:pt x="473" y="654"/>
                    <a:pt x="473" y="656"/>
                    <a:pt x="471" y="657"/>
                  </a:cubicBezTo>
                  <a:cubicBezTo>
                    <a:pt x="470" y="659"/>
                    <a:pt x="469" y="661"/>
                    <a:pt x="466" y="663"/>
                  </a:cubicBezTo>
                  <a:close/>
                  <a:moveTo>
                    <a:pt x="633" y="853"/>
                  </a:moveTo>
                  <a:cubicBezTo>
                    <a:pt x="633" y="854"/>
                    <a:pt x="632" y="855"/>
                    <a:pt x="630" y="855"/>
                  </a:cubicBezTo>
                  <a:cubicBezTo>
                    <a:pt x="629" y="855"/>
                    <a:pt x="628" y="855"/>
                    <a:pt x="626" y="854"/>
                  </a:cubicBezTo>
                  <a:cubicBezTo>
                    <a:pt x="625" y="854"/>
                    <a:pt x="623" y="853"/>
                    <a:pt x="621" y="851"/>
                  </a:cubicBezTo>
                  <a:cubicBezTo>
                    <a:pt x="619" y="849"/>
                    <a:pt x="616" y="847"/>
                    <a:pt x="614" y="844"/>
                  </a:cubicBezTo>
                  <a:cubicBezTo>
                    <a:pt x="611" y="841"/>
                    <a:pt x="608" y="839"/>
                    <a:pt x="607" y="837"/>
                  </a:cubicBezTo>
                  <a:cubicBezTo>
                    <a:pt x="605" y="835"/>
                    <a:pt x="604" y="833"/>
                    <a:pt x="603" y="831"/>
                  </a:cubicBezTo>
                  <a:cubicBezTo>
                    <a:pt x="603" y="830"/>
                    <a:pt x="602" y="828"/>
                    <a:pt x="603" y="827"/>
                  </a:cubicBezTo>
                  <a:cubicBezTo>
                    <a:pt x="603" y="826"/>
                    <a:pt x="603" y="825"/>
                    <a:pt x="604" y="824"/>
                  </a:cubicBezTo>
                  <a:lnTo>
                    <a:pt x="697" y="731"/>
                  </a:lnTo>
                  <a:cubicBezTo>
                    <a:pt x="707" y="722"/>
                    <a:pt x="713" y="714"/>
                    <a:pt x="717" y="707"/>
                  </a:cubicBezTo>
                  <a:cubicBezTo>
                    <a:pt x="721" y="700"/>
                    <a:pt x="724" y="693"/>
                    <a:pt x="725" y="686"/>
                  </a:cubicBezTo>
                  <a:cubicBezTo>
                    <a:pt x="727" y="680"/>
                    <a:pt x="726" y="673"/>
                    <a:pt x="724" y="667"/>
                  </a:cubicBezTo>
                  <a:cubicBezTo>
                    <a:pt x="722" y="660"/>
                    <a:pt x="718" y="654"/>
                    <a:pt x="712" y="649"/>
                  </a:cubicBezTo>
                  <a:cubicBezTo>
                    <a:pt x="705" y="641"/>
                    <a:pt x="695" y="637"/>
                    <a:pt x="683" y="635"/>
                  </a:cubicBezTo>
                  <a:cubicBezTo>
                    <a:pt x="670" y="632"/>
                    <a:pt x="655" y="632"/>
                    <a:pt x="637" y="634"/>
                  </a:cubicBezTo>
                  <a:lnTo>
                    <a:pt x="526" y="746"/>
                  </a:lnTo>
                  <a:cubicBezTo>
                    <a:pt x="525" y="746"/>
                    <a:pt x="524" y="747"/>
                    <a:pt x="523" y="747"/>
                  </a:cubicBezTo>
                  <a:cubicBezTo>
                    <a:pt x="521" y="747"/>
                    <a:pt x="520" y="747"/>
                    <a:pt x="519" y="747"/>
                  </a:cubicBezTo>
                  <a:cubicBezTo>
                    <a:pt x="517" y="746"/>
                    <a:pt x="515" y="745"/>
                    <a:pt x="513" y="743"/>
                  </a:cubicBezTo>
                  <a:cubicBezTo>
                    <a:pt x="511" y="742"/>
                    <a:pt x="508" y="739"/>
                    <a:pt x="505" y="736"/>
                  </a:cubicBezTo>
                  <a:cubicBezTo>
                    <a:pt x="503" y="734"/>
                    <a:pt x="500" y="731"/>
                    <a:pt x="499" y="729"/>
                  </a:cubicBezTo>
                  <a:cubicBezTo>
                    <a:pt x="497" y="727"/>
                    <a:pt x="496" y="725"/>
                    <a:pt x="495" y="723"/>
                  </a:cubicBezTo>
                  <a:cubicBezTo>
                    <a:pt x="495" y="722"/>
                    <a:pt x="494" y="720"/>
                    <a:pt x="495" y="719"/>
                  </a:cubicBezTo>
                  <a:cubicBezTo>
                    <a:pt x="495" y="718"/>
                    <a:pt x="496" y="717"/>
                    <a:pt x="496" y="716"/>
                  </a:cubicBezTo>
                  <a:lnTo>
                    <a:pt x="656" y="557"/>
                  </a:lnTo>
                  <a:cubicBezTo>
                    <a:pt x="657" y="556"/>
                    <a:pt x="657" y="556"/>
                    <a:pt x="658" y="555"/>
                  </a:cubicBezTo>
                  <a:cubicBezTo>
                    <a:pt x="659" y="555"/>
                    <a:pt x="661" y="555"/>
                    <a:pt x="662" y="556"/>
                  </a:cubicBezTo>
                  <a:cubicBezTo>
                    <a:pt x="664" y="556"/>
                    <a:pt x="666" y="557"/>
                    <a:pt x="668" y="559"/>
                  </a:cubicBezTo>
                  <a:cubicBezTo>
                    <a:pt x="669" y="560"/>
                    <a:pt x="672" y="562"/>
                    <a:pt x="674" y="565"/>
                  </a:cubicBezTo>
                  <a:cubicBezTo>
                    <a:pt x="677" y="568"/>
                    <a:pt x="679" y="570"/>
                    <a:pt x="681" y="572"/>
                  </a:cubicBezTo>
                  <a:cubicBezTo>
                    <a:pt x="682" y="574"/>
                    <a:pt x="683" y="575"/>
                    <a:pt x="683" y="577"/>
                  </a:cubicBezTo>
                  <a:cubicBezTo>
                    <a:pt x="684" y="578"/>
                    <a:pt x="684" y="580"/>
                    <a:pt x="684" y="581"/>
                  </a:cubicBezTo>
                  <a:cubicBezTo>
                    <a:pt x="683" y="582"/>
                    <a:pt x="683" y="583"/>
                    <a:pt x="682" y="584"/>
                  </a:cubicBezTo>
                  <a:lnTo>
                    <a:pt x="661" y="605"/>
                  </a:lnTo>
                  <a:cubicBezTo>
                    <a:pt x="680" y="604"/>
                    <a:pt x="696" y="605"/>
                    <a:pt x="710" y="609"/>
                  </a:cubicBezTo>
                  <a:cubicBezTo>
                    <a:pt x="723" y="614"/>
                    <a:pt x="735" y="620"/>
                    <a:pt x="744" y="629"/>
                  </a:cubicBezTo>
                  <a:cubicBezTo>
                    <a:pt x="754" y="640"/>
                    <a:pt x="761" y="651"/>
                    <a:pt x="765" y="662"/>
                  </a:cubicBezTo>
                  <a:cubicBezTo>
                    <a:pt x="769" y="672"/>
                    <a:pt x="770" y="683"/>
                    <a:pt x="768" y="694"/>
                  </a:cubicBezTo>
                  <a:cubicBezTo>
                    <a:pt x="767" y="704"/>
                    <a:pt x="763" y="714"/>
                    <a:pt x="757" y="724"/>
                  </a:cubicBezTo>
                  <a:cubicBezTo>
                    <a:pt x="751" y="734"/>
                    <a:pt x="742" y="745"/>
                    <a:pt x="731" y="756"/>
                  </a:cubicBezTo>
                  <a:lnTo>
                    <a:pt x="633" y="853"/>
                  </a:lnTo>
                  <a:close/>
                  <a:moveTo>
                    <a:pt x="918" y="975"/>
                  </a:moveTo>
                  <a:cubicBezTo>
                    <a:pt x="905" y="988"/>
                    <a:pt x="891" y="999"/>
                    <a:pt x="877" y="1006"/>
                  </a:cubicBezTo>
                  <a:cubicBezTo>
                    <a:pt x="863" y="1013"/>
                    <a:pt x="848" y="1018"/>
                    <a:pt x="834" y="1019"/>
                  </a:cubicBezTo>
                  <a:cubicBezTo>
                    <a:pt x="819" y="1020"/>
                    <a:pt x="804" y="1018"/>
                    <a:pt x="790" y="1012"/>
                  </a:cubicBezTo>
                  <a:cubicBezTo>
                    <a:pt x="775" y="1006"/>
                    <a:pt x="761" y="997"/>
                    <a:pt x="748" y="983"/>
                  </a:cubicBezTo>
                  <a:cubicBezTo>
                    <a:pt x="735" y="970"/>
                    <a:pt x="725" y="957"/>
                    <a:pt x="719" y="943"/>
                  </a:cubicBezTo>
                  <a:cubicBezTo>
                    <a:pt x="713" y="929"/>
                    <a:pt x="711" y="916"/>
                    <a:pt x="712" y="902"/>
                  </a:cubicBezTo>
                  <a:cubicBezTo>
                    <a:pt x="713" y="888"/>
                    <a:pt x="717" y="874"/>
                    <a:pt x="725" y="860"/>
                  </a:cubicBezTo>
                  <a:cubicBezTo>
                    <a:pt x="732" y="846"/>
                    <a:pt x="742" y="833"/>
                    <a:pt x="756" y="819"/>
                  </a:cubicBezTo>
                  <a:cubicBezTo>
                    <a:pt x="769" y="806"/>
                    <a:pt x="782" y="796"/>
                    <a:pt x="797" y="789"/>
                  </a:cubicBezTo>
                  <a:cubicBezTo>
                    <a:pt x="811" y="781"/>
                    <a:pt x="825" y="777"/>
                    <a:pt x="840" y="776"/>
                  </a:cubicBezTo>
                  <a:cubicBezTo>
                    <a:pt x="855" y="775"/>
                    <a:pt x="869" y="777"/>
                    <a:pt x="884" y="783"/>
                  </a:cubicBezTo>
                  <a:cubicBezTo>
                    <a:pt x="898" y="788"/>
                    <a:pt x="912" y="798"/>
                    <a:pt x="926" y="812"/>
                  </a:cubicBezTo>
                  <a:cubicBezTo>
                    <a:pt x="939" y="825"/>
                    <a:pt x="948" y="838"/>
                    <a:pt x="954" y="852"/>
                  </a:cubicBezTo>
                  <a:cubicBezTo>
                    <a:pt x="960" y="865"/>
                    <a:pt x="963" y="879"/>
                    <a:pt x="962" y="893"/>
                  </a:cubicBezTo>
                  <a:cubicBezTo>
                    <a:pt x="961" y="907"/>
                    <a:pt x="956" y="921"/>
                    <a:pt x="949" y="935"/>
                  </a:cubicBezTo>
                  <a:cubicBezTo>
                    <a:pt x="942" y="948"/>
                    <a:pt x="931" y="962"/>
                    <a:pt x="918" y="975"/>
                  </a:cubicBezTo>
                  <a:close/>
                  <a:moveTo>
                    <a:pt x="886" y="947"/>
                  </a:moveTo>
                  <a:cubicBezTo>
                    <a:pt x="895" y="938"/>
                    <a:pt x="902" y="930"/>
                    <a:pt x="908" y="920"/>
                  </a:cubicBezTo>
                  <a:cubicBezTo>
                    <a:pt x="914" y="911"/>
                    <a:pt x="918" y="902"/>
                    <a:pt x="920" y="892"/>
                  </a:cubicBezTo>
                  <a:cubicBezTo>
                    <a:pt x="922" y="883"/>
                    <a:pt x="922" y="873"/>
                    <a:pt x="919" y="863"/>
                  </a:cubicBezTo>
                  <a:cubicBezTo>
                    <a:pt x="916" y="854"/>
                    <a:pt x="910" y="844"/>
                    <a:pt x="900" y="835"/>
                  </a:cubicBezTo>
                  <a:cubicBezTo>
                    <a:pt x="892" y="826"/>
                    <a:pt x="883" y="820"/>
                    <a:pt x="873" y="817"/>
                  </a:cubicBezTo>
                  <a:cubicBezTo>
                    <a:pt x="864" y="814"/>
                    <a:pt x="855" y="813"/>
                    <a:pt x="845" y="815"/>
                  </a:cubicBezTo>
                  <a:cubicBezTo>
                    <a:pt x="835" y="816"/>
                    <a:pt x="826" y="820"/>
                    <a:pt x="816" y="826"/>
                  </a:cubicBezTo>
                  <a:cubicBezTo>
                    <a:pt x="806" y="831"/>
                    <a:pt x="797" y="839"/>
                    <a:pt x="788" y="848"/>
                  </a:cubicBezTo>
                  <a:cubicBezTo>
                    <a:pt x="779" y="856"/>
                    <a:pt x="772" y="865"/>
                    <a:pt x="766" y="875"/>
                  </a:cubicBezTo>
                  <a:cubicBezTo>
                    <a:pt x="760" y="884"/>
                    <a:pt x="756" y="893"/>
                    <a:pt x="754" y="903"/>
                  </a:cubicBezTo>
                  <a:cubicBezTo>
                    <a:pt x="752" y="912"/>
                    <a:pt x="752" y="922"/>
                    <a:pt x="755" y="931"/>
                  </a:cubicBezTo>
                  <a:cubicBezTo>
                    <a:pt x="758" y="941"/>
                    <a:pt x="764" y="951"/>
                    <a:pt x="774" y="960"/>
                  </a:cubicBezTo>
                  <a:cubicBezTo>
                    <a:pt x="782" y="969"/>
                    <a:pt x="791" y="975"/>
                    <a:pt x="801" y="978"/>
                  </a:cubicBezTo>
                  <a:cubicBezTo>
                    <a:pt x="810" y="981"/>
                    <a:pt x="819" y="982"/>
                    <a:pt x="829" y="980"/>
                  </a:cubicBezTo>
                  <a:cubicBezTo>
                    <a:pt x="839" y="979"/>
                    <a:pt x="848" y="975"/>
                    <a:pt x="858" y="969"/>
                  </a:cubicBezTo>
                  <a:cubicBezTo>
                    <a:pt x="867" y="964"/>
                    <a:pt x="877" y="956"/>
                    <a:pt x="886" y="947"/>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81" name="Freeform 128"/>
            <p:cNvSpPr>
              <a:spLocks noEditPoints="1"/>
            </p:cNvSpPr>
            <p:nvPr/>
          </p:nvSpPr>
          <p:spPr bwMode="auto">
            <a:xfrm>
              <a:off x="2158" y="2001"/>
              <a:ext cx="203" cy="210"/>
            </a:xfrm>
            <a:custGeom>
              <a:avLst/>
              <a:gdLst>
                <a:gd name="T0" fmla="*/ 1 w 1930"/>
                <a:gd name="T1" fmla="*/ 182 h 1986"/>
                <a:gd name="T2" fmla="*/ 49 w 1930"/>
                <a:gd name="T3" fmla="*/ 208 h 1986"/>
                <a:gd name="T4" fmla="*/ 147 w 1930"/>
                <a:gd name="T5" fmla="*/ 142 h 1986"/>
                <a:gd name="T6" fmla="*/ 303 w 1930"/>
                <a:gd name="T7" fmla="*/ 52 h 1986"/>
                <a:gd name="T8" fmla="*/ 303 w 1930"/>
                <a:gd name="T9" fmla="*/ 125 h 1986"/>
                <a:gd name="T10" fmla="*/ 208 w 1930"/>
                <a:gd name="T11" fmla="*/ 44 h 1986"/>
                <a:gd name="T12" fmla="*/ 187 w 1930"/>
                <a:gd name="T13" fmla="*/ 269 h 1986"/>
                <a:gd name="T14" fmla="*/ 267 w 1930"/>
                <a:gd name="T15" fmla="*/ 468 h 1986"/>
                <a:gd name="T16" fmla="*/ 169 w 1930"/>
                <a:gd name="T17" fmla="*/ 375 h 1986"/>
                <a:gd name="T18" fmla="*/ 438 w 1930"/>
                <a:gd name="T19" fmla="*/ 162 h 1986"/>
                <a:gd name="T20" fmla="*/ 455 w 1930"/>
                <a:gd name="T21" fmla="*/ 329 h 1986"/>
                <a:gd name="T22" fmla="*/ 358 w 1930"/>
                <a:gd name="T23" fmla="*/ 560 h 1986"/>
                <a:gd name="T24" fmla="*/ 488 w 1930"/>
                <a:gd name="T25" fmla="*/ 371 h 1986"/>
                <a:gd name="T26" fmla="*/ 358 w 1930"/>
                <a:gd name="T27" fmla="*/ 560 h 1986"/>
                <a:gd name="T28" fmla="*/ 575 w 1930"/>
                <a:gd name="T29" fmla="*/ 350 h 1986"/>
                <a:gd name="T30" fmla="*/ 529 w 1930"/>
                <a:gd name="T31" fmla="*/ 695 h 1986"/>
                <a:gd name="T32" fmla="*/ 558 w 1930"/>
                <a:gd name="T33" fmla="*/ 740 h 1986"/>
                <a:gd name="T34" fmla="*/ 455 w 1930"/>
                <a:gd name="T35" fmla="*/ 574 h 1986"/>
                <a:gd name="T36" fmla="*/ 647 w 1930"/>
                <a:gd name="T37" fmla="*/ 665 h 1986"/>
                <a:gd name="T38" fmla="*/ 621 w 1930"/>
                <a:gd name="T39" fmla="*/ 632 h 1986"/>
                <a:gd name="T40" fmla="*/ 808 w 1930"/>
                <a:gd name="T41" fmla="*/ 730 h 1986"/>
                <a:gd name="T42" fmla="*/ 610 w 1930"/>
                <a:gd name="T43" fmla="*/ 822 h 1986"/>
                <a:gd name="T44" fmla="*/ 779 w 1930"/>
                <a:gd name="T45" fmla="*/ 651 h 1986"/>
                <a:gd name="T46" fmla="*/ 838 w 1930"/>
                <a:gd name="T47" fmla="*/ 705 h 1986"/>
                <a:gd name="T48" fmla="*/ 862 w 1930"/>
                <a:gd name="T49" fmla="*/ 1063 h 1986"/>
                <a:gd name="T50" fmla="*/ 926 w 1930"/>
                <a:gd name="T51" fmla="*/ 941 h 1986"/>
                <a:gd name="T52" fmla="*/ 747 w 1930"/>
                <a:gd name="T53" fmla="*/ 957 h 1986"/>
                <a:gd name="T54" fmla="*/ 891 w 1930"/>
                <a:gd name="T55" fmla="*/ 766 h 1986"/>
                <a:gd name="T56" fmla="*/ 972 w 1930"/>
                <a:gd name="T57" fmla="*/ 839 h 1986"/>
                <a:gd name="T58" fmla="*/ 923 w 1930"/>
                <a:gd name="T59" fmla="*/ 1134 h 1986"/>
                <a:gd name="T60" fmla="*/ 1078 w 1930"/>
                <a:gd name="T61" fmla="*/ 951 h 1986"/>
                <a:gd name="T62" fmla="*/ 1116 w 1930"/>
                <a:gd name="T63" fmla="*/ 927 h 1986"/>
                <a:gd name="T64" fmla="*/ 1195 w 1930"/>
                <a:gd name="T65" fmla="*/ 1249 h 1986"/>
                <a:gd name="T66" fmla="*/ 1149 w 1930"/>
                <a:gd name="T67" fmla="*/ 1294 h 1986"/>
                <a:gd name="T68" fmla="*/ 1119 w 1930"/>
                <a:gd name="T69" fmla="*/ 1316 h 1986"/>
                <a:gd name="T70" fmla="*/ 1150 w 1930"/>
                <a:gd name="T71" fmla="*/ 1064 h 1986"/>
                <a:gd name="T72" fmla="*/ 1224 w 1930"/>
                <a:gd name="T73" fmla="*/ 1163 h 1986"/>
                <a:gd name="T74" fmla="*/ 1551 w 1930"/>
                <a:gd name="T75" fmla="*/ 1448 h 1986"/>
                <a:gd name="T76" fmla="*/ 1314 w 1930"/>
                <a:gd name="T77" fmla="*/ 1513 h 1986"/>
                <a:gd name="T78" fmla="*/ 1214 w 1930"/>
                <a:gd name="T79" fmla="*/ 1425 h 1986"/>
                <a:gd name="T80" fmla="*/ 1332 w 1930"/>
                <a:gd name="T81" fmla="*/ 1204 h 1986"/>
                <a:gd name="T82" fmla="*/ 1424 w 1930"/>
                <a:gd name="T83" fmla="*/ 1307 h 1986"/>
                <a:gd name="T84" fmla="*/ 1360 w 1930"/>
                <a:gd name="T85" fmla="*/ 1506 h 1986"/>
                <a:gd name="T86" fmla="*/ 1561 w 1930"/>
                <a:gd name="T87" fmla="*/ 1435 h 1986"/>
                <a:gd name="T88" fmla="*/ 1437 w 1930"/>
                <a:gd name="T89" fmla="*/ 1646 h 1986"/>
                <a:gd name="T90" fmla="*/ 1627 w 1930"/>
                <a:gd name="T91" fmla="*/ 1502 h 1986"/>
                <a:gd name="T92" fmla="*/ 1665 w 1930"/>
                <a:gd name="T93" fmla="*/ 1413 h 1986"/>
                <a:gd name="T94" fmla="*/ 1623 w 1930"/>
                <a:gd name="T95" fmla="*/ 1817 h 1986"/>
                <a:gd name="T96" fmla="*/ 1673 w 1930"/>
                <a:gd name="T97" fmla="*/ 1583 h 1986"/>
                <a:gd name="T98" fmla="*/ 1772 w 1930"/>
                <a:gd name="T99" fmla="*/ 1691 h 1986"/>
                <a:gd name="T100" fmla="*/ 1616 w 1930"/>
                <a:gd name="T101" fmla="*/ 1658 h 1986"/>
                <a:gd name="T102" fmla="*/ 1666 w 1930"/>
                <a:gd name="T103" fmla="*/ 1793 h 1986"/>
                <a:gd name="T104" fmla="*/ 1727 w 1930"/>
                <a:gd name="T105" fmla="*/ 1865 h 1986"/>
                <a:gd name="T106" fmla="*/ 1815 w 1930"/>
                <a:gd name="T107" fmla="*/ 1972 h 1986"/>
                <a:gd name="T108" fmla="*/ 1725 w 1930"/>
                <a:gd name="T109" fmla="*/ 1942 h 1986"/>
                <a:gd name="T110" fmla="*/ 1923 w 1930"/>
                <a:gd name="T111" fmla="*/ 1802 h 1986"/>
                <a:gd name="T112" fmla="*/ 1825 w 1930"/>
                <a:gd name="T113" fmla="*/ 1768 h 1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30" h="1986">
                  <a:moveTo>
                    <a:pt x="187" y="269"/>
                  </a:moveTo>
                  <a:cubicBezTo>
                    <a:pt x="176" y="280"/>
                    <a:pt x="165" y="287"/>
                    <a:pt x="153" y="291"/>
                  </a:cubicBezTo>
                  <a:cubicBezTo>
                    <a:pt x="140" y="296"/>
                    <a:pt x="128" y="298"/>
                    <a:pt x="115" y="296"/>
                  </a:cubicBezTo>
                  <a:cubicBezTo>
                    <a:pt x="102" y="295"/>
                    <a:pt x="89" y="291"/>
                    <a:pt x="77" y="285"/>
                  </a:cubicBezTo>
                  <a:cubicBezTo>
                    <a:pt x="64" y="278"/>
                    <a:pt x="53" y="269"/>
                    <a:pt x="42" y="259"/>
                  </a:cubicBezTo>
                  <a:cubicBezTo>
                    <a:pt x="34" y="251"/>
                    <a:pt x="28" y="243"/>
                    <a:pt x="22" y="235"/>
                  </a:cubicBezTo>
                  <a:cubicBezTo>
                    <a:pt x="17" y="227"/>
                    <a:pt x="13" y="220"/>
                    <a:pt x="10" y="213"/>
                  </a:cubicBezTo>
                  <a:cubicBezTo>
                    <a:pt x="6" y="206"/>
                    <a:pt x="4" y="200"/>
                    <a:pt x="3" y="194"/>
                  </a:cubicBezTo>
                  <a:cubicBezTo>
                    <a:pt x="1" y="189"/>
                    <a:pt x="0" y="185"/>
                    <a:pt x="1" y="182"/>
                  </a:cubicBezTo>
                  <a:cubicBezTo>
                    <a:pt x="1" y="179"/>
                    <a:pt x="1" y="176"/>
                    <a:pt x="3" y="174"/>
                  </a:cubicBezTo>
                  <a:cubicBezTo>
                    <a:pt x="4" y="171"/>
                    <a:pt x="7" y="167"/>
                    <a:pt x="11" y="164"/>
                  </a:cubicBezTo>
                  <a:cubicBezTo>
                    <a:pt x="13" y="161"/>
                    <a:pt x="16" y="159"/>
                    <a:pt x="17" y="158"/>
                  </a:cubicBezTo>
                  <a:cubicBezTo>
                    <a:pt x="19" y="156"/>
                    <a:pt x="21" y="155"/>
                    <a:pt x="23" y="155"/>
                  </a:cubicBezTo>
                  <a:cubicBezTo>
                    <a:pt x="24" y="154"/>
                    <a:pt x="26" y="154"/>
                    <a:pt x="27" y="154"/>
                  </a:cubicBezTo>
                  <a:cubicBezTo>
                    <a:pt x="28" y="154"/>
                    <a:pt x="29" y="155"/>
                    <a:pt x="30" y="156"/>
                  </a:cubicBezTo>
                  <a:cubicBezTo>
                    <a:pt x="31" y="158"/>
                    <a:pt x="33" y="161"/>
                    <a:pt x="34" y="166"/>
                  </a:cubicBezTo>
                  <a:cubicBezTo>
                    <a:pt x="35" y="171"/>
                    <a:pt x="36" y="177"/>
                    <a:pt x="39" y="184"/>
                  </a:cubicBezTo>
                  <a:cubicBezTo>
                    <a:pt x="41" y="191"/>
                    <a:pt x="45" y="199"/>
                    <a:pt x="49" y="208"/>
                  </a:cubicBezTo>
                  <a:cubicBezTo>
                    <a:pt x="54" y="217"/>
                    <a:pt x="60" y="225"/>
                    <a:pt x="69" y="234"/>
                  </a:cubicBezTo>
                  <a:cubicBezTo>
                    <a:pt x="76" y="241"/>
                    <a:pt x="83" y="246"/>
                    <a:pt x="90" y="249"/>
                  </a:cubicBezTo>
                  <a:cubicBezTo>
                    <a:pt x="97" y="253"/>
                    <a:pt x="104" y="255"/>
                    <a:pt x="112" y="256"/>
                  </a:cubicBezTo>
                  <a:cubicBezTo>
                    <a:pt x="119" y="257"/>
                    <a:pt x="126" y="256"/>
                    <a:pt x="133" y="253"/>
                  </a:cubicBezTo>
                  <a:cubicBezTo>
                    <a:pt x="139" y="251"/>
                    <a:pt x="146" y="246"/>
                    <a:pt x="152" y="240"/>
                  </a:cubicBezTo>
                  <a:cubicBezTo>
                    <a:pt x="158" y="234"/>
                    <a:pt x="162" y="227"/>
                    <a:pt x="164" y="219"/>
                  </a:cubicBezTo>
                  <a:cubicBezTo>
                    <a:pt x="166" y="212"/>
                    <a:pt x="166" y="204"/>
                    <a:pt x="165" y="196"/>
                  </a:cubicBezTo>
                  <a:cubicBezTo>
                    <a:pt x="163" y="187"/>
                    <a:pt x="161" y="179"/>
                    <a:pt x="158" y="169"/>
                  </a:cubicBezTo>
                  <a:cubicBezTo>
                    <a:pt x="154" y="160"/>
                    <a:pt x="151" y="151"/>
                    <a:pt x="147" y="142"/>
                  </a:cubicBezTo>
                  <a:cubicBezTo>
                    <a:pt x="144" y="132"/>
                    <a:pt x="141" y="122"/>
                    <a:pt x="138" y="113"/>
                  </a:cubicBezTo>
                  <a:cubicBezTo>
                    <a:pt x="136" y="103"/>
                    <a:pt x="135" y="93"/>
                    <a:pt x="135" y="83"/>
                  </a:cubicBezTo>
                  <a:cubicBezTo>
                    <a:pt x="135" y="74"/>
                    <a:pt x="137" y="64"/>
                    <a:pt x="141" y="54"/>
                  </a:cubicBezTo>
                  <a:cubicBezTo>
                    <a:pt x="144" y="45"/>
                    <a:pt x="151" y="35"/>
                    <a:pt x="160" y="26"/>
                  </a:cubicBezTo>
                  <a:cubicBezTo>
                    <a:pt x="170" y="16"/>
                    <a:pt x="180" y="9"/>
                    <a:pt x="191" y="5"/>
                  </a:cubicBezTo>
                  <a:cubicBezTo>
                    <a:pt x="202" y="1"/>
                    <a:pt x="213" y="0"/>
                    <a:pt x="224" y="1"/>
                  </a:cubicBezTo>
                  <a:cubicBezTo>
                    <a:pt x="235" y="2"/>
                    <a:pt x="247" y="6"/>
                    <a:pt x="258" y="12"/>
                  </a:cubicBezTo>
                  <a:cubicBezTo>
                    <a:pt x="269" y="17"/>
                    <a:pt x="280" y="25"/>
                    <a:pt x="289" y="35"/>
                  </a:cubicBezTo>
                  <a:cubicBezTo>
                    <a:pt x="295" y="40"/>
                    <a:pt x="299" y="46"/>
                    <a:pt x="303" y="52"/>
                  </a:cubicBezTo>
                  <a:cubicBezTo>
                    <a:pt x="308" y="58"/>
                    <a:pt x="311" y="64"/>
                    <a:pt x="314" y="70"/>
                  </a:cubicBezTo>
                  <a:cubicBezTo>
                    <a:pt x="317" y="76"/>
                    <a:pt x="320" y="82"/>
                    <a:pt x="322" y="87"/>
                  </a:cubicBezTo>
                  <a:cubicBezTo>
                    <a:pt x="323" y="92"/>
                    <a:pt x="324" y="96"/>
                    <a:pt x="324" y="98"/>
                  </a:cubicBezTo>
                  <a:cubicBezTo>
                    <a:pt x="324" y="101"/>
                    <a:pt x="324" y="102"/>
                    <a:pt x="324" y="103"/>
                  </a:cubicBezTo>
                  <a:cubicBezTo>
                    <a:pt x="323" y="104"/>
                    <a:pt x="323" y="105"/>
                    <a:pt x="322" y="107"/>
                  </a:cubicBezTo>
                  <a:cubicBezTo>
                    <a:pt x="321" y="108"/>
                    <a:pt x="320" y="109"/>
                    <a:pt x="319" y="111"/>
                  </a:cubicBezTo>
                  <a:cubicBezTo>
                    <a:pt x="318" y="112"/>
                    <a:pt x="316" y="114"/>
                    <a:pt x="314" y="116"/>
                  </a:cubicBezTo>
                  <a:cubicBezTo>
                    <a:pt x="312" y="119"/>
                    <a:pt x="310" y="120"/>
                    <a:pt x="308" y="122"/>
                  </a:cubicBezTo>
                  <a:cubicBezTo>
                    <a:pt x="306" y="123"/>
                    <a:pt x="304" y="124"/>
                    <a:pt x="303" y="125"/>
                  </a:cubicBezTo>
                  <a:cubicBezTo>
                    <a:pt x="301" y="126"/>
                    <a:pt x="300" y="126"/>
                    <a:pt x="299" y="126"/>
                  </a:cubicBezTo>
                  <a:cubicBezTo>
                    <a:pt x="298" y="126"/>
                    <a:pt x="297" y="126"/>
                    <a:pt x="296" y="125"/>
                  </a:cubicBezTo>
                  <a:cubicBezTo>
                    <a:pt x="295" y="123"/>
                    <a:pt x="293" y="121"/>
                    <a:pt x="292" y="116"/>
                  </a:cubicBezTo>
                  <a:cubicBezTo>
                    <a:pt x="291" y="112"/>
                    <a:pt x="290" y="106"/>
                    <a:pt x="288" y="100"/>
                  </a:cubicBezTo>
                  <a:cubicBezTo>
                    <a:pt x="286" y="94"/>
                    <a:pt x="283" y="88"/>
                    <a:pt x="279" y="81"/>
                  </a:cubicBezTo>
                  <a:cubicBezTo>
                    <a:pt x="275" y="73"/>
                    <a:pt x="270" y="66"/>
                    <a:pt x="263" y="59"/>
                  </a:cubicBezTo>
                  <a:cubicBezTo>
                    <a:pt x="257" y="53"/>
                    <a:pt x="250" y="48"/>
                    <a:pt x="244" y="45"/>
                  </a:cubicBezTo>
                  <a:cubicBezTo>
                    <a:pt x="238" y="42"/>
                    <a:pt x="231" y="41"/>
                    <a:pt x="225" y="41"/>
                  </a:cubicBezTo>
                  <a:cubicBezTo>
                    <a:pt x="220" y="40"/>
                    <a:pt x="214" y="41"/>
                    <a:pt x="208" y="44"/>
                  </a:cubicBezTo>
                  <a:cubicBezTo>
                    <a:pt x="203" y="46"/>
                    <a:pt x="198" y="49"/>
                    <a:pt x="194" y="54"/>
                  </a:cubicBezTo>
                  <a:cubicBezTo>
                    <a:pt x="187" y="60"/>
                    <a:pt x="183" y="67"/>
                    <a:pt x="182" y="75"/>
                  </a:cubicBezTo>
                  <a:cubicBezTo>
                    <a:pt x="180" y="82"/>
                    <a:pt x="180" y="90"/>
                    <a:pt x="181" y="99"/>
                  </a:cubicBezTo>
                  <a:cubicBezTo>
                    <a:pt x="183" y="107"/>
                    <a:pt x="185" y="116"/>
                    <a:pt x="188" y="125"/>
                  </a:cubicBezTo>
                  <a:cubicBezTo>
                    <a:pt x="192" y="134"/>
                    <a:pt x="195" y="144"/>
                    <a:pt x="198" y="153"/>
                  </a:cubicBezTo>
                  <a:cubicBezTo>
                    <a:pt x="202" y="163"/>
                    <a:pt x="205" y="172"/>
                    <a:pt x="208" y="182"/>
                  </a:cubicBezTo>
                  <a:cubicBezTo>
                    <a:pt x="210" y="192"/>
                    <a:pt x="212" y="202"/>
                    <a:pt x="212" y="212"/>
                  </a:cubicBezTo>
                  <a:cubicBezTo>
                    <a:pt x="212" y="221"/>
                    <a:pt x="210" y="231"/>
                    <a:pt x="206" y="241"/>
                  </a:cubicBezTo>
                  <a:cubicBezTo>
                    <a:pt x="203" y="250"/>
                    <a:pt x="196" y="260"/>
                    <a:pt x="187" y="269"/>
                  </a:cubicBezTo>
                  <a:close/>
                  <a:moveTo>
                    <a:pt x="302" y="502"/>
                  </a:moveTo>
                  <a:cubicBezTo>
                    <a:pt x="301" y="503"/>
                    <a:pt x="300" y="504"/>
                    <a:pt x="298" y="504"/>
                  </a:cubicBezTo>
                  <a:cubicBezTo>
                    <a:pt x="297" y="504"/>
                    <a:pt x="296" y="504"/>
                    <a:pt x="294" y="504"/>
                  </a:cubicBezTo>
                  <a:cubicBezTo>
                    <a:pt x="293" y="503"/>
                    <a:pt x="291" y="502"/>
                    <a:pt x="289" y="500"/>
                  </a:cubicBezTo>
                  <a:cubicBezTo>
                    <a:pt x="286" y="498"/>
                    <a:pt x="284" y="496"/>
                    <a:pt x="281" y="493"/>
                  </a:cubicBezTo>
                  <a:cubicBezTo>
                    <a:pt x="277" y="490"/>
                    <a:pt x="275" y="487"/>
                    <a:pt x="273" y="485"/>
                  </a:cubicBezTo>
                  <a:cubicBezTo>
                    <a:pt x="271" y="482"/>
                    <a:pt x="270" y="480"/>
                    <a:pt x="269" y="479"/>
                  </a:cubicBezTo>
                  <a:cubicBezTo>
                    <a:pt x="268" y="477"/>
                    <a:pt x="267" y="475"/>
                    <a:pt x="267" y="473"/>
                  </a:cubicBezTo>
                  <a:cubicBezTo>
                    <a:pt x="267" y="472"/>
                    <a:pt x="267" y="470"/>
                    <a:pt x="267" y="468"/>
                  </a:cubicBezTo>
                  <a:lnTo>
                    <a:pt x="288" y="313"/>
                  </a:lnTo>
                  <a:lnTo>
                    <a:pt x="200" y="401"/>
                  </a:lnTo>
                  <a:cubicBezTo>
                    <a:pt x="199" y="402"/>
                    <a:pt x="198" y="403"/>
                    <a:pt x="197" y="403"/>
                  </a:cubicBezTo>
                  <a:cubicBezTo>
                    <a:pt x="196" y="403"/>
                    <a:pt x="194" y="403"/>
                    <a:pt x="193" y="402"/>
                  </a:cubicBezTo>
                  <a:cubicBezTo>
                    <a:pt x="191" y="402"/>
                    <a:pt x="190" y="401"/>
                    <a:pt x="187" y="399"/>
                  </a:cubicBezTo>
                  <a:cubicBezTo>
                    <a:pt x="185" y="397"/>
                    <a:pt x="183" y="395"/>
                    <a:pt x="180" y="392"/>
                  </a:cubicBezTo>
                  <a:cubicBezTo>
                    <a:pt x="177" y="389"/>
                    <a:pt x="175" y="387"/>
                    <a:pt x="173" y="385"/>
                  </a:cubicBezTo>
                  <a:cubicBezTo>
                    <a:pt x="171" y="382"/>
                    <a:pt x="170" y="381"/>
                    <a:pt x="170" y="379"/>
                  </a:cubicBezTo>
                  <a:cubicBezTo>
                    <a:pt x="169" y="377"/>
                    <a:pt x="169" y="376"/>
                    <a:pt x="169" y="375"/>
                  </a:cubicBezTo>
                  <a:cubicBezTo>
                    <a:pt x="169" y="374"/>
                    <a:pt x="170" y="373"/>
                    <a:pt x="171" y="372"/>
                  </a:cubicBezTo>
                  <a:lnTo>
                    <a:pt x="407" y="136"/>
                  </a:lnTo>
                  <a:cubicBezTo>
                    <a:pt x="408" y="135"/>
                    <a:pt x="409" y="134"/>
                    <a:pt x="410" y="134"/>
                  </a:cubicBezTo>
                  <a:cubicBezTo>
                    <a:pt x="411" y="134"/>
                    <a:pt x="413" y="134"/>
                    <a:pt x="414" y="135"/>
                  </a:cubicBezTo>
                  <a:cubicBezTo>
                    <a:pt x="416" y="135"/>
                    <a:pt x="418" y="136"/>
                    <a:pt x="420" y="138"/>
                  </a:cubicBezTo>
                  <a:cubicBezTo>
                    <a:pt x="422" y="140"/>
                    <a:pt x="424" y="142"/>
                    <a:pt x="427" y="145"/>
                  </a:cubicBezTo>
                  <a:cubicBezTo>
                    <a:pt x="430" y="148"/>
                    <a:pt x="432" y="150"/>
                    <a:pt x="434" y="152"/>
                  </a:cubicBezTo>
                  <a:cubicBezTo>
                    <a:pt x="436" y="154"/>
                    <a:pt x="437" y="156"/>
                    <a:pt x="437" y="158"/>
                  </a:cubicBezTo>
                  <a:cubicBezTo>
                    <a:pt x="438" y="159"/>
                    <a:pt x="438" y="161"/>
                    <a:pt x="438" y="162"/>
                  </a:cubicBezTo>
                  <a:cubicBezTo>
                    <a:pt x="438" y="163"/>
                    <a:pt x="437" y="164"/>
                    <a:pt x="436" y="165"/>
                  </a:cubicBezTo>
                  <a:lnTo>
                    <a:pt x="292" y="309"/>
                  </a:lnTo>
                  <a:lnTo>
                    <a:pt x="418" y="303"/>
                  </a:lnTo>
                  <a:cubicBezTo>
                    <a:pt x="421" y="303"/>
                    <a:pt x="423" y="303"/>
                    <a:pt x="424" y="303"/>
                  </a:cubicBezTo>
                  <a:cubicBezTo>
                    <a:pt x="426" y="303"/>
                    <a:pt x="428" y="304"/>
                    <a:pt x="430" y="305"/>
                  </a:cubicBezTo>
                  <a:cubicBezTo>
                    <a:pt x="432" y="306"/>
                    <a:pt x="434" y="307"/>
                    <a:pt x="436" y="309"/>
                  </a:cubicBezTo>
                  <a:cubicBezTo>
                    <a:pt x="439" y="311"/>
                    <a:pt x="441" y="313"/>
                    <a:pt x="444" y="316"/>
                  </a:cubicBezTo>
                  <a:cubicBezTo>
                    <a:pt x="447" y="319"/>
                    <a:pt x="449" y="321"/>
                    <a:pt x="451" y="324"/>
                  </a:cubicBezTo>
                  <a:cubicBezTo>
                    <a:pt x="453" y="326"/>
                    <a:pt x="454" y="328"/>
                    <a:pt x="455" y="329"/>
                  </a:cubicBezTo>
                  <a:cubicBezTo>
                    <a:pt x="456" y="331"/>
                    <a:pt x="456" y="332"/>
                    <a:pt x="456" y="334"/>
                  </a:cubicBezTo>
                  <a:cubicBezTo>
                    <a:pt x="456" y="335"/>
                    <a:pt x="455" y="336"/>
                    <a:pt x="454" y="337"/>
                  </a:cubicBezTo>
                  <a:cubicBezTo>
                    <a:pt x="453" y="338"/>
                    <a:pt x="451" y="339"/>
                    <a:pt x="449" y="340"/>
                  </a:cubicBezTo>
                  <a:cubicBezTo>
                    <a:pt x="447" y="341"/>
                    <a:pt x="444" y="341"/>
                    <a:pt x="440" y="341"/>
                  </a:cubicBezTo>
                  <a:lnTo>
                    <a:pt x="325" y="341"/>
                  </a:lnTo>
                  <a:lnTo>
                    <a:pt x="306" y="490"/>
                  </a:lnTo>
                  <a:cubicBezTo>
                    <a:pt x="305" y="493"/>
                    <a:pt x="305" y="496"/>
                    <a:pt x="304" y="498"/>
                  </a:cubicBezTo>
                  <a:cubicBezTo>
                    <a:pt x="304" y="500"/>
                    <a:pt x="303" y="501"/>
                    <a:pt x="302" y="502"/>
                  </a:cubicBezTo>
                  <a:close/>
                  <a:moveTo>
                    <a:pt x="358" y="560"/>
                  </a:moveTo>
                  <a:cubicBezTo>
                    <a:pt x="357" y="561"/>
                    <a:pt x="356" y="561"/>
                    <a:pt x="355" y="561"/>
                  </a:cubicBezTo>
                  <a:cubicBezTo>
                    <a:pt x="354" y="561"/>
                    <a:pt x="353" y="561"/>
                    <a:pt x="351" y="561"/>
                  </a:cubicBezTo>
                  <a:cubicBezTo>
                    <a:pt x="350" y="560"/>
                    <a:pt x="348" y="559"/>
                    <a:pt x="346" y="557"/>
                  </a:cubicBezTo>
                  <a:cubicBezTo>
                    <a:pt x="344" y="556"/>
                    <a:pt x="341" y="553"/>
                    <a:pt x="338" y="550"/>
                  </a:cubicBezTo>
                  <a:cubicBezTo>
                    <a:pt x="335" y="548"/>
                    <a:pt x="333" y="545"/>
                    <a:pt x="332" y="543"/>
                  </a:cubicBezTo>
                  <a:cubicBezTo>
                    <a:pt x="330" y="541"/>
                    <a:pt x="329" y="539"/>
                    <a:pt x="328" y="537"/>
                  </a:cubicBezTo>
                  <a:cubicBezTo>
                    <a:pt x="327" y="536"/>
                    <a:pt x="327" y="534"/>
                    <a:pt x="327" y="533"/>
                  </a:cubicBezTo>
                  <a:cubicBezTo>
                    <a:pt x="328" y="532"/>
                    <a:pt x="328" y="531"/>
                    <a:pt x="329" y="530"/>
                  </a:cubicBezTo>
                  <a:lnTo>
                    <a:pt x="488" y="371"/>
                  </a:lnTo>
                  <a:cubicBezTo>
                    <a:pt x="489" y="370"/>
                    <a:pt x="490" y="370"/>
                    <a:pt x="491" y="370"/>
                  </a:cubicBezTo>
                  <a:cubicBezTo>
                    <a:pt x="492" y="369"/>
                    <a:pt x="494" y="370"/>
                    <a:pt x="495" y="370"/>
                  </a:cubicBezTo>
                  <a:cubicBezTo>
                    <a:pt x="497" y="371"/>
                    <a:pt x="499" y="372"/>
                    <a:pt x="501" y="374"/>
                  </a:cubicBezTo>
                  <a:cubicBezTo>
                    <a:pt x="503" y="375"/>
                    <a:pt x="505" y="378"/>
                    <a:pt x="508" y="380"/>
                  </a:cubicBezTo>
                  <a:cubicBezTo>
                    <a:pt x="511" y="383"/>
                    <a:pt x="514" y="386"/>
                    <a:pt x="515" y="388"/>
                  </a:cubicBezTo>
                  <a:cubicBezTo>
                    <a:pt x="517" y="390"/>
                    <a:pt x="518" y="392"/>
                    <a:pt x="519" y="393"/>
                  </a:cubicBezTo>
                  <a:cubicBezTo>
                    <a:pt x="519" y="395"/>
                    <a:pt x="519" y="396"/>
                    <a:pt x="519" y="397"/>
                  </a:cubicBezTo>
                  <a:cubicBezTo>
                    <a:pt x="519" y="399"/>
                    <a:pt x="518" y="400"/>
                    <a:pt x="517" y="400"/>
                  </a:cubicBezTo>
                  <a:lnTo>
                    <a:pt x="358" y="560"/>
                  </a:lnTo>
                  <a:close/>
                  <a:moveTo>
                    <a:pt x="575" y="350"/>
                  </a:moveTo>
                  <a:cubicBezTo>
                    <a:pt x="568" y="357"/>
                    <a:pt x="562" y="360"/>
                    <a:pt x="557" y="360"/>
                  </a:cubicBezTo>
                  <a:cubicBezTo>
                    <a:pt x="552" y="360"/>
                    <a:pt x="546" y="357"/>
                    <a:pt x="539" y="350"/>
                  </a:cubicBezTo>
                  <a:cubicBezTo>
                    <a:pt x="532" y="343"/>
                    <a:pt x="528" y="337"/>
                    <a:pt x="528" y="332"/>
                  </a:cubicBezTo>
                  <a:cubicBezTo>
                    <a:pt x="528" y="327"/>
                    <a:pt x="531" y="321"/>
                    <a:pt x="538" y="314"/>
                  </a:cubicBezTo>
                  <a:cubicBezTo>
                    <a:pt x="545" y="308"/>
                    <a:pt x="551" y="304"/>
                    <a:pt x="556" y="304"/>
                  </a:cubicBezTo>
                  <a:cubicBezTo>
                    <a:pt x="561" y="304"/>
                    <a:pt x="567" y="308"/>
                    <a:pt x="574" y="315"/>
                  </a:cubicBezTo>
                  <a:cubicBezTo>
                    <a:pt x="581" y="322"/>
                    <a:pt x="584" y="328"/>
                    <a:pt x="584" y="333"/>
                  </a:cubicBezTo>
                  <a:cubicBezTo>
                    <a:pt x="585" y="338"/>
                    <a:pt x="581" y="343"/>
                    <a:pt x="575" y="350"/>
                  </a:cubicBezTo>
                  <a:close/>
                  <a:moveTo>
                    <a:pt x="642" y="670"/>
                  </a:moveTo>
                  <a:cubicBezTo>
                    <a:pt x="637" y="675"/>
                    <a:pt x="633" y="677"/>
                    <a:pt x="629" y="677"/>
                  </a:cubicBezTo>
                  <a:cubicBezTo>
                    <a:pt x="624" y="676"/>
                    <a:pt x="621" y="675"/>
                    <a:pt x="618" y="672"/>
                  </a:cubicBezTo>
                  <a:lnTo>
                    <a:pt x="513" y="567"/>
                  </a:lnTo>
                  <a:cubicBezTo>
                    <a:pt x="504" y="576"/>
                    <a:pt x="497" y="585"/>
                    <a:pt x="492" y="593"/>
                  </a:cubicBezTo>
                  <a:cubicBezTo>
                    <a:pt x="487" y="602"/>
                    <a:pt x="483" y="611"/>
                    <a:pt x="483" y="620"/>
                  </a:cubicBezTo>
                  <a:cubicBezTo>
                    <a:pt x="482" y="630"/>
                    <a:pt x="483" y="639"/>
                    <a:pt x="487" y="648"/>
                  </a:cubicBezTo>
                  <a:cubicBezTo>
                    <a:pt x="491" y="658"/>
                    <a:pt x="498" y="667"/>
                    <a:pt x="507" y="677"/>
                  </a:cubicBezTo>
                  <a:cubicBezTo>
                    <a:pt x="515" y="684"/>
                    <a:pt x="522" y="690"/>
                    <a:pt x="529" y="695"/>
                  </a:cubicBezTo>
                  <a:cubicBezTo>
                    <a:pt x="537" y="700"/>
                    <a:pt x="543" y="703"/>
                    <a:pt x="549" y="706"/>
                  </a:cubicBezTo>
                  <a:cubicBezTo>
                    <a:pt x="555" y="709"/>
                    <a:pt x="560" y="711"/>
                    <a:pt x="564" y="713"/>
                  </a:cubicBezTo>
                  <a:cubicBezTo>
                    <a:pt x="568" y="714"/>
                    <a:pt x="570" y="716"/>
                    <a:pt x="572" y="717"/>
                  </a:cubicBezTo>
                  <a:cubicBezTo>
                    <a:pt x="573" y="718"/>
                    <a:pt x="573" y="719"/>
                    <a:pt x="574" y="720"/>
                  </a:cubicBezTo>
                  <a:cubicBezTo>
                    <a:pt x="574" y="721"/>
                    <a:pt x="574" y="722"/>
                    <a:pt x="573" y="723"/>
                  </a:cubicBezTo>
                  <a:cubicBezTo>
                    <a:pt x="573" y="725"/>
                    <a:pt x="572" y="726"/>
                    <a:pt x="571" y="728"/>
                  </a:cubicBezTo>
                  <a:cubicBezTo>
                    <a:pt x="569" y="729"/>
                    <a:pt x="568" y="731"/>
                    <a:pt x="565" y="733"/>
                  </a:cubicBezTo>
                  <a:cubicBezTo>
                    <a:pt x="564" y="735"/>
                    <a:pt x="562" y="736"/>
                    <a:pt x="561" y="737"/>
                  </a:cubicBezTo>
                  <a:cubicBezTo>
                    <a:pt x="560" y="738"/>
                    <a:pt x="559" y="739"/>
                    <a:pt x="558" y="740"/>
                  </a:cubicBezTo>
                  <a:cubicBezTo>
                    <a:pt x="557" y="740"/>
                    <a:pt x="556" y="741"/>
                    <a:pt x="555" y="741"/>
                  </a:cubicBezTo>
                  <a:cubicBezTo>
                    <a:pt x="553" y="742"/>
                    <a:pt x="552" y="742"/>
                    <a:pt x="551" y="742"/>
                  </a:cubicBezTo>
                  <a:cubicBezTo>
                    <a:pt x="550" y="742"/>
                    <a:pt x="547" y="741"/>
                    <a:pt x="542" y="739"/>
                  </a:cubicBezTo>
                  <a:cubicBezTo>
                    <a:pt x="537" y="737"/>
                    <a:pt x="532" y="735"/>
                    <a:pt x="525" y="731"/>
                  </a:cubicBezTo>
                  <a:cubicBezTo>
                    <a:pt x="519" y="727"/>
                    <a:pt x="512" y="723"/>
                    <a:pt x="504" y="717"/>
                  </a:cubicBezTo>
                  <a:cubicBezTo>
                    <a:pt x="496" y="712"/>
                    <a:pt x="488" y="705"/>
                    <a:pt x="481" y="698"/>
                  </a:cubicBezTo>
                  <a:cubicBezTo>
                    <a:pt x="468" y="685"/>
                    <a:pt x="458" y="671"/>
                    <a:pt x="452" y="658"/>
                  </a:cubicBezTo>
                  <a:cubicBezTo>
                    <a:pt x="446" y="644"/>
                    <a:pt x="443" y="631"/>
                    <a:pt x="443" y="617"/>
                  </a:cubicBezTo>
                  <a:cubicBezTo>
                    <a:pt x="444" y="603"/>
                    <a:pt x="448" y="589"/>
                    <a:pt x="455" y="574"/>
                  </a:cubicBezTo>
                  <a:cubicBezTo>
                    <a:pt x="463" y="560"/>
                    <a:pt x="474" y="546"/>
                    <a:pt x="488" y="531"/>
                  </a:cubicBezTo>
                  <a:cubicBezTo>
                    <a:pt x="502" y="518"/>
                    <a:pt x="516" y="507"/>
                    <a:pt x="530" y="500"/>
                  </a:cubicBezTo>
                  <a:cubicBezTo>
                    <a:pt x="545" y="493"/>
                    <a:pt x="559" y="488"/>
                    <a:pt x="573" y="487"/>
                  </a:cubicBezTo>
                  <a:cubicBezTo>
                    <a:pt x="587" y="487"/>
                    <a:pt x="601" y="489"/>
                    <a:pt x="615" y="494"/>
                  </a:cubicBezTo>
                  <a:cubicBezTo>
                    <a:pt x="628" y="499"/>
                    <a:pt x="641" y="508"/>
                    <a:pt x="653" y="520"/>
                  </a:cubicBezTo>
                  <a:cubicBezTo>
                    <a:pt x="665" y="532"/>
                    <a:pt x="674" y="545"/>
                    <a:pt x="678" y="558"/>
                  </a:cubicBezTo>
                  <a:cubicBezTo>
                    <a:pt x="683" y="570"/>
                    <a:pt x="685" y="583"/>
                    <a:pt x="684" y="595"/>
                  </a:cubicBezTo>
                  <a:cubicBezTo>
                    <a:pt x="683" y="608"/>
                    <a:pt x="679" y="620"/>
                    <a:pt x="673" y="632"/>
                  </a:cubicBezTo>
                  <a:cubicBezTo>
                    <a:pt x="666" y="643"/>
                    <a:pt x="658" y="655"/>
                    <a:pt x="647" y="665"/>
                  </a:cubicBezTo>
                  <a:lnTo>
                    <a:pt x="642" y="670"/>
                  </a:lnTo>
                  <a:close/>
                  <a:moveTo>
                    <a:pt x="621" y="632"/>
                  </a:moveTo>
                  <a:cubicBezTo>
                    <a:pt x="637" y="617"/>
                    <a:pt x="646" y="602"/>
                    <a:pt x="647" y="586"/>
                  </a:cubicBezTo>
                  <a:cubicBezTo>
                    <a:pt x="649" y="570"/>
                    <a:pt x="642" y="555"/>
                    <a:pt x="628" y="541"/>
                  </a:cubicBezTo>
                  <a:cubicBezTo>
                    <a:pt x="621" y="534"/>
                    <a:pt x="613" y="529"/>
                    <a:pt x="605" y="526"/>
                  </a:cubicBezTo>
                  <a:cubicBezTo>
                    <a:pt x="597" y="523"/>
                    <a:pt x="589" y="522"/>
                    <a:pt x="581" y="523"/>
                  </a:cubicBezTo>
                  <a:cubicBezTo>
                    <a:pt x="573" y="524"/>
                    <a:pt x="564" y="526"/>
                    <a:pt x="556" y="530"/>
                  </a:cubicBezTo>
                  <a:cubicBezTo>
                    <a:pt x="549" y="534"/>
                    <a:pt x="541" y="539"/>
                    <a:pt x="534" y="545"/>
                  </a:cubicBezTo>
                  <a:lnTo>
                    <a:pt x="621" y="632"/>
                  </a:lnTo>
                  <a:close/>
                  <a:moveTo>
                    <a:pt x="842" y="746"/>
                  </a:moveTo>
                  <a:cubicBezTo>
                    <a:pt x="840" y="749"/>
                    <a:pt x="838" y="751"/>
                    <a:pt x="836" y="753"/>
                  </a:cubicBezTo>
                  <a:cubicBezTo>
                    <a:pt x="834" y="754"/>
                    <a:pt x="832" y="755"/>
                    <a:pt x="831" y="756"/>
                  </a:cubicBezTo>
                  <a:cubicBezTo>
                    <a:pt x="829" y="757"/>
                    <a:pt x="828" y="757"/>
                    <a:pt x="827" y="757"/>
                  </a:cubicBezTo>
                  <a:cubicBezTo>
                    <a:pt x="826" y="757"/>
                    <a:pt x="825" y="757"/>
                    <a:pt x="824" y="756"/>
                  </a:cubicBezTo>
                  <a:cubicBezTo>
                    <a:pt x="823" y="755"/>
                    <a:pt x="822" y="753"/>
                    <a:pt x="822" y="751"/>
                  </a:cubicBezTo>
                  <a:cubicBezTo>
                    <a:pt x="821" y="749"/>
                    <a:pt x="820" y="747"/>
                    <a:pt x="819" y="745"/>
                  </a:cubicBezTo>
                  <a:cubicBezTo>
                    <a:pt x="817" y="743"/>
                    <a:pt x="816" y="741"/>
                    <a:pt x="814" y="738"/>
                  </a:cubicBezTo>
                  <a:cubicBezTo>
                    <a:pt x="813" y="735"/>
                    <a:pt x="811" y="733"/>
                    <a:pt x="808" y="730"/>
                  </a:cubicBezTo>
                  <a:cubicBezTo>
                    <a:pt x="805" y="727"/>
                    <a:pt x="802" y="725"/>
                    <a:pt x="798" y="723"/>
                  </a:cubicBezTo>
                  <a:cubicBezTo>
                    <a:pt x="794" y="722"/>
                    <a:pt x="789" y="721"/>
                    <a:pt x="783" y="720"/>
                  </a:cubicBezTo>
                  <a:cubicBezTo>
                    <a:pt x="777" y="720"/>
                    <a:pt x="770" y="720"/>
                    <a:pt x="762" y="721"/>
                  </a:cubicBezTo>
                  <a:cubicBezTo>
                    <a:pt x="754" y="722"/>
                    <a:pt x="745" y="724"/>
                    <a:pt x="735" y="726"/>
                  </a:cubicBezTo>
                  <a:lnTo>
                    <a:pt x="630" y="831"/>
                  </a:lnTo>
                  <a:cubicBezTo>
                    <a:pt x="629" y="832"/>
                    <a:pt x="628" y="833"/>
                    <a:pt x="627" y="833"/>
                  </a:cubicBezTo>
                  <a:cubicBezTo>
                    <a:pt x="626" y="833"/>
                    <a:pt x="624" y="833"/>
                    <a:pt x="623" y="832"/>
                  </a:cubicBezTo>
                  <a:cubicBezTo>
                    <a:pt x="621" y="832"/>
                    <a:pt x="619" y="830"/>
                    <a:pt x="617" y="829"/>
                  </a:cubicBezTo>
                  <a:cubicBezTo>
                    <a:pt x="615" y="827"/>
                    <a:pt x="613" y="825"/>
                    <a:pt x="610" y="822"/>
                  </a:cubicBezTo>
                  <a:cubicBezTo>
                    <a:pt x="607" y="819"/>
                    <a:pt x="605" y="817"/>
                    <a:pt x="603" y="814"/>
                  </a:cubicBezTo>
                  <a:cubicBezTo>
                    <a:pt x="601" y="812"/>
                    <a:pt x="600" y="811"/>
                    <a:pt x="600" y="809"/>
                  </a:cubicBezTo>
                  <a:cubicBezTo>
                    <a:pt x="599" y="807"/>
                    <a:pt x="599" y="806"/>
                    <a:pt x="599" y="805"/>
                  </a:cubicBezTo>
                  <a:cubicBezTo>
                    <a:pt x="599" y="804"/>
                    <a:pt x="600" y="803"/>
                    <a:pt x="601" y="802"/>
                  </a:cubicBezTo>
                  <a:lnTo>
                    <a:pt x="760" y="643"/>
                  </a:lnTo>
                  <a:cubicBezTo>
                    <a:pt x="761" y="642"/>
                    <a:pt x="762" y="641"/>
                    <a:pt x="763" y="641"/>
                  </a:cubicBezTo>
                  <a:cubicBezTo>
                    <a:pt x="764" y="641"/>
                    <a:pt x="765" y="641"/>
                    <a:pt x="767" y="641"/>
                  </a:cubicBezTo>
                  <a:cubicBezTo>
                    <a:pt x="768" y="642"/>
                    <a:pt x="770" y="643"/>
                    <a:pt x="772" y="644"/>
                  </a:cubicBezTo>
                  <a:cubicBezTo>
                    <a:pt x="774" y="646"/>
                    <a:pt x="776" y="648"/>
                    <a:pt x="779" y="651"/>
                  </a:cubicBezTo>
                  <a:cubicBezTo>
                    <a:pt x="781" y="653"/>
                    <a:pt x="783" y="655"/>
                    <a:pt x="785" y="657"/>
                  </a:cubicBezTo>
                  <a:cubicBezTo>
                    <a:pt x="786" y="659"/>
                    <a:pt x="787" y="661"/>
                    <a:pt x="788" y="662"/>
                  </a:cubicBezTo>
                  <a:cubicBezTo>
                    <a:pt x="788" y="664"/>
                    <a:pt x="788" y="665"/>
                    <a:pt x="788" y="666"/>
                  </a:cubicBezTo>
                  <a:cubicBezTo>
                    <a:pt x="788" y="667"/>
                    <a:pt x="787" y="668"/>
                    <a:pt x="786" y="669"/>
                  </a:cubicBezTo>
                  <a:lnTo>
                    <a:pt x="763" y="692"/>
                  </a:lnTo>
                  <a:cubicBezTo>
                    <a:pt x="774" y="690"/>
                    <a:pt x="783" y="689"/>
                    <a:pt x="791" y="689"/>
                  </a:cubicBezTo>
                  <a:cubicBezTo>
                    <a:pt x="799" y="689"/>
                    <a:pt x="805" y="689"/>
                    <a:pt x="811" y="690"/>
                  </a:cubicBezTo>
                  <a:cubicBezTo>
                    <a:pt x="817" y="692"/>
                    <a:pt x="822" y="693"/>
                    <a:pt x="826" y="696"/>
                  </a:cubicBezTo>
                  <a:cubicBezTo>
                    <a:pt x="830" y="698"/>
                    <a:pt x="834" y="701"/>
                    <a:pt x="838" y="705"/>
                  </a:cubicBezTo>
                  <a:cubicBezTo>
                    <a:pt x="839" y="706"/>
                    <a:pt x="841" y="708"/>
                    <a:pt x="843" y="710"/>
                  </a:cubicBezTo>
                  <a:cubicBezTo>
                    <a:pt x="844" y="712"/>
                    <a:pt x="846" y="715"/>
                    <a:pt x="848" y="717"/>
                  </a:cubicBezTo>
                  <a:cubicBezTo>
                    <a:pt x="849" y="720"/>
                    <a:pt x="851" y="722"/>
                    <a:pt x="852" y="725"/>
                  </a:cubicBezTo>
                  <a:cubicBezTo>
                    <a:pt x="853" y="727"/>
                    <a:pt x="854" y="729"/>
                    <a:pt x="854" y="730"/>
                  </a:cubicBezTo>
                  <a:cubicBezTo>
                    <a:pt x="854" y="731"/>
                    <a:pt x="854" y="732"/>
                    <a:pt x="853" y="733"/>
                  </a:cubicBezTo>
                  <a:cubicBezTo>
                    <a:pt x="853" y="734"/>
                    <a:pt x="853" y="735"/>
                    <a:pt x="852" y="736"/>
                  </a:cubicBezTo>
                  <a:cubicBezTo>
                    <a:pt x="851" y="737"/>
                    <a:pt x="850" y="738"/>
                    <a:pt x="849" y="740"/>
                  </a:cubicBezTo>
                  <a:cubicBezTo>
                    <a:pt x="847" y="741"/>
                    <a:pt x="845" y="744"/>
                    <a:pt x="842" y="746"/>
                  </a:cubicBezTo>
                  <a:close/>
                  <a:moveTo>
                    <a:pt x="862" y="1063"/>
                  </a:moveTo>
                  <a:cubicBezTo>
                    <a:pt x="861" y="1064"/>
                    <a:pt x="860" y="1065"/>
                    <a:pt x="859" y="1065"/>
                  </a:cubicBezTo>
                  <a:cubicBezTo>
                    <a:pt x="858" y="1065"/>
                    <a:pt x="857" y="1065"/>
                    <a:pt x="855" y="1064"/>
                  </a:cubicBezTo>
                  <a:cubicBezTo>
                    <a:pt x="854" y="1064"/>
                    <a:pt x="852" y="1063"/>
                    <a:pt x="850" y="1061"/>
                  </a:cubicBezTo>
                  <a:cubicBezTo>
                    <a:pt x="848" y="1059"/>
                    <a:pt x="845" y="1057"/>
                    <a:pt x="842" y="1054"/>
                  </a:cubicBezTo>
                  <a:cubicBezTo>
                    <a:pt x="839" y="1051"/>
                    <a:pt x="837" y="1049"/>
                    <a:pt x="835" y="1047"/>
                  </a:cubicBezTo>
                  <a:cubicBezTo>
                    <a:pt x="834" y="1045"/>
                    <a:pt x="833" y="1043"/>
                    <a:pt x="832" y="1041"/>
                  </a:cubicBezTo>
                  <a:cubicBezTo>
                    <a:pt x="831" y="1040"/>
                    <a:pt x="831" y="1038"/>
                    <a:pt x="831" y="1037"/>
                  </a:cubicBezTo>
                  <a:cubicBezTo>
                    <a:pt x="832" y="1036"/>
                    <a:pt x="832" y="1035"/>
                    <a:pt x="833" y="1034"/>
                  </a:cubicBezTo>
                  <a:lnTo>
                    <a:pt x="926" y="941"/>
                  </a:lnTo>
                  <a:cubicBezTo>
                    <a:pt x="935" y="932"/>
                    <a:pt x="942" y="924"/>
                    <a:pt x="946" y="917"/>
                  </a:cubicBezTo>
                  <a:cubicBezTo>
                    <a:pt x="950" y="910"/>
                    <a:pt x="953" y="903"/>
                    <a:pt x="954" y="897"/>
                  </a:cubicBezTo>
                  <a:cubicBezTo>
                    <a:pt x="955" y="890"/>
                    <a:pt x="955" y="883"/>
                    <a:pt x="953" y="877"/>
                  </a:cubicBezTo>
                  <a:cubicBezTo>
                    <a:pt x="951" y="870"/>
                    <a:pt x="947" y="864"/>
                    <a:pt x="941" y="859"/>
                  </a:cubicBezTo>
                  <a:cubicBezTo>
                    <a:pt x="934" y="851"/>
                    <a:pt x="924" y="847"/>
                    <a:pt x="911" y="845"/>
                  </a:cubicBezTo>
                  <a:cubicBezTo>
                    <a:pt x="899" y="842"/>
                    <a:pt x="884" y="842"/>
                    <a:pt x="866" y="844"/>
                  </a:cubicBezTo>
                  <a:lnTo>
                    <a:pt x="754" y="956"/>
                  </a:lnTo>
                  <a:cubicBezTo>
                    <a:pt x="753" y="957"/>
                    <a:pt x="752" y="957"/>
                    <a:pt x="751" y="957"/>
                  </a:cubicBezTo>
                  <a:cubicBezTo>
                    <a:pt x="750" y="957"/>
                    <a:pt x="749" y="957"/>
                    <a:pt x="747" y="957"/>
                  </a:cubicBezTo>
                  <a:cubicBezTo>
                    <a:pt x="746" y="956"/>
                    <a:pt x="744" y="955"/>
                    <a:pt x="742" y="953"/>
                  </a:cubicBezTo>
                  <a:cubicBezTo>
                    <a:pt x="740" y="952"/>
                    <a:pt x="737" y="949"/>
                    <a:pt x="734" y="946"/>
                  </a:cubicBezTo>
                  <a:cubicBezTo>
                    <a:pt x="731" y="944"/>
                    <a:pt x="729" y="941"/>
                    <a:pt x="727" y="939"/>
                  </a:cubicBezTo>
                  <a:cubicBezTo>
                    <a:pt x="726" y="937"/>
                    <a:pt x="725" y="935"/>
                    <a:pt x="724" y="933"/>
                  </a:cubicBezTo>
                  <a:cubicBezTo>
                    <a:pt x="723" y="932"/>
                    <a:pt x="723" y="930"/>
                    <a:pt x="723" y="929"/>
                  </a:cubicBezTo>
                  <a:cubicBezTo>
                    <a:pt x="724" y="928"/>
                    <a:pt x="724" y="927"/>
                    <a:pt x="725" y="926"/>
                  </a:cubicBezTo>
                  <a:lnTo>
                    <a:pt x="884" y="767"/>
                  </a:lnTo>
                  <a:cubicBezTo>
                    <a:pt x="885" y="766"/>
                    <a:pt x="886" y="766"/>
                    <a:pt x="887" y="765"/>
                  </a:cubicBezTo>
                  <a:cubicBezTo>
                    <a:pt x="888" y="765"/>
                    <a:pt x="890" y="765"/>
                    <a:pt x="891" y="766"/>
                  </a:cubicBezTo>
                  <a:cubicBezTo>
                    <a:pt x="893" y="766"/>
                    <a:pt x="894" y="767"/>
                    <a:pt x="896" y="769"/>
                  </a:cubicBezTo>
                  <a:cubicBezTo>
                    <a:pt x="898" y="770"/>
                    <a:pt x="900" y="772"/>
                    <a:pt x="903" y="775"/>
                  </a:cubicBezTo>
                  <a:cubicBezTo>
                    <a:pt x="906" y="778"/>
                    <a:pt x="908" y="780"/>
                    <a:pt x="909" y="782"/>
                  </a:cubicBezTo>
                  <a:cubicBezTo>
                    <a:pt x="911" y="784"/>
                    <a:pt x="912" y="785"/>
                    <a:pt x="912" y="787"/>
                  </a:cubicBezTo>
                  <a:cubicBezTo>
                    <a:pt x="913" y="788"/>
                    <a:pt x="913" y="790"/>
                    <a:pt x="912" y="791"/>
                  </a:cubicBezTo>
                  <a:cubicBezTo>
                    <a:pt x="912" y="792"/>
                    <a:pt x="912" y="793"/>
                    <a:pt x="911" y="794"/>
                  </a:cubicBezTo>
                  <a:lnTo>
                    <a:pt x="890" y="815"/>
                  </a:lnTo>
                  <a:cubicBezTo>
                    <a:pt x="909" y="814"/>
                    <a:pt x="925" y="815"/>
                    <a:pt x="938" y="819"/>
                  </a:cubicBezTo>
                  <a:cubicBezTo>
                    <a:pt x="952" y="824"/>
                    <a:pt x="963" y="830"/>
                    <a:pt x="972" y="839"/>
                  </a:cubicBezTo>
                  <a:cubicBezTo>
                    <a:pt x="983" y="850"/>
                    <a:pt x="990" y="861"/>
                    <a:pt x="994" y="872"/>
                  </a:cubicBezTo>
                  <a:cubicBezTo>
                    <a:pt x="997" y="882"/>
                    <a:pt x="998" y="893"/>
                    <a:pt x="997" y="904"/>
                  </a:cubicBezTo>
                  <a:cubicBezTo>
                    <a:pt x="995" y="914"/>
                    <a:pt x="992" y="924"/>
                    <a:pt x="985" y="934"/>
                  </a:cubicBezTo>
                  <a:cubicBezTo>
                    <a:pt x="979" y="944"/>
                    <a:pt x="971" y="955"/>
                    <a:pt x="959" y="966"/>
                  </a:cubicBezTo>
                  <a:lnTo>
                    <a:pt x="862" y="1063"/>
                  </a:lnTo>
                  <a:close/>
                  <a:moveTo>
                    <a:pt x="935" y="1137"/>
                  </a:moveTo>
                  <a:cubicBezTo>
                    <a:pt x="934" y="1138"/>
                    <a:pt x="933" y="1138"/>
                    <a:pt x="932" y="1138"/>
                  </a:cubicBezTo>
                  <a:cubicBezTo>
                    <a:pt x="931" y="1138"/>
                    <a:pt x="930" y="1138"/>
                    <a:pt x="928" y="1138"/>
                  </a:cubicBezTo>
                  <a:cubicBezTo>
                    <a:pt x="927" y="1137"/>
                    <a:pt x="925" y="1136"/>
                    <a:pt x="923" y="1134"/>
                  </a:cubicBezTo>
                  <a:cubicBezTo>
                    <a:pt x="921" y="1133"/>
                    <a:pt x="918" y="1130"/>
                    <a:pt x="915" y="1127"/>
                  </a:cubicBezTo>
                  <a:cubicBezTo>
                    <a:pt x="912" y="1125"/>
                    <a:pt x="910" y="1122"/>
                    <a:pt x="909" y="1120"/>
                  </a:cubicBezTo>
                  <a:cubicBezTo>
                    <a:pt x="907" y="1118"/>
                    <a:pt x="906" y="1116"/>
                    <a:pt x="905" y="1114"/>
                  </a:cubicBezTo>
                  <a:cubicBezTo>
                    <a:pt x="904" y="1113"/>
                    <a:pt x="904" y="1111"/>
                    <a:pt x="904" y="1110"/>
                  </a:cubicBezTo>
                  <a:cubicBezTo>
                    <a:pt x="905" y="1109"/>
                    <a:pt x="905" y="1108"/>
                    <a:pt x="906" y="1107"/>
                  </a:cubicBezTo>
                  <a:lnTo>
                    <a:pt x="1065" y="948"/>
                  </a:lnTo>
                  <a:cubicBezTo>
                    <a:pt x="1066" y="947"/>
                    <a:pt x="1067" y="947"/>
                    <a:pt x="1068" y="947"/>
                  </a:cubicBezTo>
                  <a:cubicBezTo>
                    <a:pt x="1069" y="946"/>
                    <a:pt x="1071" y="947"/>
                    <a:pt x="1072" y="947"/>
                  </a:cubicBezTo>
                  <a:cubicBezTo>
                    <a:pt x="1074" y="948"/>
                    <a:pt x="1076" y="949"/>
                    <a:pt x="1078" y="951"/>
                  </a:cubicBezTo>
                  <a:cubicBezTo>
                    <a:pt x="1080" y="952"/>
                    <a:pt x="1082" y="955"/>
                    <a:pt x="1085" y="957"/>
                  </a:cubicBezTo>
                  <a:cubicBezTo>
                    <a:pt x="1088" y="960"/>
                    <a:pt x="1091" y="963"/>
                    <a:pt x="1092" y="965"/>
                  </a:cubicBezTo>
                  <a:cubicBezTo>
                    <a:pt x="1094" y="967"/>
                    <a:pt x="1095" y="969"/>
                    <a:pt x="1096" y="970"/>
                  </a:cubicBezTo>
                  <a:cubicBezTo>
                    <a:pt x="1096" y="972"/>
                    <a:pt x="1096" y="973"/>
                    <a:pt x="1096" y="974"/>
                  </a:cubicBezTo>
                  <a:cubicBezTo>
                    <a:pt x="1096" y="976"/>
                    <a:pt x="1095" y="977"/>
                    <a:pt x="1094" y="977"/>
                  </a:cubicBezTo>
                  <a:lnTo>
                    <a:pt x="935" y="1137"/>
                  </a:lnTo>
                  <a:close/>
                  <a:moveTo>
                    <a:pt x="1152" y="927"/>
                  </a:moveTo>
                  <a:cubicBezTo>
                    <a:pt x="1145" y="934"/>
                    <a:pt x="1139" y="937"/>
                    <a:pt x="1134" y="937"/>
                  </a:cubicBezTo>
                  <a:cubicBezTo>
                    <a:pt x="1129" y="937"/>
                    <a:pt x="1123" y="934"/>
                    <a:pt x="1116" y="927"/>
                  </a:cubicBezTo>
                  <a:cubicBezTo>
                    <a:pt x="1109" y="920"/>
                    <a:pt x="1105" y="914"/>
                    <a:pt x="1105" y="909"/>
                  </a:cubicBezTo>
                  <a:cubicBezTo>
                    <a:pt x="1105" y="904"/>
                    <a:pt x="1108" y="898"/>
                    <a:pt x="1115" y="891"/>
                  </a:cubicBezTo>
                  <a:cubicBezTo>
                    <a:pt x="1122" y="885"/>
                    <a:pt x="1128" y="881"/>
                    <a:pt x="1133" y="881"/>
                  </a:cubicBezTo>
                  <a:cubicBezTo>
                    <a:pt x="1138" y="881"/>
                    <a:pt x="1144" y="885"/>
                    <a:pt x="1151" y="892"/>
                  </a:cubicBezTo>
                  <a:cubicBezTo>
                    <a:pt x="1158" y="899"/>
                    <a:pt x="1161" y="905"/>
                    <a:pt x="1161" y="910"/>
                  </a:cubicBezTo>
                  <a:cubicBezTo>
                    <a:pt x="1162" y="915"/>
                    <a:pt x="1158" y="920"/>
                    <a:pt x="1152" y="927"/>
                  </a:cubicBezTo>
                  <a:close/>
                  <a:moveTo>
                    <a:pt x="1219" y="1247"/>
                  </a:moveTo>
                  <a:cubicBezTo>
                    <a:pt x="1214" y="1252"/>
                    <a:pt x="1210" y="1254"/>
                    <a:pt x="1206" y="1254"/>
                  </a:cubicBezTo>
                  <a:cubicBezTo>
                    <a:pt x="1201" y="1253"/>
                    <a:pt x="1198" y="1252"/>
                    <a:pt x="1195" y="1249"/>
                  </a:cubicBezTo>
                  <a:lnTo>
                    <a:pt x="1090" y="1144"/>
                  </a:lnTo>
                  <a:cubicBezTo>
                    <a:pt x="1081" y="1153"/>
                    <a:pt x="1074" y="1162"/>
                    <a:pt x="1069" y="1170"/>
                  </a:cubicBezTo>
                  <a:cubicBezTo>
                    <a:pt x="1064" y="1179"/>
                    <a:pt x="1060" y="1188"/>
                    <a:pt x="1060" y="1197"/>
                  </a:cubicBezTo>
                  <a:cubicBezTo>
                    <a:pt x="1059" y="1207"/>
                    <a:pt x="1060" y="1216"/>
                    <a:pt x="1064" y="1225"/>
                  </a:cubicBezTo>
                  <a:cubicBezTo>
                    <a:pt x="1068" y="1235"/>
                    <a:pt x="1075" y="1244"/>
                    <a:pt x="1084" y="1254"/>
                  </a:cubicBezTo>
                  <a:cubicBezTo>
                    <a:pt x="1092" y="1261"/>
                    <a:pt x="1099" y="1267"/>
                    <a:pt x="1106" y="1272"/>
                  </a:cubicBezTo>
                  <a:cubicBezTo>
                    <a:pt x="1114" y="1277"/>
                    <a:pt x="1120" y="1280"/>
                    <a:pt x="1126" y="1283"/>
                  </a:cubicBezTo>
                  <a:cubicBezTo>
                    <a:pt x="1132" y="1286"/>
                    <a:pt x="1137" y="1288"/>
                    <a:pt x="1141" y="1290"/>
                  </a:cubicBezTo>
                  <a:cubicBezTo>
                    <a:pt x="1145" y="1291"/>
                    <a:pt x="1147" y="1293"/>
                    <a:pt x="1149" y="1294"/>
                  </a:cubicBezTo>
                  <a:cubicBezTo>
                    <a:pt x="1150" y="1295"/>
                    <a:pt x="1150" y="1296"/>
                    <a:pt x="1151" y="1297"/>
                  </a:cubicBezTo>
                  <a:cubicBezTo>
                    <a:pt x="1151" y="1298"/>
                    <a:pt x="1151" y="1299"/>
                    <a:pt x="1150" y="1300"/>
                  </a:cubicBezTo>
                  <a:cubicBezTo>
                    <a:pt x="1150" y="1302"/>
                    <a:pt x="1149" y="1303"/>
                    <a:pt x="1148" y="1305"/>
                  </a:cubicBezTo>
                  <a:cubicBezTo>
                    <a:pt x="1146" y="1306"/>
                    <a:pt x="1145" y="1308"/>
                    <a:pt x="1142" y="1310"/>
                  </a:cubicBezTo>
                  <a:cubicBezTo>
                    <a:pt x="1141" y="1312"/>
                    <a:pt x="1139" y="1313"/>
                    <a:pt x="1138" y="1314"/>
                  </a:cubicBezTo>
                  <a:cubicBezTo>
                    <a:pt x="1137" y="1315"/>
                    <a:pt x="1136" y="1316"/>
                    <a:pt x="1135" y="1317"/>
                  </a:cubicBezTo>
                  <a:cubicBezTo>
                    <a:pt x="1134" y="1317"/>
                    <a:pt x="1133" y="1318"/>
                    <a:pt x="1132" y="1318"/>
                  </a:cubicBezTo>
                  <a:cubicBezTo>
                    <a:pt x="1130" y="1319"/>
                    <a:pt x="1129" y="1319"/>
                    <a:pt x="1128" y="1319"/>
                  </a:cubicBezTo>
                  <a:cubicBezTo>
                    <a:pt x="1127" y="1319"/>
                    <a:pt x="1124" y="1318"/>
                    <a:pt x="1119" y="1316"/>
                  </a:cubicBezTo>
                  <a:cubicBezTo>
                    <a:pt x="1114" y="1314"/>
                    <a:pt x="1109" y="1312"/>
                    <a:pt x="1102" y="1308"/>
                  </a:cubicBezTo>
                  <a:cubicBezTo>
                    <a:pt x="1096" y="1304"/>
                    <a:pt x="1089" y="1300"/>
                    <a:pt x="1081" y="1294"/>
                  </a:cubicBezTo>
                  <a:cubicBezTo>
                    <a:pt x="1073" y="1289"/>
                    <a:pt x="1065" y="1282"/>
                    <a:pt x="1058" y="1275"/>
                  </a:cubicBezTo>
                  <a:cubicBezTo>
                    <a:pt x="1045" y="1262"/>
                    <a:pt x="1035" y="1248"/>
                    <a:pt x="1029" y="1235"/>
                  </a:cubicBezTo>
                  <a:cubicBezTo>
                    <a:pt x="1023" y="1221"/>
                    <a:pt x="1020" y="1208"/>
                    <a:pt x="1020" y="1194"/>
                  </a:cubicBezTo>
                  <a:cubicBezTo>
                    <a:pt x="1021" y="1180"/>
                    <a:pt x="1025" y="1166"/>
                    <a:pt x="1032" y="1151"/>
                  </a:cubicBezTo>
                  <a:cubicBezTo>
                    <a:pt x="1040" y="1137"/>
                    <a:pt x="1051" y="1123"/>
                    <a:pt x="1065" y="1108"/>
                  </a:cubicBezTo>
                  <a:cubicBezTo>
                    <a:pt x="1079" y="1095"/>
                    <a:pt x="1093" y="1084"/>
                    <a:pt x="1107" y="1077"/>
                  </a:cubicBezTo>
                  <a:cubicBezTo>
                    <a:pt x="1122" y="1070"/>
                    <a:pt x="1136" y="1065"/>
                    <a:pt x="1150" y="1064"/>
                  </a:cubicBezTo>
                  <a:cubicBezTo>
                    <a:pt x="1164" y="1064"/>
                    <a:pt x="1178" y="1066"/>
                    <a:pt x="1192" y="1071"/>
                  </a:cubicBezTo>
                  <a:cubicBezTo>
                    <a:pt x="1205" y="1076"/>
                    <a:pt x="1218" y="1085"/>
                    <a:pt x="1230" y="1097"/>
                  </a:cubicBezTo>
                  <a:cubicBezTo>
                    <a:pt x="1242" y="1109"/>
                    <a:pt x="1251" y="1122"/>
                    <a:pt x="1255" y="1135"/>
                  </a:cubicBezTo>
                  <a:cubicBezTo>
                    <a:pt x="1260" y="1147"/>
                    <a:pt x="1262" y="1160"/>
                    <a:pt x="1261" y="1172"/>
                  </a:cubicBezTo>
                  <a:cubicBezTo>
                    <a:pt x="1260" y="1185"/>
                    <a:pt x="1256" y="1197"/>
                    <a:pt x="1250" y="1209"/>
                  </a:cubicBezTo>
                  <a:cubicBezTo>
                    <a:pt x="1243" y="1220"/>
                    <a:pt x="1235" y="1232"/>
                    <a:pt x="1224" y="1242"/>
                  </a:cubicBezTo>
                  <a:lnTo>
                    <a:pt x="1219" y="1247"/>
                  </a:lnTo>
                  <a:close/>
                  <a:moveTo>
                    <a:pt x="1198" y="1209"/>
                  </a:moveTo>
                  <a:cubicBezTo>
                    <a:pt x="1214" y="1194"/>
                    <a:pt x="1223" y="1179"/>
                    <a:pt x="1224" y="1163"/>
                  </a:cubicBezTo>
                  <a:cubicBezTo>
                    <a:pt x="1226" y="1147"/>
                    <a:pt x="1219" y="1132"/>
                    <a:pt x="1205" y="1118"/>
                  </a:cubicBezTo>
                  <a:cubicBezTo>
                    <a:pt x="1198" y="1111"/>
                    <a:pt x="1190" y="1106"/>
                    <a:pt x="1182" y="1103"/>
                  </a:cubicBezTo>
                  <a:cubicBezTo>
                    <a:pt x="1174" y="1100"/>
                    <a:pt x="1166" y="1099"/>
                    <a:pt x="1158" y="1100"/>
                  </a:cubicBezTo>
                  <a:cubicBezTo>
                    <a:pt x="1150" y="1101"/>
                    <a:pt x="1141" y="1103"/>
                    <a:pt x="1133" y="1107"/>
                  </a:cubicBezTo>
                  <a:cubicBezTo>
                    <a:pt x="1126" y="1111"/>
                    <a:pt x="1118" y="1116"/>
                    <a:pt x="1111" y="1122"/>
                  </a:cubicBezTo>
                  <a:lnTo>
                    <a:pt x="1198" y="1209"/>
                  </a:lnTo>
                  <a:close/>
                  <a:moveTo>
                    <a:pt x="1560" y="1442"/>
                  </a:moveTo>
                  <a:cubicBezTo>
                    <a:pt x="1559" y="1443"/>
                    <a:pt x="1558" y="1444"/>
                    <a:pt x="1556" y="1445"/>
                  </a:cubicBezTo>
                  <a:cubicBezTo>
                    <a:pt x="1555" y="1446"/>
                    <a:pt x="1553" y="1447"/>
                    <a:pt x="1551" y="1448"/>
                  </a:cubicBezTo>
                  <a:lnTo>
                    <a:pt x="1353" y="1552"/>
                  </a:lnTo>
                  <a:cubicBezTo>
                    <a:pt x="1351" y="1553"/>
                    <a:pt x="1349" y="1554"/>
                    <a:pt x="1348" y="1554"/>
                  </a:cubicBezTo>
                  <a:cubicBezTo>
                    <a:pt x="1346" y="1554"/>
                    <a:pt x="1345" y="1553"/>
                    <a:pt x="1343" y="1552"/>
                  </a:cubicBezTo>
                  <a:cubicBezTo>
                    <a:pt x="1341" y="1552"/>
                    <a:pt x="1339" y="1550"/>
                    <a:pt x="1336" y="1548"/>
                  </a:cubicBezTo>
                  <a:cubicBezTo>
                    <a:pt x="1334" y="1546"/>
                    <a:pt x="1331" y="1543"/>
                    <a:pt x="1327" y="1539"/>
                  </a:cubicBezTo>
                  <a:cubicBezTo>
                    <a:pt x="1323" y="1536"/>
                    <a:pt x="1321" y="1532"/>
                    <a:pt x="1318" y="1530"/>
                  </a:cubicBezTo>
                  <a:cubicBezTo>
                    <a:pt x="1316" y="1527"/>
                    <a:pt x="1314" y="1525"/>
                    <a:pt x="1313" y="1523"/>
                  </a:cubicBezTo>
                  <a:cubicBezTo>
                    <a:pt x="1312" y="1521"/>
                    <a:pt x="1312" y="1519"/>
                    <a:pt x="1312" y="1518"/>
                  </a:cubicBezTo>
                  <a:cubicBezTo>
                    <a:pt x="1312" y="1516"/>
                    <a:pt x="1313" y="1514"/>
                    <a:pt x="1314" y="1513"/>
                  </a:cubicBezTo>
                  <a:lnTo>
                    <a:pt x="1396" y="1364"/>
                  </a:lnTo>
                  <a:lnTo>
                    <a:pt x="1397" y="1362"/>
                  </a:lnTo>
                  <a:lnTo>
                    <a:pt x="1395" y="1363"/>
                  </a:lnTo>
                  <a:lnTo>
                    <a:pt x="1248" y="1448"/>
                  </a:lnTo>
                  <a:cubicBezTo>
                    <a:pt x="1247" y="1449"/>
                    <a:pt x="1245" y="1449"/>
                    <a:pt x="1244" y="1449"/>
                  </a:cubicBezTo>
                  <a:cubicBezTo>
                    <a:pt x="1242" y="1449"/>
                    <a:pt x="1240" y="1449"/>
                    <a:pt x="1238" y="1448"/>
                  </a:cubicBezTo>
                  <a:cubicBezTo>
                    <a:pt x="1236" y="1447"/>
                    <a:pt x="1234" y="1445"/>
                    <a:pt x="1231" y="1443"/>
                  </a:cubicBezTo>
                  <a:cubicBezTo>
                    <a:pt x="1229" y="1441"/>
                    <a:pt x="1226" y="1438"/>
                    <a:pt x="1222" y="1434"/>
                  </a:cubicBezTo>
                  <a:cubicBezTo>
                    <a:pt x="1218" y="1431"/>
                    <a:pt x="1216" y="1428"/>
                    <a:pt x="1214" y="1425"/>
                  </a:cubicBezTo>
                  <a:cubicBezTo>
                    <a:pt x="1211" y="1422"/>
                    <a:pt x="1210" y="1420"/>
                    <a:pt x="1209" y="1418"/>
                  </a:cubicBezTo>
                  <a:cubicBezTo>
                    <a:pt x="1208" y="1416"/>
                    <a:pt x="1208" y="1415"/>
                    <a:pt x="1208" y="1413"/>
                  </a:cubicBezTo>
                  <a:cubicBezTo>
                    <a:pt x="1208" y="1412"/>
                    <a:pt x="1208" y="1410"/>
                    <a:pt x="1209" y="1408"/>
                  </a:cubicBezTo>
                  <a:lnTo>
                    <a:pt x="1314" y="1211"/>
                  </a:lnTo>
                  <a:cubicBezTo>
                    <a:pt x="1315" y="1208"/>
                    <a:pt x="1316" y="1207"/>
                    <a:pt x="1317" y="1205"/>
                  </a:cubicBezTo>
                  <a:cubicBezTo>
                    <a:pt x="1318" y="1204"/>
                    <a:pt x="1319" y="1203"/>
                    <a:pt x="1320" y="1202"/>
                  </a:cubicBezTo>
                  <a:cubicBezTo>
                    <a:pt x="1321" y="1201"/>
                    <a:pt x="1322" y="1200"/>
                    <a:pt x="1323" y="1200"/>
                  </a:cubicBezTo>
                  <a:cubicBezTo>
                    <a:pt x="1324" y="1200"/>
                    <a:pt x="1325" y="1200"/>
                    <a:pt x="1327" y="1201"/>
                  </a:cubicBezTo>
                  <a:cubicBezTo>
                    <a:pt x="1328" y="1201"/>
                    <a:pt x="1330" y="1203"/>
                    <a:pt x="1332" y="1204"/>
                  </a:cubicBezTo>
                  <a:cubicBezTo>
                    <a:pt x="1334" y="1206"/>
                    <a:pt x="1336" y="1208"/>
                    <a:pt x="1339" y="1211"/>
                  </a:cubicBezTo>
                  <a:cubicBezTo>
                    <a:pt x="1342" y="1214"/>
                    <a:pt x="1345" y="1217"/>
                    <a:pt x="1347" y="1219"/>
                  </a:cubicBezTo>
                  <a:cubicBezTo>
                    <a:pt x="1349" y="1222"/>
                    <a:pt x="1350" y="1223"/>
                    <a:pt x="1351" y="1225"/>
                  </a:cubicBezTo>
                  <a:cubicBezTo>
                    <a:pt x="1351" y="1226"/>
                    <a:pt x="1351" y="1228"/>
                    <a:pt x="1351" y="1229"/>
                  </a:cubicBezTo>
                  <a:cubicBezTo>
                    <a:pt x="1351" y="1230"/>
                    <a:pt x="1350" y="1232"/>
                    <a:pt x="1350" y="1233"/>
                  </a:cubicBezTo>
                  <a:lnTo>
                    <a:pt x="1257" y="1402"/>
                  </a:lnTo>
                  <a:lnTo>
                    <a:pt x="1256" y="1404"/>
                  </a:lnTo>
                  <a:lnTo>
                    <a:pt x="1257" y="1403"/>
                  </a:lnTo>
                  <a:lnTo>
                    <a:pt x="1424" y="1307"/>
                  </a:lnTo>
                  <a:cubicBezTo>
                    <a:pt x="1425" y="1306"/>
                    <a:pt x="1426" y="1306"/>
                    <a:pt x="1428" y="1306"/>
                  </a:cubicBezTo>
                  <a:cubicBezTo>
                    <a:pt x="1429" y="1305"/>
                    <a:pt x="1430" y="1306"/>
                    <a:pt x="1432" y="1306"/>
                  </a:cubicBezTo>
                  <a:cubicBezTo>
                    <a:pt x="1433" y="1307"/>
                    <a:pt x="1435" y="1308"/>
                    <a:pt x="1437" y="1310"/>
                  </a:cubicBezTo>
                  <a:cubicBezTo>
                    <a:pt x="1439" y="1311"/>
                    <a:pt x="1442" y="1314"/>
                    <a:pt x="1445" y="1317"/>
                  </a:cubicBezTo>
                  <a:cubicBezTo>
                    <a:pt x="1447" y="1319"/>
                    <a:pt x="1450" y="1322"/>
                    <a:pt x="1451" y="1324"/>
                  </a:cubicBezTo>
                  <a:cubicBezTo>
                    <a:pt x="1453" y="1326"/>
                    <a:pt x="1454" y="1328"/>
                    <a:pt x="1455" y="1329"/>
                  </a:cubicBezTo>
                  <a:cubicBezTo>
                    <a:pt x="1455" y="1330"/>
                    <a:pt x="1456" y="1332"/>
                    <a:pt x="1455" y="1333"/>
                  </a:cubicBezTo>
                  <a:cubicBezTo>
                    <a:pt x="1455" y="1334"/>
                    <a:pt x="1455" y="1335"/>
                    <a:pt x="1454" y="1337"/>
                  </a:cubicBezTo>
                  <a:lnTo>
                    <a:pt x="1360" y="1506"/>
                  </a:lnTo>
                  <a:lnTo>
                    <a:pt x="1359" y="1508"/>
                  </a:lnTo>
                  <a:lnTo>
                    <a:pt x="1361" y="1507"/>
                  </a:lnTo>
                  <a:lnTo>
                    <a:pt x="1530" y="1413"/>
                  </a:lnTo>
                  <a:cubicBezTo>
                    <a:pt x="1531" y="1412"/>
                    <a:pt x="1532" y="1412"/>
                    <a:pt x="1534" y="1412"/>
                  </a:cubicBezTo>
                  <a:cubicBezTo>
                    <a:pt x="1535" y="1411"/>
                    <a:pt x="1536" y="1412"/>
                    <a:pt x="1538" y="1412"/>
                  </a:cubicBezTo>
                  <a:cubicBezTo>
                    <a:pt x="1540" y="1413"/>
                    <a:pt x="1541" y="1414"/>
                    <a:pt x="1543" y="1416"/>
                  </a:cubicBezTo>
                  <a:cubicBezTo>
                    <a:pt x="1546" y="1418"/>
                    <a:pt x="1548" y="1420"/>
                    <a:pt x="1551" y="1423"/>
                  </a:cubicBezTo>
                  <a:cubicBezTo>
                    <a:pt x="1554" y="1426"/>
                    <a:pt x="1556" y="1428"/>
                    <a:pt x="1558" y="1430"/>
                  </a:cubicBezTo>
                  <a:cubicBezTo>
                    <a:pt x="1559" y="1432"/>
                    <a:pt x="1561" y="1434"/>
                    <a:pt x="1561" y="1435"/>
                  </a:cubicBezTo>
                  <a:cubicBezTo>
                    <a:pt x="1562" y="1437"/>
                    <a:pt x="1562" y="1438"/>
                    <a:pt x="1562" y="1439"/>
                  </a:cubicBezTo>
                  <a:cubicBezTo>
                    <a:pt x="1561" y="1440"/>
                    <a:pt x="1561" y="1441"/>
                    <a:pt x="1560" y="1442"/>
                  </a:cubicBezTo>
                  <a:close/>
                  <a:moveTo>
                    <a:pt x="1467" y="1668"/>
                  </a:moveTo>
                  <a:cubicBezTo>
                    <a:pt x="1466" y="1669"/>
                    <a:pt x="1465" y="1670"/>
                    <a:pt x="1464" y="1670"/>
                  </a:cubicBezTo>
                  <a:cubicBezTo>
                    <a:pt x="1463" y="1670"/>
                    <a:pt x="1462" y="1670"/>
                    <a:pt x="1460" y="1669"/>
                  </a:cubicBezTo>
                  <a:cubicBezTo>
                    <a:pt x="1459" y="1669"/>
                    <a:pt x="1457" y="1668"/>
                    <a:pt x="1455" y="1666"/>
                  </a:cubicBezTo>
                  <a:cubicBezTo>
                    <a:pt x="1452" y="1664"/>
                    <a:pt x="1450" y="1662"/>
                    <a:pt x="1447" y="1659"/>
                  </a:cubicBezTo>
                  <a:cubicBezTo>
                    <a:pt x="1444" y="1656"/>
                    <a:pt x="1442" y="1654"/>
                    <a:pt x="1440" y="1652"/>
                  </a:cubicBezTo>
                  <a:cubicBezTo>
                    <a:pt x="1439" y="1650"/>
                    <a:pt x="1437" y="1648"/>
                    <a:pt x="1437" y="1646"/>
                  </a:cubicBezTo>
                  <a:cubicBezTo>
                    <a:pt x="1436" y="1645"/>
                    <a:pt x="1436" y="1643"/>
                    <a:pt x="1436" y="1642"/>
                  </a:cubicBezTo>
                  <a:cubicBezTo>
                    <a:pt x="1436" y="1641"/>
                    <a:pt x="1437" y="1640"/>
                    <a:pt x="1438" y="1639"/>
                  </a:cubicBezTo>
                  <a:lnTo>
                    <a:pt x="1597" y="1480"/>
                  </a:lnTo>
                  <a:cubicBezTo>
                    <a:pt x="1598" y="1479"/>
                    <a:pt x="1599" y="1479"/>
                    <a:pt x="1600" y="1478"/>
                  </a:cubicBezTo>
                  <a:cubicBezTo>
                    <a:pt x="1601" y="1478"/>
                    <a:pt x="1602" y="1478"/>
                    <a:pt x="1604" y="1479"/>
                  </a:cubicBezTo>
                  <a:cubicBezTo>
                    <a:pt x="1606" y="1480"/>
                    <a:pt x="1607" y="1481"/>
                    <a:pt x="1610" y="1482"/>
                  </a:cubicBezTo>
                  <a:cubicBezTo>
                    <a:pt x="1612" y="1484"/>
                    <a:pt x="1614" y="1486"/>
                    <a:pt x="1617" y="1489"/>
                  </a:cubicBezTo>
                  <a:cubicBezTo>
                    <a:pt x="1620" y="1492"/>
                    <a:pt x="1622" y="1495"/>
                    <a:pt x="1624" y="1497"/>
                  </a:cubicBezTo>
                  <a:cubicBezTo>
                    <a:pt x="1626" y="1499"/>
                    <a:pt x="1627" y="1501"/>
                    <a:pt x="1627" y="1502"/>
                  </a:cubicBezTo>
                  <a:cubicBezTo>
                    <a:pt x="1628" y="1504"/>
                    <a:pt x="1628" y="1505"/>
                    <a:pt x="1628" y="1506"/>
                  </a:cubicBezTo>
                  <a:cubicBezTo>
                    <a:pt x="1628" y="1507"/>
                    <a:pt x="1627" y="1508"/>
                    <a:pt x="1626" y="1509"/>
                  </a:cubicBezTo>
                  <a:lnTo>
                    <a:pt x="1467" y="1668"/>
                  </a:lnTo>
                  <a:close/>
                  <a:moveTo>
                    <a:pt x="1683" y="1459"/>
                  </a:moveTo>
                  <a:cubicBezTo>
                    <a:pt x="1676" y="1466"/>
                    <a:pt x="1671" y="1469"/>
                    <a:pt x="1665" y="1469"/>
                  </a:cubicBezTo>
                  <a:cubicBezTo>
                    <a:pt x="1660" y="1469"/>
                    <a:pt x="1654" y="1465"/>
                    <a:pt x="1647" y="1458"/>
                  </a:cubicBezTo>
                  <a:cubicBezTo>
                    <a:pt x="1641" y="1451"/>
                    <a:pt x="1637" y="1446"/>
                    <a:pt x="1637" y="1441"/>
                  </a:cubicBezTo>
                  <a:cubicBezTo>
                    <a:pt x="1637" y="1436"/>
                    <a:pt x="1640" y="1430"/>
                    <a:pt x="1647" y="1423"/>
                  </a:cubicBezTo>
                  <a:cubicBezTo>
                    <a:pt x="1654" y="1416"/>
                    <a:pt x="1660" y="1413"/>
                    <a:pt x="1665" y="1413"/>
                  </a:cubicBezTo>
                  <a:cubicBezTo>
                    <a:pt x="1670" y="1413"/>
                    <a:pt x="1676" y="1417"/>
                    <a:pt x="1683" y="1424"/>
                  </a:cubicBezTo>
                  <a:cubicBezTo>
                    <a:pt x="1690" y="1431"/>
                    <a:pt x="1693" y="1436"/>
                    <a:pt x="1693" y="1441"/>
                  </a:cubicBezTo>
                  <a:cubicBezTo>
                    <a:pt x="1693" y="1446"/>
                    <a:pt x="1690" y="1452"/>
                    <a:pt x="1683" y="1459"/>
                  </a:cubicBezTo>
                  <a:close/>
                  <a:moveTo>
                    <a:pt x="1656" y="1809"/>
                  </a:moveTo>
                  <a:cubicBezTo>
                    <a:pt x="1654" y="1811"/>
                    <a:pt x="1652" y="1812"/>
                    <a:pt x="1650" y="1814"/>
                  </a:cubicBezTo>
                  <a:cubicBezTo>
                    <a:pt x="1649" y="1815"/>
                    <a:pt x="1647" y="1816"/>
                    <a:pt x="1646" y="1817"/>
                  </a:cubicBezTo>
                  <a:cubicBezTo>
                    <a:pt x="1645" y="1817"/>
                    <a:pt x="1643" y="1818"/>
                    <a:pt x="1642" y="1818"/>
                  </a:cubicBezTo>
                  <a:cubicBezTo>
                    <a:pt x="1641" y="1819"/>
                    <a:pt x="1639" y="1819"/>
                    <a:pt x="1636" y="1819"/>
                  </a:cubicBezTo>
                  <a:cubicBezTo>
                    <a:pt x="1633" y="1819"/>
                    <a:pt x="1629" y="1818"/>
                    <a:pt x="1623" y="1817"/>
                  </a:cubicBezTo>
                  <a:cubicBezTo>
                    <a:pt x="1617" y="1815"/>
                    <a:pt x="1612" y="1813"/>
                    <a:pt x="1605" y="1811"/>
                  </a:cubicBezTo>
                  <a:cubicBezTo>
                    <a:pt x="1599" y="1808"/>
                    <a:pt x="1593" y="1805"/>
                    <a:pt x="1587" y="1800"/>
                  </a:cubicBezTo>
                  <a:cubicBezTo>
                    <a:pt x="1581" y="1796"/>
                    <a:pt x="1575" y="1791"/>
                    <a:pt x="1569" y="1786"/>
                  </a:cubicBezTo>
                  <a:cubicBezTo>
                    <a:pt x="1558" y="1774"/>
                    <a:pt x="1549" y="1762"/>
                    <a:pt x="1544" y="1750"/>
                  </a:cubicBezTo>
                  <a:cubicBezTo>
                    <a:pt x="1539" y="1737"/>
                    <a:pt x="1537" y="1724"/>
                    <a:pt x="1539" y="1711"/>
                  </a:cubicBezTo>
                  <a:cubicBezTo>
                    <a:pt x="1540" y="1698"/>
                    <a:pt x="1544" y="1684"/>
                    <a:pt x="1552" y="1671"/>
                  </a:cubicBezTo>
                  <a:cubicBezTo>
                    <a:pt x="1559" y="1657"/>
                    <a:pt x="1570" y="1643"/>
                    <a:pt x="1584" y="1630"/>
                  </a:cubicBezTo>
                  <a:cubicBezTo>
                    <a:pt x="1599" y="1614"/>
                    <a:pt x="1615" y="1602"/>
                    <a:pt x="1630" y="1595"/>
                  </a:cubicBezTo>
                  <a:cubicBezTo>
                    <a:pt x="1645" y="1588"/>
                    <a:pt x="1659" y="1584"/>
                    <a:pt x="1673" y="1583"/>
                  </a:cubicBezTo>
                  <a:cubicBezTo>
                    <a:pt x="1687" y="1582"/>
                    <a:pt x="1700" y="1585"/>
                    <a:pt x="1713" y="1591"/>
                  </a:cubicBezTo>
                  <a:cubicBezTo>
                    <a:pt x="1725" y="1596"/>
                    <a:pt x="1737" y="1604"/>
                    <a:pt x="1747" y="1615"/>
                  </a:cubicBezTo>
                  <a:cubicBezTo>
                    <a:pt x="1752" y="1620"/>
                    <a:pt x="1757" y="1625"/>
                    <a:pt x="1760" y="1631"/>
                  </a:cubicBezTo>
                  <a:cubicBezTo>
                    <a:pt x="1764" y="1636"/>
                    <a:pt x="1767" y="1642"/>
                    <a:pt x="1770" y="1648"/>
                  </a:cubicBezTo>
                  <a:cubicBezTo>
                    <a:pt x="1772" y="1653"/>
                    <a:pt x="1774" y="1659"/>
                    <a:pt x="1775" y="1664"/>
                  </a:cubicBezTo>
                  <a:cubicBezTo>
                    <a:pt x="1776" y="1669"/>
                    <a:pt x="1777" y="1673"/>
                    <a:pt x="1777" y="1676"/>
                  </a:cubicBezTo>
                  <a:cubicBezTo>
                    <a:pt x="1777" y="1678"/>
                    <a:pt x="1777" y="1680"/>
                    <a:pt x="1777" y="1682"/>
                  </a:cubicBezTo>
                  <a:cubicBezTo>
                    <a:pt x="1776" y="1683"/>
                    <a:pt x="1776" y="1685"/>
                    <a:pt x="1775" y="1686"/>
                  </a:cubicBezTo>
                  <a:cubicBezTo>
                    <a:pt x="1774" y="1688"/>
                    <a:pt x="1773" y="1689"/>
                    <a:pt x="1772" y="1691"/>
                  </a:cubicBezTo>
                  <a:cubicBezTo>
                    <a:pt x="1771" y="1692"/>
                    <a:pt x="1769" y="1694"/>
                    <a:pt x="1767" y="1696"/>
                  </a:cubicBezTo>
                  <a:cubicBezTo>
                    <a:pt x="1762" y="1701"/>
                    <a:pt x="1758" y="1703"/>
                    <a:pt x="1756" y="1704"/>
                  </a:cubicBezTo>
                  <a:cubicBezTo>
                    <a:pt x="1753" y="1705"/>
                    <a:pt x="1750" y="1705"/>
                    <a:pt x="1749" y="1703"/>
                  </a:cubicBezTo>
                  <a:cubicBezTo>
                    <a:pt x="1747" y="1701"/>
                    <a:pt x="1746" y="1698"/>
                    <a:pt x="1746" y="1694"/>
                  </a:cubicBezTo>
                  <a:cubicBezTo>
                    <a:pt x="1745" y="1690"/>
                    <a:pt x="1745" y="1685"/>
                    <a:pt x="1743" y="1679"/>
                  </a:cubicBezTo>
                  <a:cubicBezTo>
                    <a:pt x="1742" y="1673"/>
                    <a:pt x="1740" y="1666"/>
                    <a:pt x="1737" y="1659"/>
                  </a:cubicBezTo>
                  <a:cubicBezTo>
                    <a:pt x="1734" y="1653"/>
                    <a:pt x="1729" y="1646"/>
                    <a:pt x="1722" y="1639"/>
                  </a:cubicBezTo>
                  <a:cubicBezTo>
                    <a:pt x="1708" y="1625"/>
                    <a:pt x="1692" y="1619"/>
                    <a:pt x="1674" y="1623"/>
                  </a:cubicBezTo>
                  <a:cubicBezTo>
                    <a:pt x="1656" y="1626"/>
                    <a:pt x="1636" y="1638"/>
                    <a:pt x="1616" y="1658"/>
                  </a:cubicBezTo>
                  <a:cubicBezTo>
                    <a:pt x="1605" y="1669"/>
                    <a:pt x="1597" y="1679"/>
                    <a:pt x="1592" y="1688"/>
                  </a:cubicBezTo>
                  <a:cubicBezTo>
                    <a:pt x="1586" y="1698"/>
                    <a:pt x="1582" y="1707"/>
                    <a:pt x="1581" y="1716"/>
                  </a:cubicBezTo>
                  <a:cubicBezTo>
                    <a:pt x="1579" y="1725"/>
                    <a:pt x="1580" y="1734"/>
                    <a:pt x="1583" y="1742"/>
                  </a:cubicBezTo>
                  <a:cubicBezTo>
                    <a:pt x="1586" y="1750"/>
                    <a:pt x="1591" y="1757"/>
                    <a:pt x="1598" y="1764"/>
                  </a:cubicBezTo>
                  <a:cubicBezTo>
                    <a:pt x="1605" y="1771"/>
                    <a:pt x="1612" y="1776"/>
                    <a:pt x="1619" y="1779"/>
                  </a:cubicBezTo>
                  <a:cubicBezTo>
                    <a:pt x="1626" y="1782"/>
                    <a:pt x="1633" y="1784"/>
                    <a:pt x="1639" y="1785"/>
                  </a:cubicBezTo>
                  <a:cubicBezTo>
                    <a:pt x="1645" y="1786"/>
                    <a:pt x="1651" y="1787"/>
                    <a:pt x="1655" y="1787"/>
                  </a:cubicBezTo>
                  <a:cubicBezTo>
                    <a:pt x="1660" y="1788"/>
                    <a:pt x="1663" y="1789"/>
                    <a:pt x="1664" y="1790"/>
                  </a:cubicBezTo>
                  <a:cubicBezTo>
                    <a:pt x="1665" y="1791"/>
                    <a:pt x="1666" y="1792"/>
                    <a:pt x="1666" y="1793"/>
                  </a:cubicBezTo>
                  <a:cubicBezTo>
                    <a:pt x="1666" y="1794"/>
                    <a:pt x="1666" y="1795"/>
                    <a:pt x="1665" y="1797"/>
                  </a:cubicBezTo>
                  <a:cubicBezTo>
                    <a:pt x="1664" y="1799"/>
                    <a:pt x="1663" y="1800"/>
                    <a:pt x="1662" y="1802"/>
                  </a:cubicBezTo>
                  <a:cubicBezTo>
                    <a:pt x="1660" y="1804"/>
                    <a:pt x="1658" y="1806"/>
                    <a:pt x="1656" y="1809"/>
                  </a:cubicBezTo>
                  <a:close/>
                  <a:moveTo>
                    <a:pt x="1886" y="1915"/>
                  </a:moveTo>
                  <a:cubicBezTo>
                    <a:pt x="1882" y="1919"/>
                    <a:pt x="1877" y="1921"/>
                    <a:pt x="1873" y="1921"/>
                  </a:cubicBezTo>
                  <a:cubicBezTo>
                    <a:pt x="1869" y="1921"/>
                    <a:pt x="1865" y="1919"/>
                    <a:pt x="1862" y="1916"/>
                  </a:cubicBezTo>
                  <a:lnTo>
                    <a:pt x="1758" y="1811"/>
                  </a:lnTo>
                  <a:cubicBezTo>
                    <a:pt x="1749" y="1820"/>
                    <a:pt x="1742" y="1829"/>
                    <a:pt x="1736" y="1838"/>
                  </a:cubicBezTo>
                  <a:cubicBezTo>
                    <a:pt x="1731" y="1847"/>
                    <a:pt x="1728" y="1856"/>
                    <a:pt x="1727" y="1865"/>
                  </a:cubicBezTo>
                  <a:cubicBezTo>
                    <a:pt x="1726" y="1874"/>
                    <a:pt x="1728" y="1883"/>
                    <a:pt x="1732" y="1893"/>
                  </a:cubicBezTo>
                  <a:cubicBezTo>
                    <a:pt x="1735" y="1902"/>
                    <a:pt x="1742" y="1912"/>
                    <a:pt x="1752" y="1921"/>
                  </a:cubicBezTo>
                  <a:cubicBezTo>
                    <a:pt x="1759" y="1929"/>
                    <a:pt x="1767" y="1935"/>
                    <a:pt x="1774" y="1940"/>
                  </a:cubicBezTo>
                  <a:cubicBezTo>
                    <a:pt x="1781" y="1944"/>
                    <a:pt x="1788" y="1948"/>
                    <a:pt x="1793" y="1951"/>
                  </a:cubicBezTo>
                  <a:cubicBezTo>
                    <a:pt x="1799" y="1954"/>
                    <a:pt x="1804" y="1956"/>
                    <a:pt x="1808" y="1957"/>
                  </a:cubicBezTo>
                  <a:cubicBezTo>
                    <a:pt x="1812" y="1959"/>
                    <a:pt x="1815" y="1960"/>
                    <a:pt x="1816" y="1962"/>
                  </a:cubicBezTo>
                  <a:cubicBezTo>
                    <a:pt x="1817" y="1963"/>
                    <a:pt x="1818" y="1964"/>
                    <a:pt x="1818" y="1965"/>
                  </a:cubicBezTo>
                  <a:cubicBezTo>
                    <a:pt x="1818" y="1966"/>
                    <a:pt x="1818" y="1967"/>
                    <a:pt x="1818" y="1968"/>
                  </a:cubicBezTo>
                  <a:cubicBezTo>
                    <a:pt x="1817" y="1969"/>
                    <a:pt x="1816" y="1971"/>
                    <a:pt x="1815" y="1972"/>
                  </a:cubicBezTo>
                  <a:cubicBezTo>
                    <a:pt x="1814" y="1974"/>
                    <a:pt x="1812" y="1976"/>
                    <a:pt x="1810" y="1978"/>
                  </a:cubicBezTo>
                  <a:cubicBezTo>
                    <a:pt x="1808" y="1979"/>
                    <a:pt x="1807" y="1981"/>
                    <a:pt x="1806" y="1982"/>
                  </a:cubicBezTo>
                  <a:cubicBezTo>
                    <a:pt x="1805" y="1983"/>
                    <a:pt x="1803" y="1984"/>
                    <a:pt x="1802" y="1984"/>
                  </a:cubicBezTo>
                  <a:cubicBezTo>
                    <a:pt x="1801" y="1985"/>
                    <a:pt x="1800" y="1985"/>
                    <a:pt x="1799" y="1986"/>
                  </a:cubicBezTo>
                  <a:cubicBezTo>
                    <a:pt x="1798" y="1986"/>
                    <a:pt x="1797" y="1986"/>
                    <a:pt x="1795" y="1986"/>
                  </a:cubicBezTo>
                  <a:cubicBezTo>
                    <a:pt x="1794" y="1986"/>
                    <a:pt x="1791" y="1985"/>
                    <a:pt x="1786" y="1984"/>
                  </a:cubicBezTo>
                  <a:cubicBezTo>
                    <a:pt x="1782" y="1982"/>
                    <a:pt x="1776" y="1979"/>
                    <a:pt x="1770" y="1976"/>
                  </a:cubicBezTo>
                  <a:cubicBezTo>
                    <a:pt x="1763" y="1972"/>
                    <a:pt x="1756" y="1967"/>
                    <a:pt x="1748" y="1962"/>
                  </a:cubicBezTo>
                  <a:cubicBezTo>
                    <a:pt x="1741" y="1956"/>
                    <a:pt x="1733" y="1950"/>
                    <a:pt x="1725" y="1942"/>
                  </a:cubicBezTo>
                  <a:cubicBezTo>
                    <a:pt x="1712" y="1929"/>
                    <a:pt x="1703" y="1916"/>
                    <a:pt x="1697" y="1902"/>
                  </a:cubicBezTo>
                  <a:cubicBezTo>
                    <a:pt x="1690" y="1889"/>
                    <a:pt x="1687" y="1875"/>
                    <a:pt x="1688" y="1861"/>
                  </a:cubicBezTo>
                  <a:cubicBezTo>
                    <a:pt x="1688" y="1847"/>
                    <a:pt x="1692" y="1833"/>
                    <a:pt x="1700" y="1819"/>
                  </a:cubicBezTo>
                  <a:cubicBezTo>
                    <a:pt x="1707" y="1805"/>
                    <a:pt x="1718" y="1790"/>
                    <a:pt x="1732" y="1776"/>
                  </a:cubicBezTo>
                  <a:cubicBezTo>
                    <a:pt x="1746" y="1762"/>
                    <a:pt x="1760" y="1752"/>
                    <a:pt x="1775" y="1744"/>
                  </a:cubicBezTo>
                  <a:cubicBezTo>
                    <a:pt x="1789" y="1737"/>
                    <a:pt x="1803" y="1733"/>
                    <a:pt x="1818" y="1732"/>
                  </a:cubicBezTo>
                  <a:cubicBezTo>
                    <a:pt x="1832" y="1731"/>
                    <a:pt x="1846" y="1733"/>
                    <a:pt x="1859" y="1739"/>
                  </a:cubicBezTo>
                  <a:cubicBezTo>
                    <a:pt x="1873" y="1744"/>
                    <a:pt x="1885" y="1752"/>
                    <a:pt x="1897" y="1764"/>
                  </a:cubicBezTo>
                  <a:cubicBezTo>
                    <a:pt x="1910" y="1777"/>
                    <a:pt x="1918" y="1789"/>
                    <a:pt x="1923" y="1802"/>
                  </a:cubicBezTo>
                  <a:cubicBezTo>
                    <a:pt x="1928" y="1815"/>
                    <a:pt x="1930" y="1827"/>
                    <a:pt x="1928" y="1840"/>
                  </a:cubicBezTo>
                  <a:cubicBezTo>
                    <a:pt x="1927" y="1852"/>
                    <a:pt x="1924" y="1864"/>
                    <a:pt x="1917" y="1876"/>
                  </a:cubicBezTo>
                  <a:cubicBezTo>
                    <a:pt x="1911" y="1888"/>
                    <a:pt x="1902" y="1899"/>
                    <a:pt x="1892" y="1909"/>
                  </a:cubicBezTo>
                  <a:lnTo>
                    <a:pt x="1886" y="1915"/>
                  </a:lnTo>
                  <a:close/>
                  <a:moveTo>
                    <a:pt x="1866" y="1877"/>
                  </a:moveTo>
                  <a:cubicBezTo>
                    <a:pt x="1881" y="1862"/>
                    <a:pt x="1890" y="1846"/>
                    <a:pt x="1892" y="1830"/>
                  </a:cubicBezTo>
                  <a:cubicBezTo>
                    <a:pt x="1893" y="1815"/>
                    <a:pt x="1887" y="1800"/>
                    <a:pt x="1873" y="1785"/>
                  </a:cubicBezTo>
                  <a:cubicBezTo>
                    <a:pt x="1866" y="1778"/>
                    <a:pt x="1858" y="1773"/>
                    <a:pt x="1850" y="1770"/>
                  </a:cubicBezTo>
                  <a:cubicBezTo>
                    <a:pt x="1841" y="1768"/>
                    <a:pt x="1833" y="1767"/>
                    <a:pt x="1825" y="1768"/>
                  </a:cubicBezTo>
                  <a:cubicBezTo>
                    <a:pt x="1817" y="1768"/>
                    <a:pt x="1809" y="1771"/>
                    <a:pt x="1801" y="1775"/>
                  </a:cubicBezTo>
                  <a:cubicBezTo>
                    <a:pt x="1793" y="1779"/>
                    <a:pt x="1786" y="1784"/>
                    <a:pt x="1779" y="1790"/>
                  </a:cubicBezTo>
                  <a:lnTo>
                    <a:pt x="1866" y="1877"/>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82" name="Freeform 129"/>
            <p:cNvSpPr>
              <a:spLocks noEditPoints="1"/>
            </p:cNvSpPr>
            <p:nvPr/>
          </p:nvSpPr>
          <p:spPr bwMode="auto">
            <a:xfrm>
              <a:off x="2342" y="2006"/>
              <a:ext cx="109" cy="118"/>
            </a:xfrm>
            <a:custGeom>
              <a:avLst/>
              <a:gdLst>
                <a:gd name="T0" fmla="*/ 182 w 1036"/>
                <a:gd name="T1" fmla="*/ 223 h 1117"/>
                <a:gd name="T2" fmla="*/ 29 w 1036"/>
                <a:gd name="T3" fmla="*/ 250 h 1117"/>
                <a:gd name="T4" fmla="*/ 4 w 1036"/>
                <a:gd name="T5" fmla="*/ 231 h 1117"/>
                <a:gd name="T6" fmla="*/ 213 w 1036"/>
                <a:gd name="T7" fmla="*/ 7 h 1117"/>
                <a:gd name="T8" fmla="*/ 300 w 1036"/>
                <a:gd name="T9" fmla="*/ 69 h 1117"/>
                <a:gd name="T10" fmla="*/ 319 w 1036"/>
                <a:gd name="T11" fmla="*/ 174 h 1117"/>
                <a:gd name="T12" fmla="*/ 284 w 1036"/>
                <a:gd name="T13" fmla="*/ 116 h 1117"/>
                <a:gd name="T14" fmla="*/ 139 w 1036"/>
                <a:gd name="T15" fmla="*/ 141 h 1117"/>
                <a:gd name="T16" fmla="*/ 243 w 1036"/>
                <a:gd name="T17" fmla="*/ 187 h 1117"/>
                <a:gd name="T18" fmla="*/ 213 w 1036"/>
                <a:gd name="T19" fmla="*/ 437 h 1117"/>
                <a:gd name="T20" fmla="*/ 189 w 1036"/>
                <a:gd name="T21" fmla="*/ 414 h 1117"/>
                <a:gd name="T22" fmla="*/ 353 w 1036"/>
                <a:gd name="T23" fmla="*/ 246 h 1117"/>
                <a:gd name="T24" fmla="*/ 376 w 1036"/>
                <a:gd name="T25" fmla="*/ 264 h 1117"/>
                <a:gd name="T26" fmla="*/ 220 w 1036"/>
                <a:gd name="T27" fmla="*/ 436 h 1117"/>
                <a:gd name="T28" fmla="*/ 390 w 1036"/>
                <a:gd name="T29" fmla="*/ 208 h 1117"/>
                <a:gd name="T30" fmla="*/ 446 w 1036"/>
                <a:gd name="T31" fmla="*/ 209 h 1117"/>
                <a:gd name="T32" fmla="*/ 292 w 1036"/>
                <a:gd name="T33" fmla="*/ 516 h 1117"/>
                <a:gd name="T34" fmla="*/ 269 w 1036"/>
                <a:gd name="T35" fmla="*/ 493 h 1117"/>
                <a:gd name="T36" fmla="*/ 509 w 1036"/>
                <a:gd name="T37" fmla="*/ 248 h 1117"/>
                <a:gd name="T38" fmla="*/ 533 w 1036"/>
                <a:gd name="T39" fmla="*/ 266 h 1117"/>
                <a:gd name="T40" fmla="*/ 299 w 1036"/>
                <a:gd name="T41" fmla="*/ 515 h 1117"/>
                <a:gd name="T42" fmla="*/ 451 w 1036"/>
                <a:gd name="T43" fmla="*/ 678 h 1117"/>
                <a:gd name="T44" fmla="*/ 459 w 1036"/>
                <a:gd name="T45" fmla="*/ 644 h 1117"/>
                <a:gd name="T46" fmla="*/ 358 w 1036"/>
                <a:gd name="T47" fmla="*/ 565 h 1117"/>
                <a:gd name="T48" fmla="*/ 440 w 1036"/>
                <a:gd name="T49" fmla="*/ 495 h 1117"/>
                <a:gd name="T50" fmla="*/ 546 w 1036"/>
                <a:gd name="T51" fmla="*/ 550 h 1117"/>
                <a:gd name="T52" fmla="*/ 547 w 1036"/>
                <a:gd name="T53" fmla="*/ 476 h 1117"/>
                <a:gd name="T54" fmla="*/ 479 w 1036"/>
                <a:gd name="T55" fmla="*/ 441 h 1117"/>
                <a:gd name="T56" fmla="*/ 484 w 1036"/>
                <a:gd name="T57" fmla="*/ 424 h 1117"/>
                <a:gd name="T58" fmla="*/ 532 w 1036"/>
                <a:gd name="T59" fmla="*/ 426 h 1117"/>
                <a:gd name="T60" fmla="*/ 606 w 1036"/>
                <a:gd name="T61" fmla="*/ 519 h 1117"/>
                <a:gd name="T62" fmla="*/ 512 w 1036"/>
                <a:gd name="T63" fmla="*/ 584 h 1117"/>
                <a:gd name="T64" fmla="*/ 426 w 1036"/>
                <a:gd name="T65" fmla="*/ 532 h 1117"/>
                <a:gd name="T66" fmla="*/ 440 w 1036"/>
                <a:gd name="T67" fmla="*/ 615 h 1117"/>
                <a:gd name="T68" fmla="*/ 909 w 1036"/>
                <a:gd name="T69" fmla="*/ 812 h 1117"/>
                <a:gd name="T70" fmla="*/ 695 w 1036"/>
                <a:gd name="T71" fmla="*/ 920 h 1117"/>
                <a:gd name="T72" fmla="*/ 666 w 1036"/>
                <a:gd name="T73" fmla="*/ 890 h 1117"/>
                <a:gd name="T74" fmla="*/ 749 w 1036"/>
                <a:gd name="T75" fmla="*/ 729 h 1117"/>
                <a:gd name="T76" fmla="*/ 590 w 1036"/>
                <a:gd name="T77" fmla="*/ 815 h 1117"/>
                <a:gd name="T78" fmla="*/ 561 w 1036"/>
                <a:gd name="T79" fmla="*/ 785 h 1117"/>
                <a:gd name="T80" fmla="*/ 669 w 1036"/>
                <a:gd name="T81" fmla="*/ 572 h 1117"/>
                <a:gd name="T82" fmla="*/ 684 w 1036"/>
                <a:gd name="T83" fmla="*/ 572 h 1117"/>
                <a:gd name="T84" fmla="*/ 703 w 1036"/>
                <a:gd name="T85" fmla="*/ 596 h 1117"/>
                <a:gd name="T86" fmla="*/ 610 w 1036"/>
                <a:gd name="T87" fmla="*/ 770 h 1117"/>
                <a:gd name="T88" fmla="*/ 789 w 1036"/>
                <a:gd name="T89" fmla="*/ 677 h 1117"/>
                <a:gd name="T90" fmla="*/ 807 w 1036"/>
                <a:gd name="T91" fmla="*/ 700 h 1117"/>
                <a:gd name="T92" fmla="*/ 713 w 1036"/>
                <a:gd name="T93" fmla="*/ 874 h 1117"/>
                <a:gd name="T94" fmla="*/ 896 w 1036"/>
                <a:gd name="T95" fmla="*/ 783 h 1117"/>
                <a:gd name="T96" fmla="*/ 914 w 1036"/>
                <a:gd name="T97" fmla="*/ 806 h 1117"/>
                <a:gd name="T98" fmla="*/ 888 w 1036"/>
                <a:gd name="T99" fmla="*/ 1115 h 1117"/>
                <a:gd name="T100" fmla="*/ 873 w 1036"/>
                <a:gd name="T101" fmla="*/ 1090 h 1117"/>
                <a:gd name="T102" fmla="*/ 796 w 1036"/>
                <a:gd name="T103" fmla="*/ 1021 h 1117"/>
                <a:gd name="T104" fmla="*/ 837 w 1036"/>
                <a:gd name="T105" fmla="*/ 926 h 1117"/>
                <a:gd name="T106" fmla="*/ 963 w 1036"/>
                <a:gd name="T107" fmla="*/ 992 h 1117"/>
                <a:gd name="T108" fmla="*/ 991 w 1036"/>
                <a:gd name="T109" fmla="*/ 926 h 1117"/>
                <a:gd name="T110" fmla="*/ 918 w 1036"/>
                <a:gd name="T111" fmla="*/ 875 h 1117"/>
                <a:gd name="T112" fmla="*/ 910 w 1036"/>
                <a:gd name="T113" fmla="*/ 859 h 1117"/>
                <a:gd name="T114" fmla="*/ 943 w 1036"/>
                <a:gd name="T115" fmla="*/ 848 h 1117"/>
                <a:gd name="T116" fmla="*/ 1028 w 1036"/>
                <a:gd name="T117" fmla="*/ 918 h 1117"/>
                <a:gd name="T118" fmla="*/ 898 w 1036"/>
                <a:gd name="T119" fmla="*/ 1115 h 1117"/>
                <a:gd name="T120" fmla="*/ 874 w 1036"/>
                <a:gd name="T121" fmla="*/ 961 h 1117"/>
                <a:gd name="T122" fmla="*/ 843 w 1036"/>
                <a:gd name="T123" fmla="*/ 1029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6" h="1117">
                  <a:moveTo>
                    <a:pt x="299" y="201"/>
                  </a:moveTo>
                  <a:cubicBezTo>
                    <a:pt x="288" y="212"/>
                    <a:pt x="276" y="221"/>
                    <a:pt x="263" y="226"/>
                  </a:cubicBezTo>
                  <a:cubicBezTo>
                    <a:pt x="250" y="232"/>
                    <a:pt x="237" y="234"/>
                    <a:pt x="223" y="234"/>
                  </a:cubicBezTo>
                  <a:cubicBezTo>
                    <a:pt x="210" y="233"/>
                    <a:pt x="196" y="229"/>
                    <a:pt x="182" y="223"/>
                  </a:cubicBezTo>
                  <a:cubicBezTo>
                    <a:pt x="169" y="216"/>
                    <a:pt x="155" y="206"/>
                    <a:pt x="140" y="192"/>
                  </a:cubicBezTo>
                  <a:lnTo>
                    <a:pt x="114" y="166"/>
                  </a:lnTo>
                  <a:lnTo>
                    <a:pt x="32" y="248"/>
                  </a:lnTo>
                  <a:cubicBezTo>
                    <a:pt x="31" y="249"/>
                    <a:pt x="30" y="250"/>
                    <a:pt x="29" y="250"/>
                  </a:cubicBezTo>
                  <a:cubicBezTo>
                    <a:pt x="28" y="250"/>
                    <a:pt x="26" y="250"/>
                    <a:pt x="25" y="249"/>
                  </a:cubicBezTo>
                  <a:cubicBezTo>
                    <a:pt x="23" y="248"/>
                    <a:pt x="21" y="247"/>
                    <a:pt x="19" y="245"/>
                  </a:cubicBezTo>
                  <a:cubicBezTo>
                    <a:pt x="17" y="244"/>
                    <a:pt x="14" y="241"/>
                    <a:pt x="11" y="238"/>
                  </a:cubicBezTo>
                  <a:cubicBezTo>
                    <a:pt x="8" y="236"/>
                    <a:pt x="6" y="233"/>
                    <a:pt x="4" y="231"/>
                  </a:cubicBezTo>
                  <a:cubicBezTo>
                    <a:pt x="3" y="228"/>
                    <a:pt x="1" y="227"/>
                    <a:pt x="1" y="225"/>
                  </a:cubicBezTo>
                  <a:cubicBezTo>
                    <a:pt x="0" y="223"/>
                    <a:pt x="0" y="222"/>
                    <a:pt x="0" y="221"/>
                  </a:cubicBezTo>
                  <a:cubicBezTo>
                    <a:pt x="0" y="220"/>
                    <a:pt x="1" y="219"/>
                    <a:pt x="2" y="218"/>
                  </a:cubicBezTo>
                  <a:lnTo>
                    <a:pt x="213" y="7"/>
                  </a:lnTo>
                  <a:cubicBezTo>
                    <a:pt x="217" y="2"/>
                    <a:pt x="222" y="0"/>
                    <a:pt x="227" y="0"/>
                  </a:cubicBezTo>
                  <a:cubicBezTo>
                    <a:pt x="231" y="1"/>
                    <a:pt x="235" y="2"/>
                    <a:pt x="238" y="5"/>
                  </a:cubicBezTo>
                  <a:lnTo>
                    <a:pt x="287" y="54"/>
                  </a:lnTo>
                  <a:cubicBezTo>
                    <a:pt x="292" y="59"/>
                    <a:pt x="296" y="64"/>
                    <a:pt x="300" y="69"/>
                  </a:cubicBezTo>
                  <a:cubicBezTo>
                    <a:pt x="305" y="74"/>
                    <a:pt x="309" y="80"/>
                    <a:pt x="314" y="88"/>
                  </a:cubicBezTo>
                  <a:cubicBezTo>
                    <a:pt x="319" y="96"/>
                    <a:pt x="322" y="104"/>
                    <a:pt x="325" y="115"/>
                  </a:cubicBezTo>
                  <a:cubicBezTo>
                    <a:pt x="328" y="125"/>
                    <a:pt x="329" y="135"/>
                    <a:pt x="328" y="145"/>
                  </a:cubicBezTo>
                  <a:cubicBezTo>
                    <a:pt x="327" y="154"/>
                    <a:pt x="324" y="164"/>
                    <a:pt x="319" y="174"/>
                  </a:cubicBezTo>
                  <a:cubicBezTo>
                    <a:pt x="315" y="183"/>
                    <a:pt x="308" y="192"/>
                    <a:pt x="299" y="201"/>
                  </a:cubicBezTo>
                  <a:close/>
                  <a:moveTo>
                    <a:pt x="265" y="171"/>
                  </a:moveTo>
                  <a:cubicBezTo>
                    <a:pt x="274" y="162"/>
                    <a:pt x="280" y="153"/>
                    <a:pt x="283" y="143"/>
                  </a:cubicBezTo>
                  <a:cubicBezTo>
                    <a:pt x="286" y="133"/>
                    <a:pt x="286" y="124"/>
                    <a:pt x="284" y="116"/>
                  </a:cubicBezTo>
                  <a:cubicBezTo>
                    <a:pt x="282" y="108"/>
                    <a:pt x="279" y="101"/>
                    <a:pt x="274" y="94"/>
                  </a:cubicBezTo>
                  <a:cubicBezTo>
                    <a:pt x="269" y="88"/>
                    <a:pt x="264" y="82"/>
                    <a:pt x="259" y="77"/>
                  </a:cubicBezTo>
                  <a:lnTo>
                    <a:pt x="231" y="49"/>
                  </a:lnTo>
                  <a:lnTo>
                    <a:pt x="139" y="141"/>
                  </a:lnTo>
                  <a:lnTo>
                    <a:pt x="167" y="168"/>
                  </a:lnTo>
                  <a:cubicBezTo>
                    <a:pt x="176" y="177"/>
                    <a:pt x="185" y="184"/>
                    <a:pt x="193" y="187"/>
                  </a:cubicBezTo>
                  <a:cubicBezTo>
                    <a:pt x="202" y="191"/>
                    <a:pt x="210" y="193"/>
                    <a:pt x="218" y="193"/>
                  </a:cubicBezTo>
                  <a:cubicBezTo>
                    <a:pt x="227" y="193"/>
                    <a:pt x="235" y="191"/>
                    <a:pt x="243" y="187"/>
                  </a:cubicBezTo>
                  <a:cubicBezTo>
                    <a:pt x="251" y="184"/>
                    <a:pt x="258" y="178"/>
                    <a:pt x="265" y="171"/>
                  </a:cubicBezTo>
                  <a:close/>
                  <a:moveTo>
                    <a:pt x="220" y="436"/>
                  </a:moveTo>
                  <a:cubicBezTo>
                    <a:pt x="219" y="437"/>
                    <a:pt x="218" y="437"/>
                    <a:pt x="217" y="438"/>
                  </a:cubicBezTo>
                  <a:cubicBezTo>
                    <a:pt x="215" y="438"/>
                    <a:pt x="214" y="438"/>
                    <a:pt x="213" y="437"/>
                  </a:cubicBezTo>
                  <a:cubicBezTo>
                    <a:pt x="211" y="436"/>
                    <a:pt x="209" y="435"/>
                    <a:pt x="207" y="434"/>
                  </a:cubicBezTo>
                  <a:cubicBezTo>
                    <a:pt x="205" y="432"/>
                    <a:pt x="202" y="430"/>
                    <a:pt x="200" y="427"/>
                  </a:cubicBezTo>
                  <a:cubicBezTo>
                    <a:pt x="197" y="424"/>
                    <a:pt x="194" y="421"/>
                    <a:pt x="193" y="419"/>
                  </a:cubicBezTo>
                  <a:cubicBezTo>
                    <a:pt x="191" y="417"/>
                    <a:pt x="190" y="415"/>
                    <a:pt x="189" y="414"/>
                  </a:cubicBezTo>
                  <a:cubicBezTo>
                    <a:pt x="189" y="412"/>
                    <a:pt x="188" y="411"/>
                    <a:pt x="189" y="410"/>
                  </a:cubicBezTo>
                  <a:cubicBezTo>
                    <a:pt x="189" y="409"/>
                    <a:pt x="190" y="408"/>
                    <a:pt x="190" y="407"/>
                  </a:cubicBezTo>
                  <a:lnTo>
                    <a:pt x="350" y="248"/>
                  </a:lnTo>
                  <a:cubicBezTo>
                    <a:pt x="350" y="247"/>
                    <a:pt x="351" y="246"/>
                    <a:pt x="353" y="246"/>
                  </a:cubicBezTo>
                  <a:cubicBezTo>
                    <a:pt x="354" y="246"/>
                    <a:pt x="355" y="246"/>
                    <a:pt x="357" y="247"/>
                  </a:cubicBezTo>
                  <a:cubicBezTo>
                    <a:pt x="358" y="247"/>
                    <a:pt x="360" y="248"/>
                    <a:pt x="362" y="250"/>
                  </a:cubicBezTo>
                  <a:cubicBezTo>
                    <a:pt x="364" y="252"/>
                    <a:pt x="367" y="254"/>
                    <a:pt x="370" y="257"/>
                  </a:cubicBezTo>
                  <a:cubicBezTo>
                    <a:pt x="373" y="260"/>
                    <a:pt x="375" y="262"/>
                    <a:pt x="376" y="264"/>
                  </a:cubicBezTo>
                  <a:cubicBezTo>
                    <a:pt x="378" y="266"/>
                    <a:pt x="379" y="268"/>
                    <a:pt x="380" y="270"/>
                  </a:cubicBezTo>
                  <a:cubicBezTo>
                    <a:pt x="380" y="271"/>
                    <a:pt x="381" y="273"/>
                    <a:pt x="380" y="274"/>
                  </a:cubicBezTo>
                  <a:cubicBezTo>
                    <a:pt x="380" y="275"/>
                    <a:pt x="380" y="276"/>
                    <a:pt x="379" y="277"/>
                  </a:cubicBezTo>
                  <a:lnTo>
                    <a:pt x="220" y="436"/>
                  </a:lnTo>
                  <a:close/>
                  <a:moveTo>
                    <a:pt x="436" y="226"/>
                  </a:moveTo>
                  <a:cubicBezTo>
                    <a:pt x="429" y="233"/>
                    <a:pt x="423" y="237"/>
                    <a:pt x="418" y="237"/>
                  </a:cubicBezTo>
                  <a:cubicBezTo>
                    <a:pt x="413" y="236"/>
                    <a:pt x="407" y="233"/>
                    <a:pt x="400" y="226"/>
                  </a:cubicBezTo>
                  <a:cubicBezTo>
                    <a:pt x="393" y="219"/>
                    <a:pt x="390" y="213"/>
                    <a:pt x="390" y="208"/>
                  </a:cubicBezTo>
                  <a:cubicBezTo>
                    <a:pt x="389" y="203"/>
                    <a:pt x="393" y="197"/>
                    <a:pt x="399" y="191"/>
                  </a:cubicBezTo>
                  <a:cubicBezTo>
                    <a:pt x="406" y="184"/>
                    <a:pt x="412" y="181"/>
                    <a:pt x="417" y="181"/>
                  </a:cubicBezTo>
                  <a:cubicBezTo>
                    <a:pt x="422" y="181"/>
                    <a:pt x="428" y="184"/>
                    <a:pt x="435" y="191"/>
                  </a:cubicBezTo>
                  <a:cubicBezTo>
                    <a:pt x="442" y="198"/>
                    <a:pt x="446" y="204"/>
                    <a:pt x="446" y="209"/>
                  </a:cubicBezTo>
                  <a:cubicBezTo>
                    <a:pt x="446" y="214"/>
                    <a:pt x="443" y="220"/>
                    <a:pt x="436" y="226"/>
                  </a:cubicBezTo>
                  <a:close/>
                  <a:moveTo>
                    <a:pt x="299" y="515"/>
                  </a:moveTo>
                  <a:cubicBezTo>
                    <a:pt x="298" y="516"/>
                    <a:pt x="297" y="517"/>
                    <a:pt x="296" y="517"/>
                  </a:cubicBezTo>
                  <a:cubicBezTo>
                    <a:pt x="295" y="517"/>
                    <a:pt x="293" y="517"/>
                    <a:pt x="292" y="516"/>
                  </a:cubicBezTo>
                  <a:cubicBezTo>
                    <a:pt x="290" y="516"/>
                    <a:pt x="288" y="514"/>
                    <a:pt x="286" y="513"/>
                  </a:cubicBezTo>
                  <a:cubicBezTo>
                    <a:pt x="284" y="511"/>
                    <a:pt x="282" y="509"/>
                    <a:pt x="279" y="506"/>
                  </a:cubicBezTo>
                  <a:cubicBezTo>
                    <a:pt x="276" y="503"/>
                    <a:pt x="274" y="501"/>
                    <a:pt x="272" y="499"/>
                  </a:cubicBezTo>
                  <a:cubicBezTo>
                    <a:pt x="270" y="496"/>
                    <a:pt x="269" y="495"/>
                    <a:pt x="269" y="493"/>
                  </a:cubicBezTo>
                  <a:cubicBezTo>
                    <a:pt x="268" y="491"/>
                    <a:pt x="268" y="490"/>
                    <a:pt x="268" y="489"/>
                  </a:cubicBezTo>
                  <a:cubicBezTo>
                    <a:pt x="268" y="488"/>
                    <a:pt x="269" y="487"/>
                    <a:pt x="270" y="486"/>
                  </a:cubicBezTo>
                  <a:lnTo>
                    <a:pt x="506" y="250"/>
                  </a:lnTo>
                  <a:cubicBezTo>
                    <a:pt x="507" y="249"/>
                    <a:pt x="508" y="248"/>
                    <a:pt x="509" y="248"/>
                  </a:cubicBezTo>
                  <a:cubicBezTo>
                    <a:pt x="510" y="248"/>
                    <a:pt x="511" y="248"/>
                    <a:pt x="513" y="248"/>
                  </a:cubicBezTo>
                  <a:cubicBezTo>
                    <a:pt x="515" y="249"/>
                    <a:pt x="516" y="250"/>
                    <a:pt x="519" y="252"/>
                  </a:cubicBezTo>
                  <a:cubicBezTo>
                    <a:pt x="521" y="254"/>
                    <a:pt x="523" y="256"/>
                    <a:pt x="526" y="259"/>
                  </a:cubicBezTo>
                  <a:cubicBezTo>
                    <a:pt x="529" y="262"/>
                    <a:pt x="531" y="264"/>
                    <a:pt x="533" y="266"/>
                  </a:cubicBezTo>
                  <a:cubicBezTo>
                    <a:pt x="535" y="268"/>
                    <a:pt x="536" y="270"/>
                    <a:pt x="536" y="272"/>
                  </a:cubicBezTo>
                  <a:cubicBezTo>
                    <a:pt x="537" y="273"/>
                    <a:pt x="537" y="275"/>
                    <a:pt x="537" y="276"/>
                  </a:cubicBezTo>
                  <a:cubicBezTo>
                    <a:pt x="537" y="277"/>
                    <a:pt x="536" y="278"/>
                    <a:pt x="535" y="279"/>
                  </a:cubicBezTo>
                  <a:lnTo>
                    <a:pt x="299" y="515"/>
                  </a:lnTo>
                  <a:close/>
                  <a:moveTo>
                    <a:pt x="469" y="685"/>
                  </a:moveTo>
                  <a:cubicBezTo>
                    <a:pt x="467" y="687"/>
                    <a:pt x="466" y="687"/>
                    <a:pt x="464" y="687"/>
                  </a:cubicBezTo>
                  <a:cubicBezTo>
                    <a:pt x="462" y="687"/>
                    <a:pt x="460" y="686"/>
                    <a:pt x="458" y="685"/>
                  </a:cubicBezTo>
                  <a:cubicBezTo>
                    <a:pt x="456" y="683"/>
                    <a:pt x="454" y="681"/>
                    <a:pt x="451" y="678"/>
                  </a:cubicBezTo>
                  <a:cubicBezTo>
                    <a:pt x="448" y="675"/>
                    <a:pt x="445" y="672"/>
                    <a:pt x="444" y="670"/>
                  </a:cubicBezTo>
                  <a:cubicBezTo>
                    <a:pt x="442" y="668"/>
                    <a:pt x="442" y="666"/>
                    <a:pt x="442" y="664"/>
                  </a:cubicBezTo>
                  <a:cubicBezTo>
                    <a:pt x="441" y="663"/>
                    <a:pt x="442" y="661"/>
                    <a:pt x="443" y="660"/>
                  </a:cubicBezTo>
                  <a:lnTo>
                    <a:pt x="459" y="644"/>
                  </a:lnTo>
                  <a:cubicBezTo>
                    <a:pt x="445" y="645"/>
                    <a:pt x="431" y="643"/>
                    <a:pt x="419" y="638"/>
                  </a:cubicBezTo>
                  <a:cubicBezTo>
                    <a:pt x="406" y="634"/>
                    <a:pt x="395" y="627"/>
                    <a:pt x="385" y="617"/>
                  </a:cubicBezTo>
                  <a:cubicBezTo>
                    <a:pt x="377" y="609"/>
                    <a:pt x="371" y="600"/>
                    <a:pt x="366" y="591"/>
                  </a:cubicBezTo>
                  <a:cubicBezTo>
                    <a:pt x="361" y="582"/>
                    <a:pt x="359" y="573"/>
                    <a:pt x="358" y="565"/>
                  </a:cubicBezTo>
                  <a:cubicBezTo>
                    <a:pt x="358" y="556"/>
                    <a:pt x="359" y="547"/>
                    <a:pt x="362" y="538"/>
                  </a:cubicBezTo>
                  <a:cubicBezTo>
                    <a:pt x="366" y="530"/>
                    <a:pt x="371" y="521"/>
                    <a:pt x="379" y="514"/>
                  </a:cubicBezTo>
                  <a:cubicBezTo>
                    <a:pt x="388" y="505"/>
                    <a:pt x="397" y="499"/>
                    <a:pt x="408" y="496"/>
                  </a:cubicBezTo>
                  <a:cubicBezTo>
                    <a:pt x="418" y="493"/>
                    <a:pt x="429" y="493"/>
                    <a:pt x="440" y="495"/>
                  </a:cubicBezTo>
                  <a:cubicBezTo>
                    <a:pt x="451" y="498"/>
                    <a:pt x="463" y="503"/>
                    <a:pt x="475" y="510"/>
                  </a:cubicBezTo>
                  <a:cubicBezTo>
                    <a:pt x="487" y="518"/>
                    <a:pt x="499" y="528"/>
                    <a:pt x="511" y="541"/>
                  </a:cubicBezTo>
                  <a:lnTo>
                    <a:pt x="533" y="562"/>
                  </a:lnTo>
                  <a:lnTo>
                    <a:pt x="546" y="550"/>
                  </a:lnTo>
                  <a:cubicBezTo>
                    <a:pt x="552" y="544"/>
                    <a:pt x="557" y="538"/>
                    <a:pt x="560" y="532"/>
                  </a:cubicBezTo>
                  <a:cubicBezTo>
                    <a:pt x="563" y="526"/>
                    <a:pt x="565" y="520"/>
                    <a:pt x="565" y="514"/>
                  </a:cubicBezTo>
                  <a:cubicBezTo>
                    <a:pt x="566" y="508"/>
                    <a:pt x="564" y="502"/>
                    <a:pt x="561" y="496"/>
                  </a:cubicBezTo>
                  <a:cubicBezTo>
                    <a:pt x="558" y="489"/>
                    <a:pt x="553" y="483"/>
                    <a:pt x="547" y="476"/>
                  </a:cubicBezTo>
                  <a:cubicBezTo>
                    <a:pt x="540" y="469"/>
                    <a:pt x="532" y="463"/>
                    <a:pt x="525" y="459"/>
                  </a:cubicBezTo>
                  <a:cubicBezTo>
                    <a:pt x="517" y="455"/>
                    <a:pt x="510" y="452"/>
                    <a:pt x="504" y="450"/>
                  </a:cubicBezTo>
                  <a:cubicBezTo>
                    <a:pt x="498" y="448"/>
                    <a:pt x="492" y="446"/>
                    <a:pt x="488" y="445"/>
                  </a:cubicBezTo>
                  <a:cubicBezTo>
                    <a:pt x="483" y="444"/>
                    <a:pt x="480" y="442"/>
                    <a:pt x="479" y="441"/>
                  </a:cubicBezTo>
                  <a:cubicBezTo>
                    <a:pt x="478" y="440"/>
                    <a:pt x="477" y="439"/>
                    <a:pt x="477" y="438"/>
                  </a:cubicBezTo>
                  <a:cubicBezTo>
                    <a:pt x="477" y="437"/>
                    <a:pt x="477" y="435"/>
                    <a:pt x="477" y="434"/>
                  </a:cubicBezTo>
                  <a:cubicBezTo>
                    <a:pt x="478" y="432"/>
                    <a:pt x="478" y="431"/>
                    <a:pt x="480" y="429"/>
                  </a:cubicBezTo>
                  <a:cubicBezTo>
                    <a:pt x="481" y="427"/>
                    <a:pt x="482" y="426"/>
                    <a:pt x="484" y="424"/>
                  </a:cubicBezTo>
                  <a:cubicBezTo>
                    <a:pt x="487" y="421"/>
                    <a:pt x="490" y="419"/>
                    <a:pt x="492" y="418"/>
                  </a:cubicBezTo>
                  <a:cubicBezTo>
                    <a:pt x="494" y="416"/>
                    <a:pt x="496" y="416"/>
                    <a:pt x="500" y="416"/>
                  </a:cubicBezTo>
                  <a:cubicBezTo>
                    <a:pt x="503" y="416"/>
                    <a:pt x="507" y="417"/>
                    <a:pt x="513" y="419"/>
                  </a:cubicBezTo>
                  <a:cubicBezTo>
                    <a:pt x="519" y="420"/>
                    <a:pt x="526" y="423"/>
                    <a:pt x="532" y="426"/>
                  </a:cubicBezTo>
                  <a:cubicBezTo>
                    <a:pt x="539" y="430"/>
                    <a:pt x="546" y="434"/>
                    <a:pt x="553" y="439"/>
                  </a:cubicBezTo>
                  <a:cubicBezTo>
                    <a:pt x="560" y="444"/>
                    <a:pt x="567" y="449"/>
                    <a:pt x="573" y="455"/>
                  </a:cubicBezTo>
                  <a:cubicBezTo>
                    <a:pt x="584" y="467"/>
                    <a:pt x="593" y="478"/>
                    <a:pt x="598" y="488"/>
                  </a:cubicBezTo>
                  <a:cubicBezTo>
                    <a:pt x="604" y="499"/>
                    <a:pt x="606" y="509"/>
                    <a:pt x="606" y="519"/>
                  </a:cubicBezTo>
                  <a:cubicBezTo>
                    <a:pt x="606" y="529"/>
                    <a:pt x="604" y="539"/>
                    <a:pt x="598" y="549"/>
                  </a:cubicBezTo>
                  <a:cubicBezTo>
                    <a:pt x="593" y="558"/>
                    <a:pt x="586" y="568"/>
                    <a:pt x="576" y="578"/>
                  </a:cubicBezTo>
                  <a:lnTo>
                    <a:pt x="469" y="685"/>
                  </a:lnTo>
                  <a:close/>
                  <a:moveTo>
                    <a:pt x="512" y="584"/>
                  </a:moveTo>
                  <a:lnTo>
                    <a:pt x="487" y="559"/>
                  </a:lnTo>
                  <a:cubicBezTo>
                    <a:pt x="479" y="551"/>
                    <a:pt x="472" y="544"/>
                    <a:pt x="464" y="540"/>
                  </a:cubicBezTo>
                  <a:cubicBezTo>
                    <a:pt x="457" y="535"/>
                    <a:pt x="450" y="532"/>
                    <a:pt x="444" y="531"/>
                  </a:cubicBezTo>
                  <a:cubicBezTo>
                    <a:pt x="437" y="530"/>
                    <a:pt x="431" y="530"/>
                    <a:pt x="426" y="532"/>
                  </a:cubicBezTo>
                  <a:cubicBezTo>
                    <a:pt x="420" y="534"/>
                    <a:pt x="415" y="537"/>
                    <a:pt x="410" y="542"/>
                  </a:cubicBezTo>
                  <a:cubicBezTo>
                    <a:pt x="402" y="550"/>
                    <a:pt x="398" y="560"/>
                    <a:pt x="398" y="570"/>
                  </a:cubicBezTo>
                  <a:cubicBezTo>
                    <a:pt x="399" y="580"/>
                    <a:pt x="403" y="590"/>
                    <a:pt x="413" y="599"/>
                  </a:cubicBezTo>
                  <a:cubicBezTo>
                    <a:pt x="421" y="607"/>
                    <a:pt x="430" y="612"/>
                    <a:pt x="440" y="615"/>
                  </a:cubicBezTo>
                  <a:cubicBezTo>
                    <a:pt x="450" y="617"/>
                    <a:pt x="463" y="618"/>
                    <a:pt x="478" y="617"/>
                  </a:cubicBezTo>
                  <a:lnTo>
                    <a:pt x="512" y="584"/>
                  </a:lnTo>
                  <a:close/>
                  <a:moveTo>
                    <a:pt x="912" y="809"/>
                  </a:moveTo>
                  <a:cubicBezTo>
                    <a:pt x="911" y="810"/>
                    <a:pt x="910" y="811"/>
                    <a:pt x="909" y="812"/>
                  </a:cubicBezTo>
                  <a:cubicBezTo>
                    <a:pt x="907" y="813"/>
                    <a:pt x="905" y="814"/>
                    <a:pt x="903" y="815"/>
                  </a:cubicBezTo>
                  <a:lnTo>
                    <a:pt x="705" y="919"/>
                  </a:lnTo>
                  <a:cubicBezTo>
                    <a:pt x="703" y="920"/>
                    <a:pt x="702" y="921"/>
                    <a:pt x="700" y="921"/>
                  </a:cubicBezTo>
                  <a:cubicBezTo>
                    <a:pt x="698" y="921"/>
                    <a:pt x="697" y="921"/>
                    <a:pt x="695" y="920"/>
                  </a:cubicBezTo>
                  <a:cubicBezTo>
                    <a:pt x="693" y="919"/>
                    <a:pt x="691" y="917"/>
                    <a:pt x="688" y="915"/>
                  </a:cubicBezTo>
                  <a:cubicBezTo>
                    <a:pt x="686" y="913"/>
                    <a:pt x="683" y="910"/>
                    <a:pt x="679" y="907"/>
                  </a:cubicBezTo>
                  <a:cubicBezTo>
                    <a:pt x="676" y="903"/>
                    <a:pt x="673" y="900"/>
                    <a:pt x="670" y="897"/>
                  </a:cubicBezTo>
                  <a:cubicBezTo>
                    <a:pt x="668" y="894"/>
                    <a:pt x="667" y="892"/>
                    <a:pt x="666" y="890"/>
                  </a:cubicBezTo>
                  <a:cubicBezTo>
                    <a:pt x="665" y="888"/>
                    <a:pt x="664" y="886"/>
                    <a:pt x="664" y="885"/>
                  </a:cubicBezTo>
                  <a:cubicBezTo>
                    <a:pt x="664" y="883"/>
                    <a:pt x="665" y="882"/>
                    <a:pt x="666" y="880"/>
                  </a:cubicBezTo>
                  <a:lnTo>
                    <a:pt x="748" y="731"/>
                  </a:lnTo>
                  <a:lnTo>
                    <a:pt x="749" y="729"/>
                  </a:lnTo>
                  <a:lnTo>
                    <a:pt x="747" y="731"/>
                  </a:lnTo>
                  <a:lnTo>
                    <a:pt x="601" y="815"/>
                  </a:lnTo>
                  <a:cubicBezTo>
                    <a:pt x="599" y="816"/>
                    <a:pt x="597" y="817"/>
                    <a:pt x="596" y="817"/>
                  </a:cubicBezTo>
                  <a:cubicBezTo>
                    <a:pt x="594" y="817"/>
                    <a:pt x="592" y="816"/>
                    <a:pt x="590" y="815"/>
                  </a:cubicBezTo>
                  <a:cubicBezTo>
                    <a:pt x="588" y="814"/>
                    <a:pt x="586" y="812"/>
                    <a:pt x="583" y="810"/>
                  </a:cubicBezTo>
                  <a:cubicBezTo>
                    <a:pt x="581" y="808"/>
                    <a:pt x="578" y="805"/>
                    <a:pt x="574" y="801"/>
                  </a:cubicBezTo>
                  <a:cubicBezTo>
                    <a:pt x="571" y="798"/>
                    <a:pt x="568" y="795"/>
                    <a:pt x="566" y="792"/>
                  </a:cubicBezTo>
                  <a:cubicBezTo>
                    <a:pt x="564" y="790"/>
                    <a:pt x="562" y="787"/>
                    <a:pt x="561" y="785"/>
                  </a:cubicBezTo>
                  <a:cubicBezTo>
                    <a:pt x="560" y="784"/>
                    <a:pt x="560" y="782"/>
                    <a:pt x="560" y="780"/>
                  </a:cubicBezTo>
                  <a:cubicBezTo>
                    <a:pt x="560" y="779"/>
                    <a:pt x="560" y="777"/>
                    <a:pt x="561" y="776"/>
                  </a:cubicBezTo>
                  <a:lnTo>
                    <a:pt x="666" y="578"/>
                  </a:lnTo>
                  <a:cubicBezTo>
                    <a:pt x="667" y="576"/>
                    <a:pt x="668" y="574"/>
                    <a:pt x="669" y="572"/>
                  </a:cubicBezTo>
                  <a:cubicBezTo>
                    <a:pt x="670" y="571"/>
                    <a:pt x="671" y="570"/>
                    <a:pt x="672" y="569"/>
                  </a:cubicBezTo>
                  <a:cubicBezTo>
                    <a:pt x="673" y="568"/>
                    <a:pt x="674" y="567"/>
                    <a:pt x="675" y="567"/>
                  </a:cubicBezTo>
                  <a:cubicBezTo>
                    <a:pt x="676" y="567"/>
                    <a:pt x="677" y="567"/>
                    <a:pt x="679" y="568"/>
                  </a:cubicBezTo>
                  <a:cubicBezTo>
                    <a:pt x="680" y="569"/>
                    <a:pt x="682" y="570"/>
                    <a:pt x="684" y="572"/>
                  </a:cubicBezTo>
                  <a:cubicBezTo>
                    <a:pt x="686" y="573"/>
                    <a:pt x="689" y="576"/>
                    <a:pt x="691" y="578"/>
                  </a:cubicBezTo>
                  <a:cubicBezTo>
                    <a:pt x="695" y="582"/>
                    <a:pt x="697" y="584"/>
                    <a:pt x="699" y="587"/>
                  </a:cubicBezTo>
                  <a:cubicBezTo>
                    <a:pt x="701" y="589"/>
                    <a:pt x="702" y="591"/>
                    <a:pt x="703" y="592"/>
                  </a:cubicBezTo>
                  <a:cubicBezTo>
                    <a:pt x="703" y="594"/>
                    <a:pt x="704" y="595"/>
                    <a:pt x="703" y="596"/>
                  </a:cubicBezTo>
                  <a:cubicBezTo>
                    <a:pt x="703" y="597"/>
                    <a:pt x="702" y="599"/>
                    <a:pt x="702" y="600"/>
                  </a:cubicBezTo>
                  <a:lnTo>
                    <a:pt x="609" y="770"/>
                  </a:lnTo>
                  <a:lnTo>
                    <a:pt x="608" y="772"/>
                  </a:lnTo>
                  <a:lnTo>
                    <a:pt x="610" y="770"/>
                  </a:lnTo>
                  <a:lnTo>
                    <a:pt x="776" y="674"/>
                  </a:lnTo>
                  <a:cubicBezTo>
                    <a:pt x="777" y="674"/>
                    <a:pt x="779" y="673"/>
                    <a:pt x="780" y="673"/>
                  </a:cubicBezTo>
                  <a:cubicBezTo>
                    <a:pt x="781" y="673"/>
                    <a:pt x="783" y="673"/>
                    <a:pt x="784" y="673"/>
                  </a:cubicBezTo>
                  <a:cubicBezTo>
                    <a:pt x="785" y="674"/>
                    <a:pt x="787" y="675"/>
                    <a:pt x="789" y="677"/>
                  </a:cubicBezTo>
                  <a:cubicBezTo>
                    <a:pt x="791" y="679"/>
                    <a:pt x="794" y="681"/>
                    <a:pt x="797" y="684"/>
                  </a:cubicBezTo>
                  <a:cubicBezTo>
                    <a:pt x="799" y="687"/>
                    <a:pt x="802" y="689"/>
                    <a:pt x="803" y="691"/>
                  </a:cubicBezTo>
                  <a:cubicBezTo>
                    <a:pt x="805" y="693"/>
                    <a:pt x="806" y="695"/>
                    <a:pt x="807" y="696"/>
                  </a:cubicBezTo>
                  <a:cubicBezTo>
                    <a:pt x="807" y="698"/>
                    <a:pt x="808" y="699"/>
                    <a:pt x="807" y="700"/>
                  </a:cubicBezTo>
                  <a:cubicBezTo>
                    <a:pt x="807" y="701"/>
                    <a:pt x="807" y="703"/>
                    <a:pt x="806" y="704"/>
                  </a:cubicBezTo>
                  <a:lnTo>
                    <a:pt x="713" y="873"/>
                  </a:lnTo>
                  <a:lnTo>
                    <a:pt x="711" y="875"/>
                  </a:lnTo>
                  <a:lnTo>
                    <a:pt x="713" y="874"/>
                  </a:lnTo>
                  <a:lnTo>
                    <a:pt x="882" y="780"/>
                  </a:lnTo>
                  <a:cubicBezTo>
                    <a:pt x="883" y="780"/>
                    <a:pt x="885" y="779"/>
                    <a:pt x="886" y="779"/>
                  </a:cubicBezTo>
                  <a:cubicBezTo>
                    <a:pt x="887" y="779"/>
                    <a:pt x="889" y="779"/>
                    <a:pt x="890" y="780"/>
                  </a:cubicBezTo>
                  <a:cubicBezTo>
                    <a:pt x="892" y="780"/>
                    <a:pt x="894" y="782"/>
                    <a:pt x="896" y="783"/>
                  </a:cubicBezTo>
                  <a:cubicBezTo>
                    <a:pt x="898" y="785"/>
                    <a:pt x="900" y="787"/>
                    <a:pt x="903" y="791"/>
                  </a:cubicBezTo>
                  <a:cubicBezTo>
                    <a:pt x="906" y="793"/>
                    <a:pt x="908" y="796"/>
                    <a:pt x="910" y="798"/>
                  </a:cubicBezTo>
                  <a:cubicBezTo>
                    <a:pt x="912" y="799"/>
                    <a:pt x="913" y="801"/>
                    <a:pt x="913" y="802"/>
                  </a:cubicBezTo>
                  <a:cubicBezTo>
                    <a:pt x="914" y="804"/>
                    <a:pt x="914" y="805"/>
                    <a:pt x="914" y="806"/>
                  </a:cubicBezTo>
                  <a:cubicBezTo>
                    <a:pt x="914" y="807"/>
                    <a:pt x="913" y="808"/>
                    <a:pt x="912" y="809"/>
                  </a:cubicBezTo>
                  <a:close/>
                  <a:moveTo>
                    <a:pt x="898" y="1115"/>
                  </a:moveTo>
                  <a:cubicBezTo>
                    <a:pt x="897" y="1117"/>
                    <a:pt x="896" y="1117"/>
                    <a:pt x="894" y="1117"/>
                  </a:cubicBezTo>
                  <a:cubicBezTo>
                    <a:pt x="892" y="1117"/>
                    <a:pt x="890" y="1116"/>
                    <a:pt x="888" y="1115"/>
                  </a:cubicBezTo>
                  <a:cubicBezTo>
                    <a:pt x="886" y="1113"/>
                    <a:pt x="884" y="1111"/>
                    <a:pt x="881" y="1108"/>
                  </a:cubicBezTo>
                  <a:cubicBezTo>
                    <a:pt x="878" y="1105"/>
                    <a:pt x="875" y="1102"/>
                    <a:pt x="874" y="1100"/>
                  </a:cubicBezTo>
                  <a:cubicBezTo>
                    <a:pt x="872" y="1098"/>
                    <a:pt x="872" y="1096"/>
                    <a:pt x="871" y="1094"/>
                  </a:cubicBezTo>
                  <a:cubicBezTo>
                    <a:pt x="871" y="1093"/>
                    <a:pt x="872" y="1091"/>
                    <a:pt x="873" y="1090"/>
                  </a:cubicBezTo>
                  <a:lnTo>
                    <a:pt x="889" y="1074"/>
                  </a:lnTo>
                  <a:cubicBezTo>
                    <a:pt x="875" y="1075"/>
                    <a:pt x="861" y="1073"/>
                    <a:pt x="849" y="1068"/>
                  </a:cubicBezTo>
                  <a:cubicBezTo>
                    <a:pt x="836" y="1064"/>
                    <a:pt x="825" y="1057"/>
                    <a:pt x="815" y="1047"/>
                  </a:cubicBezTo>
                  <a:cubicBezTo>
                    <a:pt x="807" y="1039"/>
                    <a:pt x="801" y="1030"/>
                    <a:pt x="796" y="1021"/>
                  </a:cubicBezTo>
                  <a:cubicBezTo>
                    <a:pt x="791" y="1012"/>
                    <a:pt x="789" y="1003"/>
                    <a:pt x="788" y="994"/>
                  </a:cubicBezTo>
                  <a:cubicBezTo>
                    <a:pt x="787" y="986"/>
                    <a:pt x="789" y="977"/>
                    <a:pt x="792" y="968"/>
                  </a:cubicBezTo>
                  <a:cubicBezTo>
                    <a:pt x="796" y="959"/>
                    <a:pt x="801" y="951"/>
                    <a:pt x="809" y="944"/>
                  </a:cubicBezTo>
                  <a:cubicBezTo>
                    <a:pt x="818" y="935"/>
                    <a:pt x="827" y="929"/>
                    <a:pt x="837" y="926"/>
                  </a:cubicBezTo>
                  <a:cubicBezTo>
                    <a:pt x="848" y="923"/>
                    <a:pt x="858" y="923"/>
                    <a:pt x="870" y="925"/>
                  </a:cubicBezTo>
                  <a:cubicBezTo>
                    <a:pt x="881" y="928"/>
                    <a:pt x="893" y="933"/>
                    <a:pt x="905" y="940"/>
                  </a:cubicBezTo>
                  <a:cubicBezTo>
                    <a:pt x="917" y="948"/>
                    <a:pt x="929" y="958"/>
                    <a:pt x="941" y="970"/>
                  </a:cubicBezTo>
                  <a:lnTo>
                    <a:pt x="963" y="992"/>
                  </a:lnTo>
                  <a:lnTo>
                    <a:pt x="976" y="980"/>
                  </a:lnTo>
                  <a:cubicBezTo>
                    <a:pt x="982" y="974"/>
                    <a:pt x="986" y="968"/>
                    <a:pt x="990" y="962"/>
                  </a:cubicBezTo>
                  <a:cubicBezTo>
                    <a:pt x="993" y="956"/>
                    <a:pt x="995" y="950"/>
                    <a:pt x="995" y="944"/>
                  </a:cubicBezTo>
                  <a:cubicBezTo>
                    <a:pt x="996" y="938"/>
                    <a:pt x="994" y="932"/>
                    <a:pt x="991" y="926"/>
                  </a:cubicBezTo>
                  <a:cubicBezTo>
                    <a:pt x="988" y="919"/>
                    <a:pt x="983" y="913"/>
                    <a:pt x="977" y="906"/>
                  </a:cubicBezTo>
                  <a:cubicBezTo>
                    <a:pt x="969" y="899"/>
                    <a:pt x="962" y="893"/>
                    <a:pt x="955" y="889"/>
                  </a:cubicBezTo>
                  <a:cubicBezTo>
                    <a:pt x="947" y="885"/>
                    <a:pt x="940" y="882"/>
                    <a:pt x="934" y="880"/>
                  </a:cubicBezTo>
                  <a:cubicBezTo>
                    <a:pt x="928" y="878"/>
                    <a:pt x="922" y="876"/>
                    <a:pt x="918" y="875"/>
                  </a:cubicBezTo>
                  <a:cubicBezTo>
                    <a:pt x="913" y="874"/>
                    <a:pt x="910" y="872"/>
                    <a:pt x="909" y="871"/>
                  </a:cubicBezTo>
                  <a:cubicBezTo>
                    <a:pt x="908" y="870"/>
                    <a:pt x="907" y="869"/>
                    <a:pt x="907" y="868"/>
                  </a:cubicBezTo>
                  <a:cubicBezTo>
                    <a:pt x="907" y="867"/>
                    <a:pt x="907" y="865"/>
                    <a:pt x="907" y="864"/>
                  </a:cubicBezTo>
                  <a:cubicBezTo>
                    <a:pt x="907" y="862"/>
                    <a:pt x="908" y="861"/>
                    <a:pt x="910" y="859"/>
                  </a:cubicBezTo>
                  <a:cubicBezTo>
                    <a:pt x="911" y="857"/>
                    <a:pt x="912" y="856"/>
                    <a:pt x="914" y="854"/>
                  </a:cubicBezTo>
                  <a:cubicBezTo>
                    <a:pt x="917" y="851"/>
                    <a:pt x="920" y="849"/>
                    <a:pt x="922" y="847"/>
                  </a:cubicBezTo>
                  <a:cubicBezTo>
                    <a:pt x="924" y="846"/>
                    <a:pt x="926" y="846"/>
                    <a:pt x="930" y="846"/>
                  </a:cubicBezTo>
                  <a:cubicBezTo>
                    <a:pt x="933" y="846"/>
                    <a:pt x="937" y="847"/>
                    <a:pt x="943" y="848"/>
                  </a:cubicBezTo>
                  <a:cubicBezTo>
                    <a:pt x="949" y="850"/>
                    <a:pt x="955" y="853"/>
                    <a:pt x="962" y="856"/>
                  </a:cubicBezTo>
                  <a:cubicBezTo>
                    <a:pt x="969" y="860"/>
                    <a:pt x="976" y="864"/>
                    <a:pt x="983" y="869"/>
                  </a:cubicBezTo>
                  <a:cubicBezTo>
                    <a:pt x="990" y="873"/>
                    <a:pt x="997" y="879"/>
                    <a:pt x="1003" y="885"/>
                  </a:cubicBezTo>
                  <a:cubicBezTo>
                    <a:pt x="1014" y="897"/>
                    <a:pt x="1023" y="908"/>
                    <a:pt x="1028" y="918"/>
                  </a:cubicBezTo>
                  <a:cubicBezTo>
                    <a:pt x="1034" y="929"/>
                    <a:pt x="1036" y="939"/>
                    <a:pt x="1036" y="949"/>
                  </a:cubicBezTo>
                  <a:cubicBezTo>
                    <a:pt x="1036" y="959"/>
                    <a:pt x="1034" y="969"/>
                    <a:pt x="1028" y="978"/>
                  </a:cubicBezTo>
                  <a:cubicBezTo>
                    <a:pt x="1023" y="988"/>
                    <a:pt x="1016" y="998"/>
                    <a:pt x="1006" y="1008"/>
                  </a:cubicBezTo>
                  <a:lnTo>
                    <a:pt x="898" y="1115"/>
                  </a:lnTo>
                  <a:close/>
                  <a:moveTo>
                    <a:pt x="942" y="1013"/>
                  </a:moveTo>
                  <a:lnTo>
                    <a:pt x="917" y="989"/>
                  </a:lnTo>
                  <a:cubicBezTo>
                    <a:pt x="909" y="981"/>
                    <a:pt x="902" y="974"/>
                    <a:pt x="894" y="970"/>
                  </a:cubicBezTo>
                  <a:cubicBezTo>
                    <a:pt x="887" y="965"/>
                    <a:pt x="880" y="962"/>
                    <a:pt x="874" y="961"/>
                  </a:cubicBezTo>
                  <a:cubicBezTo>
                    <a:pt x="867" y="960"/>
                    <a:pt x="861" y="960"/>
                    <a:pt x="856" y="962"/>
                  </a:cubicBezTo>
                  <a:cubicBezTo>
                    <a:pt x="850" y="964"/>
                    <a:pt x="845" y="967"/>
                    <a:pt x="840" y="972"/>
                  </a:cubicBezTo>
                  <a:cubicBezTo>
                    <a:pt x="832" y="980"/>
                    <a:pt x="828" y="990"/>
                    <a:pt x="828" y="1000"/>
                  </a:cubicBezTo>
                  <a:cubicBezTo>
                    <a:pt x="828" y="1010"/>
                    <a:pt x="833" y="1020"/>
                    <a:pt x="843" y="1029"/>
                  </a:cubicBezTo>
                  <a:cubicBezTo>
                    <a:pt x="850" y="1037"/>
                    <a:pt x="860" y="1042"/>
                    <a:pt x="870" y="1044"/>
                  </a:cubicBezTo>
                  <a:cubicBezTo>
                    <a:pt x="880" y="1047"/>
                    <a:pt x="893" y="1048"/>
                    <a:pt x="908" y="1047"/>
                  </a:cubicBezTo>
                  <a:lnTo>
                    <a:pt x="942" y="1013"/>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83" name="Freeform 130"/>
            <p:cNvSpPr>
              <a:spLocks noEditPoints="1"/>
            </p:cNvSpPr>
            <p:nvPr/>
          </p:nvSpPr>
          <p:spPr bwMode="auto">
            <a:xfrm>
              <a:off x="2535" y="1991"/>
              <a:ext cx="222" cy="230"/>
            </a:xfrm>
            <a:custGeom>
              <a:avLst/>
              <a:gdLst>
                <a:gd name="T0" fmla="*/ 221 w 2108"/>
                <a:gd name="T1" fmla="*/ 436 h 2179"/>
                <a:gd name="T2" fmla="*/ 110 w 2108"/>
                <a:gd name="T3" fmla="*/ 334 h 2179"/>
                <a:gd name="T4" fmla="*/ 12 w 2108"/>
                <a:gd name="T5" fmla="*/ 238 h 2179"/>
                <a:gd name="T6" fmla="*/ 267 w 2108"/>
                <a:gd name="T7" fmla="*/ 36 h 2179"/>
                <a:gd name="T8" fmla="*/ 434 w 2108"/>
                <a:gd name="T9" fmla="*/ 202 h 2179"/>
                <a:gd name="T10" fmla="*/ 420 w 2108"/>
                <a:gd name="T11" fmla="*/ 642 h 2179"/>
                <a:gd name="T12" fmla="*/ 322 w 2108"/>
                <a:gd name="T13" fmla="*/ 546 h 2179"/>
                <a:gd name="T14" fmla="*/ 501 w 2108"/>
                <a:gd name="T15" fmla="*/ 505 h 2179"/>
                <a:gd name="T16" fmla="*/ 432 w 2108"/>
                <a:gd name="T17" fmla="*/ 393 h 2179"/>
                <a:gd name="T18" fmla="*/ 529 w 2108"/>
                <a:gd name="T19" fmla="*/ 410 h 2179"/>
                <a:gd name="T20" fmla="*/ 399 w 2108"/>
                <a:gd name="T21" fmla="*/ 486 h 2179"/>
                <a:gd name="T22" fmla="*/ 702 w 2108"/>
                <a:gd name="T23" fmla="*/ 600 h 2179"/>
                <a:gd name="T24" fmla="*/ 498 w 2108"/>
                <a:gd name="T25" fmla="*/ 724 h 2179"/>
                <a:gd name="T26" fmla="*/ 586 w 2108"/>
                <a:gd name="T27" fmla="*/ 556 h 2179"/>
                <a:gd name="T28" fmla="*/ 745 w 2108"/>
                <a:gd name="T29" fmla="*/ 477 h 2179"/>
                <a:gd name="T30" fmla="*/ 696 w 2108"/>
                <a:gd name="T31" fmla="*/ 911 h 2179"/>
                <a:gd name="T32" fmla="*/ 613 w 2108"/>
                <a:gd name="T33" fmla="*/ 843 h 2179"/>
                <a:gd name="T34" fmla="*/ 760 w 2108"/>
                <a:gd name="T35" fmla="*/ 789 h 2179"/>
                <a:gd name="T36" fmla="*/ 706 w 2108"/>
                <a:gd name="T37" fmla="*/ 667 h 2179"/>
                <a:gd name="T38" fmla="*/ 780 w 2108"/>
                <a:gd name="T39" fmla="*/ 665 h 2179"/>
                <a:gd name="T40" fmla="*/ 692 w 2108"/>
                <a:gd name="T41" fmla="*/ 766 h 2179"/>
                <a:gd name="T42" fmla="*/ 889 w 2108"/>
                <a:gd name="T43" fmla="*/ 1018 h 2179"/>
                <a:gd name="T44" fmla="*/ 744 w 2108"/>
                <a:gd name="T45" fmla="*/ 939 h 2179"/>
                <a:gd name="T46" fmla="*/ 799 w 2108"/>
                <a:gd name="T47" fmla="*/ 983 h 2179"/>
                <a:gd name="T48" fmla="*/ 842 w 2108"/>
                <a:gd name="T49" fmla="*/ 898 h 2179"/>
                <a:gd name="T50" fmla="*/ 982 w 2108"/>
                <a:gd name="T51" fmla="*/ 871 h 2179"/>
                <a:gd name="T52" fmla="*/ 968 w 2108"/>
                <a:gd name="T53" fmla="*/ 917 h 2179"/>
                <a:gd name="T54" fmla="*/ 886 w 2108"/>
                <a:gd name="T55" fmla="*/ 859 h 2179"/>
                <a:gd name="T56" fmla="*/ 991 w 2108"/>
                <a:gd name="T57" fmla="*/ 1190 h 2179"/>
                <a:gd name="T58" fmla="*/ 887 w 2108"/>
                <a:gd name="T59" fmla="*/ 1069 h 2179"/>
                <a:gd name="T60" fmla="*/ 1035 w 2108"/>
                <a:gd name="T61" fmla="*/ 928 h 2179"/>
                <a:gd name="T62" fmla="*/ 1121 w 2108"/>
                <a:gd name="T63" fmla="*/ 1050 h 2179"/>
                <a:gd name="T64" fmla="*/ 991 w 2108"/>
                <a:gd name="T65" fmla="*/ 1190 h 2179"/>
                <a:gd name="T66" fmla="*/ 1138 w 2108"/>
                <a:gd name="T67" fmla="*/ 1318 h 2179"/>
                <a:gd name="T68" fmla="*/ 1167 w 2108"/>
                <a:gd name="T69" fmla="*/ 1363 h 2179"/>
                <a:gd name="T70" fmla="*/ 1064 w 2108"/>
                <a:gd name="T71" fmla="*/ 1197 h 2179"/>
                <a:gd name="T72" fmla="*/ 1256 w 2108"/>
                <a:gd name="T73" fmla="*/ 1288 h 2179"/>
                <a:gd name="T74" fmla="*/ 1230 w 2108"/>
                <a:gd name="T75" fmla="*/ 1255 h 2179"/>
                <a:gd name="T76" fmla="*/ 1350 w 2108"/>
                <a:gd name="T77" fmla="*/ 1576 h 2179"/>
                <a:gd name="T78" fmla="*/ 1270 w 2108"/>
                <a:gd name="T79" fmla="*/ 1494 h 2179"/>
                <a:gd name="T80" fmla="*/ 1351 w 2108"/>
                <a:gd name="T81" fmla="*/ 1248 h 2179"/>
                <a:gd name="T82" fmla="*/ 1289 w 2108"/>
                <a:gd name="T83" fmla="*/ 1448 h 2179"/>
                <a:gd name="T84" fmla="*/ 1486 w 2108"/>
                <a:gd name="T85" fmla="*/ 1375 h 2179"/>
                <a:gd name="T86" fmla="*/ 1575 w 2108"/>
                <a:gd name="T87" fmla="*/ 1462 h 2179"/>
                <a:gd name="T88" fmla="*/ 1486 w 2108"/>
                <a:gd name="T89" fmla="*/ 1712 h 2179"/>
                <a:gd name="T90" fmla="*/ 1641 w 2108"/>
                <a:gd name="T91" fmla="*/ 1528 h 2179"/>
                <a:gd name="T92" fmla="*/ 1679 w 2108"/>
                <a:gd name="T93" fmla="*/ 1504 h 2179"/>
                <a:gd name="T94" fmla="*/ 1678 w 2108"/>
                <a:gd name="T95" fmla="*/ 1863 h 2179"/>
                <a:gd name="T96" fmla="*/ 1584 w 2108"/>
                <a:gd name="T97" fmla="*/ 1717 h 2179"/>
                <a:gd name="T98" fmla="*/ 1809 w 2108"/>
                <a:gd name="T99" fmla="*/ 1722 h 2179"/>
                <a:gd name="T100" fmla="*/ 1769 w 2108"/>
                <a:gd name="T101" fmla="*/ 1705 h 2179"/>
                <a:gd name="T102" fmla="*/ 1671 w 2108"/>
                <a:gd name="T103" fmla="*/ 1831 h 2179"/>
                <a:gd name="T104" fmla="*/ 1805 w 2108"/>
                <a:gd name="T105" fmla="*/ 2024 h 2179"/>
                <a:gd name="T106" fmla="*/ 1724 w 2108"/>
                <a:gd name="T107" fmla="*/ 1890 h 2179"/>
                <a:gd name="T108" fmla="*/ 1868 w 2108"/>
                <a:gd name="T109" fmla="*/ 1756 h 2179"/>
                <a:gd name="T110" fmla="*/ 1935 w 2108"/>
                <a:gd name="T111" fmla="*/ 1882 h 2179"/>
                <a:gd name="T112" fmla="*/ 2052 w 2108"/>
                <a:gd name="T113" fmla="*/ 2114 h 2179"/>
                <a:gd name="T114" fmla="*/ 1987 w 2108"/>
                <a:gd name="T115" fmla="*/ 2150 h 2179"/>
                <a:gd name="T116" fmla="*/ 1974 w 2108"/>
                <a:gd name="T117" fmla="*/ 2179 h 2179"/>
                <a:gd name="T118" fmla="*/ 1954 w 2108"/>
                <a:gd name="T119" fmla="*/ 1937 h 2179"/>
                <a:gd name="T120" fmla="*/ 2045 w 2108"/>
                <a:gd name="T121" fmla="*/ 2070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8" h="2179">
                  <a:moveTo>
                    <a:pt x="251" y="466"/>
                  </a:moveTo>
                  <a:cubicBezTo>
                    <a:pt x="250" y="467"/>
                    <a:pt x="249" y="468"/>
                    <a:pt x="248" y="468"/>
                  </a:cubicBezTo>
                  <a:cubicBezTo>
                    <a:pt x="247" y="468"/>
                    <a:pt x="245" y="468"/>
                    <a:pt x="244" y="467"/>
                  </a:cubicBezTo>
                  <a:cubicBezTo>
                    <a:pt x="242" y="466"/>
                    <a:pt x="240" y="465"/>
                    <a:pt x="238" y="464"/>
                  </a:cubicBezTo>
                  <a:cubicBezTo>
                    <a:pt x="236" y="462"/>
                    <a:pt x="233" y="460"/>
                    <a:pt x="230" y="457"/>
                  </a:cubicBezTo>
                  <a:cubicBezTo>
                    <a:pt x="228" y="454"/>
                    <a:pt x="225" y="451"/>
                    <a:pt x="224" y="449"/>
                  </a:cubicBezTo>
                  <a:cubicBezTo>
                    <a:pt x="222" y="447"/>
                    <a:pt x="221" y="445"/>
                    <a:pt x="220" y="443"/>
                  </a:cubicBezTo>
                  <a:cubicBezTo>
                    <a:pt x="219" y="442"/>
                    <a:pt x="219" y="440"/>
                    <a:pt x="219" y="439"/>
                  </a:cubicBezTo>
                  <a:cubicBezTo>
                    <a:pt x="219" y="438"/>
                    <a:pt x="220" y="437"/>
                    <a:pt x="221" y="436"/>
                  </a:cubicBezTo>
                  <a:lnTo>
                    <a:pt x="420" y="237"/>
                  </a:lnTo>
                  <a:lnTo>
                    <a:pt x="420" y="236"/>
                  </a:lnTo>
                  <a:lnTo>
                    <a:pt x="139" y="356"/>
                  </a:lnTo>
                  <a:cubicBezTo>
                    <a:pt x="138" y="356"/>
                    <a:pt x="137" y="356"/>
                    <a:pt x="135" y="356"/>
                  </a:cubicBezTo>
                  <a:cubicBezTo>
                    <a:pt x="134" y="356"/>
                    <a:pt x="133" y="356"/>
                    <a:pt x="131" y="355"/>
                  </a:cubicBezTo>
                  <a:cubicBezTo>
                    <a:pt x="129" y="354"/>
                    <a:pt x="128" y="353"/>
                    <a:pt x="126" y="352"/>
                  </a:cubicBezTo>
                  <a:cubicBezTo>
                    <a:pt x="124" y="350"/>
                    <a:pt x="122" y="348"/>
                    <a:pt x="119" y="346"/>
                  </a:cubicBezTo>
                  <a:cubicBezTo>
                    <a:pt x="117" y="343"/>
                    <a:pt x="115" y="341"/>
                    <a:pt x="113" y="339"/>
                  </a:cubicBezTo>
                  <a:cubicBezTo>
                    <a:pt x="112" y="337"/>
                    <a:pt x="111" y="335"/>
                    <a:pt x="110" y="334"/>
                  </a:cubicBezTo>
                  <a:cubicBezTo>
                    <a:pt x="109" y="332"/>
                    <a:pt x="109" y="331"/>
                    <a:pt x="109" y="329"/>
                  </a:cubicBezTo>
                  <a:cubicBezTo>
                    <a:pt x="109" y="328"/>
                    <a:pt x="109" y="327"/>
                    <a:pt x="109" y="326"/>
                  </a:cubicBezTo>
                  <a:lnTo>
                    <a:pt x="232" y="49"/>
                  </a:lnTo>
                  <a:lnTo>
                    <a:pt x="232" y="49"/>
                  </a:lnTo>
                  <a:lnTo>
                    <a:pt x="33" y="248"/>
                  </a:lnTo>
                  <a:cubicBezTo>
                    <a:pt x="32" y="249"/>
                    <a:pt x="31" y="249"/>
                    <a:pt x="30" y="250"/>
                  </a:cubicBezTo>
                  <a:cubicBezTo>
                    <a:pt x="29" y="250"/>
                    <a:pt x="27" y="250"/>
                    <a:pt x="26" y="249"/>
                  </a:cubicBezTo>
                  <a:cubicBezTo>
                    <a:pt x="24" y="248"/>
                    <a:pt x="22" y="247"/>
                    <a:pt x="20" y="245"/>
                  </a:cubicBezTo>
                  <a:cubicBezTo>
                    <a:pt x="17" y="243"/>
                    <a:pt x="15" y="241"/>
                    <a:pt x="12" y="238"/>
                  </a:cubicBezTo>
                  <a:cubicBezTo>
                    <a:pt x="9" y="235"/>
                    <a:pt x="7" y="233"/>
                    <a:pt x="5" y="230"/>
                  </a:cubicBezTo>
                  <a:cubicBezTo>
                    <a:pt x="3" y="228"/>
                    <a:pt x="2" y="226"/>
                    <a:pt x="1" y="225"/>
                  </a:cubicBezTo>
                  <a:cubicBezTo>
                    <a:pt x="1" y="223"/>
                    <a:pt x="0" y="222"/>
                    <a:pt x="1" y="221"/>
                  </a:cubicBezTo>
                  <a:cubicBezTo>
                    <a:pt x="1" y="219"/>
                    <a:pt x="2" y="218"/>
                    <a:pt x="3" y="218"/>
                  </a:cubicBezTo>
                  <a:lnTo>
                    <a:pt x="213" y="7"/>
                  </a:lnTo>
                  <a:cubicBezTo>
                    <a:pt x="218" y="2"/>
                    <a:pt x="223" y="0"/>
                    <a:pt x="227" y="0"/>
                  </a:cubicBezTo>
                  <a:cubicBezTo>
                    <a:pt x="232" y="1"/>
                    <a:pt x="236" y="3"/>
                    <a:pt x="239" y="6"/>
                  </a:cubicBezTo>
                  <a:lnTo>
                    <a:pt x="258" y="25"/>
                  </a:lnTo>
                  <a:cubicBezTo>
                    <a:pt x="262" y="29"/>
                    <a:pt x="265" y="32"/>
                    <a:pt x="267" y="36"/>
                  </a:cubicBezTo>
                  <a:cubicBezTo>
                    <a:pt x="269" y="39"/>
                    <a:pt x="271" y="43"/>
                    <a:pt x="271" y="47"/>
                  </a:cubicBezTo>
                  <a:cubicBezTo>
                    <a:pt x="272" y="50"/>
                    <a:pt x="272" y="54"/>
                    <a:pt x="271" y="58"/>
                  </a:cubicBezTo>
                  <a:cubicBezTo>
                    <a:pt x="270" y="62"/>
                    <a:pt x="268" y="66"/>
                    <a:pt x="266" y="70"/>
                  </a:cubicBezTo>
                  <a:lnTo>
                    <a:pt x="166" y="301"/>
                  </a:lnTo>
                  <a:lnTo>
                    <a:pt x="167" y="302"/>
                  </a:lnTo>
                  <a:lnTo>
                    <a:pt x="400" y="205"/>
                  </a:lnTo>
                  <a:cubicBezTo>
                    <a:pt x="405" y="203"/>
                    <a:pt x="409" y="201"/>
                    <a:pt x="413" y="200"/>
                  </a:cubicBezTo>
                  <a:cubicBezTo>
                    <a:pt x="417" y="199"/>
                    <a:pt x="421" y="199"/>
                    <a:pt x="424" y="199"/>
                  </a:cubicBezTo>
                  <a:cubicBezTo>
                    <a:pt x="428" y="200"/>
                    <a:pt x="431" y="201"/>
                    <a:pt x="434" y="202"/>
                  </a:cubicBezTo>
                  <a:cubicBezTo>
                    <a:pt x="437" y="204"/>
                    <a:pt x="440" y="206"/>
                    <a:pt x="443" y="209"/>
                  </a:cubicBezTo>
                  <a:lnTo>
                    <a:pt x="462" y="229"/>
                  </a:lnTo>
                  <a:cubicBezTo>
                    <a:pt x="464" y="231"/>
                    <a:pt x="466" y="233"/>
                    <a:pt x="467" y="235"/>
                  </a:cubicBezTo>
                  <a:cubicBezTo>
                    <a:pt x="468" y="237"/>
                    <a:pt x="468" y="239"/>
                    <a:pt x="468" y="241"/>
                  </a:cubicBezTo>
                  <a:cubicBezTo>
                    <a:pt x="468" y="244"/>
                    <a:pt x="468" y="246"/>
                    <a:pt x="467" y="249"/>
                  </a:cubicBezTo>
                  <a:cubicBezTo>
                    <a:pt x="466" y="251"/>
                    <a:pt x="464" y="253"/>
                    <a:pt x="462" y="256"/>
                  </a:cubicBezTo>
                  <a:lnTo>
                    <a:pt x="251" y="466"/>
                  </a:lnTo>
                  <a:close/>
                  <a:moveTo>
                    <a:pt x="424" y="640"/>
                  </a:moveTo>
                  <a:cubicBezTo>
                    <a:pt x="423" y="641"/>
                    <a:pt x="421" y="642"/>
                    <a:pt x="420" y="642"/>
                  </a:cubicBezTo>
                  <a:cubicBezTo>
                    <a:pt x="418" y="641"/>
                    <a:pt x="416" y="641"/>
                    <a:pt x="414" y="639"/>
                  </a:cubicBezTo>
                  <a:cubicBezTo>
                    <a:pt x="412" y="638"/>
                    <a:pt x="409" y="636"/>
                    <a:pt x="406" y="633"/>
                  </a:cubicBezTo>
                  <a:cubicBezTo>
                    <a:pt x="403" y="630"/>
                    <a:pt x="401" y="627"/>
                    <a:pt x="399" y="625"/>
                  </a:cubicBezTo>
                  <a:cubicBezTo>
                    <a:pt x="398" y="623"/>
                    <a:pt x="397" y="621"/>
                    <a:pt x="397" y="619"/>
                  </a:cubicBezTo>
                  <a:cubicBezTo>
                    <a:pt x="397" y="618"/>
                    <a:pt x="398" y="616"/>
                    <a:pt x="399" y="615"/>
                  </a:cubicBezTo>
                  <a:lnTo>
                    <a:pt x="415" y="599"/>
                  </a:lnTo>
                  <a:cubicBezTo>
                    <a:pt x="401" y="599"/>
                    <a:pt x="387" y="597"/>
                    <a:pt x="374" y="593"/>
                  </a:cubicBezTo>
                  <a:cubicBezTo>
                    <a:pt x="362" y="588"/>
                    <a:pt x="351" y="581"/>
                    <a:pt x="341" y="572"/>
                  </a:cubicBezTo>
                  <a:cubicBezTo>
                    <a:pt x="333" y="564"/>
                    <a:pt x="326" y="555"/>
                    <a:pt x="322" y="546"/>
                  </a:cubicBezTo>
                  <a:cubicBezTo>
                    <a:pt x="317" y="537"/>
                    <a:pt x="314" y="528"/>
                    <a:pt x="314" y="519"/>
                  </a:cubicBezTo>
                  <a:cubicBezTo>
                    <a:pt x="313" y="510"/>
                    <a:pt x="314" y="502"/>
                    <a:pt x="318" y="493"/>
                  </a:cubicBezTo>
                  <a:cubicBezTo>
                    <a:pt x="321" y="484"/>
                    <a:pt x="327" y="476"/>
                    <a:pt x="334" y="468"/>
                  </a:cubicBezTo>
                  <a:cubicBezTo>
                    <a:pt x="343" y="459"/>
                    <a:pt x="353" y="453"/>
                    <a:pt x="363" y="451"/>
                  </a:cubicBezTo>
                  <a:cubicBezTo>
                    <a:pt x="373" y="448"/>
                    <a:pt x="384" y="447"/>
                    <a:pt x="395" y="450"/>
                  </a:cubicBezTo>
                  <a:cubicBezTo>
                    <a:pt x="407" y="452"/>
                    <a:pt x="418" y="457"/>
                    <a:pt x="430" y="465"/>
                  </a:cubicBezTo>
                  <a:cubicBezTo>
                    <a:pt x="442" y="473"/>
                    <a:pt x="455" y="483"/>
                    <a:pt x="467" y="495"/>
                  </a:cubicBezTo>
                  <a:lnTo>
                    <a:pt x="489" y="517"/>
                  </a:lnTo>
                  <a:lnTo>
                    <a:pt x="501" y="505"/>
                  </a:lnTo>
                  <a:cubicBezTo>
                    <a:pt x="507" y="499"/>
                    <a:pt x="512" y="493"/>
                    <a:pt x="516" y="487"/>
                  </a:cubicBezTo>
                  <a:cubicBezTo>
                    <a:pt x="519" y="481"/>
                    <a:pt x="521" y="475"/>
                    <a:pt x="521" y="469"/>
                  </a:cubicBezTo>
                  <a:cubicBezTo>
                    <a:pt x="521" y="463"/>
                    <a:pt x="520" y="456"/>
                    <a:pt x="517" y="450"/>
                  </a:cubicBezTo>
                  <a:cubicBezTo>
                    <a:pt x="514" y="444"/>
                    <a:pt x="509" y="438"/>
                    <a:pt x="502" y="431"/>
                  </a:cubicBezTo>
                  <a:cubicBezTo>
                    <a:pt x="495" y="424"/>
                    <a:pt x="488" y="418"/>
                    <a:pt x="480" y="414"/>
                  </a:cubicBezTo>
                  <a:cubicBezTo>
                    <a:pt x="473" y="410"/>
                    <a:pt x="466" y="407"/>
                    <a:pt x="460" y="405"/>
                  </a:cubicBezTo>
                  <a:cubicBezTo>
                    <a:pt x="453" y="402"/>
                    <a:pt x="448" y="401"/>
                    <a:pt x="443" y="400"/>
                  </a:cubicBezTo>
                  <a:cubicBezTo>
                    <a:pt x="439" y="398"/>
                    <a:pt x="436" y="397"/>
                    <a:pt x="434" y="396"/>
                  </a:cubicBezTo>
                  <a:cubicBezTo>
                    <a:pt x="433" y="395"/>
                    <a:pt x="433" y="394"/>
                    <a:pt x="432" y="393"/>
                  </a:cubicBezTo>
                  <a:cubicBezTo>
                    <a:pt x="432" y="391"/>
                    <a:pt x="432" y="390"/>
                    <a:pt x="433" y="389"/>
                  </a:cubicBezTo>
                  <a:cubicBezTo>
                    <a:pt x="433" y="387"/>
                    <a:pt x="434" y="385"/>
                    <a:pt x="435" y="384"/>
                  </a:cubicBezTo>
                  <a:cubicBezTo>
                    <a:pt x="436" y="382"/>
                    <a:pt x="438" y="380"/>
                    <a:pt x="440" y="379"/>
                  </a:cubicBezTo>
                  <a:cubicBezTo>
                    <a:pt x="443" y="376"/>
                    <a:pt x="445" y="373"/>
                    <a:pt x="447" y="372"/>
                  </a:cubicBezTo>
                  <a:cubicBezTo>
                    <a:pt x="449" y="371"/>
                    <a:pt x="452" y="370"/>
                    <a:pt x="455" y="370"/>
                  </a:cubicBezTo>
                  <a:cubicBezTo>
                    <a:pt x="458" y="370"/>
                    <a:pt x="463" y="371"/>
                    <a:pt x="469" y="373"/>
                  </a:cubicBezTo>
                  <a:cubicBezTo>
                    <a:pt x="475" y="375"/>
                    <a:pt x="481" y="378"/>
                    <a:pt x="488" y="381"/>
                  </a:cubicBezTo>
                  <a:cubicBezTo>
                    <a:pt x="495" y="384"/>
                    <a:pt x="502" y="388"/>
                    <a:pt x="509" y="393"/>
                  </a:cubicBezTo>
                  <a:cubicBezTo>
                    <a:pt x="516" y="398"/>
                    <a:pt x="522" y="404"/>
                    <a:pt x="529" y="410"/>
                  </a:cubicBezTo>
                  <a:cubicBezTo>
                    <a:pt x="540" y="421"/>
                    <a:pt x="548" y="432"/>
                    <a:pt x="554" y="443"/>
                  </a:cubicBezTo>
                  <a:cubicBezTo>
                    <a:pt x="559" y="454"/>
                    <a:pt x="562" y="464"/>
                    <a:pt x="562" y="474"/>
                  </a:cubicBezTo>
                  <a:cubicBezTo>
                    <a:pt x="562" y="484"/>
                    <a:pt x="559" y="494"/>
                    <a:pt x="554" y="503"/>
                  </a:cubicBezTo>
                  <a:cubicBezTo>
                    <a:pt x="549" y="513"/>
                    <a:pt x="541" y="523"/>
                    <a:pt x="531" y="533"/>
                  </a:cubicBezTo>
                  <a:lnTo>
                    <a:pt x="424" y="640"/>
                  </a:lnTo>
                  <a:close/>
                  <a:moveTo>
                    <a:pt x="468" y="538"/>
                  </a:moveTo>
                  <a:lnTo>
                    <a:pt x="443" y="513"/>
                  </a:lnTo>
                  <a:cubicBezTo>
                    <a:pt x="435" y="505"/>
                    <a:pt x="427" y="499"/>
                    <a:pt x="420" y="494"/>
                  </a:cubicBezTo>
                  <a:cubicBezTo>
                    <a:pt x="413" y="490"/>
                    <a:pt x="406" y="487"/>
                    <a:pt x="399" y="486"/>
                  </a:cubicBezTo>
                  <a:cubicBezTo>
                    <a:pt x="393" y="485"/>
                    <a:pt x="387" y="485"/>
                    <a:pt x="381" y="487"/>
                  </a:cubicBezTo>
                  <a:cubicBezTo>
                    <a:pt x="376" y="489"/>
                    <a:pt x="370" y="492"/>
                    <a:pt x="366" y="497"/>
                  </a:cubicBezTo>
                  <a:cubicBezTo>
                    <a:pt x="357" y="505"/>
                    <a:pt x="353" y="514"/>
                    <a:pt x="354" y="524"/>
                  </a:cubicBezTo>
                  <a:cubicBezTo>
                    <a:pt x="354" y="535"/>
                    <a:pt x="359" y="544"/>
                    <a:pt x="368" y="554"/>
                  </a:cubicBezTo>
                  <a:cubicBezTo>
                    <a:pt x="376" y="561"/>
                    <a:pt x="385" y="567"/>
                    <a:pt x="396" y="569"/>
                  </a:cubicBezTo>
                  <a:cubicBezTo>
                    <a:pt x="406" y="572"/>
                    <a:pt x="419" y="573"/>
                    <a:pt x="434" y="572"/>
                  </a:cubicBezTo>
                  <a:lnTo>
                    <a:pt x="468" y="538"/>
                  </a:lnTo>
                  <a:close/>
                  <a:moveTo>
                    <a:pt x="708" y="594"/>
                  </a:moveTo>
                  <a:cubicBezTo>
                    <a:pt x="706" y="596"/>
                    <a:pt x="704" y="598"/>
                    <a:pt x="702" y="600"/>
                  </a:cubicBezTo>
                  <a:cubicBezTo>
                    <a:pt x="700" y="601"/>
                    <a:pt x="699" y="602"/>
                    <a:pt x="697" y="603"/>
                  </a:cubicBezTo>
                  <a:cubicBezTo>
                    <a:pt x="696" y="603"/>
                    <a:pt x="694" y="604"/>
                    <a:pt x="693" y="604"/>
                  </a:cubicBezTo>
                  <a:cubicBezTo>
                    <a:pt x="691" y="604"/>
                    <a:pt x="690" y="604"/>
                    <a:pt x="688" y="604"/>
                  </a:cubicBezTo>
                  <a:lnTo>
                    <a:pt x="655" y="596"/>
                  </a:lnTo>
                  <a:lnTo>
                    <a:pt x="518" y="733"/>
                  </a:lnTo>
                  <a:cubicBezTo>
                    <a:pt x="517" y="734"/>
                    <a:pt x="516" y="735"/>
                    <a:pt x="515" y="735"/>
                  </a:cubicBezTo>
                  <a:cubicBezTo>
                    <a:pt x="514" y="735"/>
                    <a:pt x="512" y="735"/>
                    <a:pt x="511" y="734"/>
                  </a:cubicBezTo>
                  <a:cubicBezTo>
                    <a:pt x="509" y="734"/>
                    <a:pt x="507" y="733"/>
                    <a:pt x="505" y="731"/>
                  </a:cubicBezTo>
                  <a:cubicBezTo>
                    <a:pt x="503" y="729"/>
                    <a:pt x="501" y="727"/>
                    <a:pt x="498" y="724"/>
                  </a:cubicBezTo>
                  <a:cubicBezTo>
                    <a:pt x="495" y="721"/>
                    <a:pt x="493" y="719"/>
                    <a:pt x="491" y="717"/>
                  </a:cubicBezTo>
                  <a:cubicBezTo>
                    <a:pt x="489" y="714"/>
                    <a:pt x="488" y="713"/>
                    <a:pt x="488" y="711"/>
                  </a:cubicBezTo>
                  <a:cubicBezTo>
                    <a:pt x="487" y="710"/>
                    <a:pt x="487" y="708"/>
                    <a:pt x="487" y="707"/>
                  </a:cubicBezTo>
                  <a:cubicBezTo>
                    <a:pt x="487" y="706"/>
                    <a:pt x="488" y="705"/>
                    <a:pt x="489" y="704"/>
                  </a:cubicBezTo>
                  <a:lnTo>
                    <a:pt x="607" y="585"/>
                  </a:lnTo>
                  <a:lnTo>
                    <a:pt x="576" y="578"/>
                  </a:lnTo>
                  <a:cubicBezTo>
                    <a:pt x="573" y="577"/>
                    <a:pt x="572" y="576"/>
                    <a:pt x="572" y="573"/>
                  </a:cubicBezTo>
                  <a:cubicBezTo>
                    <a:pt x="573" y="570"/>
                    <a:pt x="576" y="567"/>
                    <a:pt x="581" y="562"/>
                  </a:cubicBezTo>
                  <a:cubicBezTo>
                    <a:pt x="583" y="559"/>
                    <a:pt x="585" y="558"/>
                    <a:pt x="586" y="556"/>
                  </a:cubicBezTo>
                  <a:cubicBezTo>
                    <a:pt x="588" y="555"/>
                    <a:pt x="589" y="554"/>
                    <a:pt x="591" y="553"/>
                  </a:cubicBezTo>
                  <a:cubicBezTo>
                    <a:pt x="593" y="552"/>
                    <a:pt x="594" y="552"/>
                    <a:pt x="596" y="552"/>
                  </a:cubicBezTo>
                  <a:cubicBezTo>
                    <a:pt x="597" y="552"/>
                    <a:pt x="599" y="552"/>
                    <a:pt x="600" y="552"/>
                  </a:cubicBezTo>
                  <a:lnTo>
                    <a:pt x="633" y="560"/>
                  </a:lnTo>
                  <a:lnTo>
                    <a:pt x="725" y="468"/>
                  </a:lnTo>
                  <a:cubicBezTo>
                    <a:pt x="726" y="467"/>
                    <a:pt x="727" y="466"/>
                    <a:pt x="728" y="466"/>
                  </a:cubicBezTo>
                  <a:cubicBezTo>
                    <a:pt x="729" y="466"/>
                    <a:pt x="731" y="466"/>
                    <a:pt x="732" y="467"/>
                  </a:cubicBezTo>
                  <a:cubicBezTo>
                    <a:pt x="734" y="467"/>
                    <a:pt x="735" y="468"/>
                    <a:pt x="738" y="470"/>
                  </a:cubicBezTo>
                  <a:cubicBezTo>
                    <a:pt x="740" y="472"/>
                    <a:pt x="742" y="474"/>
                    <a:pt x="745" y="477"/>
                  </a:cubicBezTo>
                  <a:cubicBezTo>
                    <a:pt x="748" y="480"/>
                    <a:pt x="750" y="482"/>
                    <a:pt x="752" y="484"/>
                  </a:cubicBezTo>
                  <a:cubicBezTo>
                    <a:pt x="754" y="486"/>
                    <a:pt x="755" y="488"/>
                    <a:pt x="755" y="490"/>
                  </a:cubicBezTo>
                  <a:cubicBezTo>
                    <a:pt x="756" y="491"/>
                    <a:pt x="756" y="493"/>
                    <a:pt x="756" y="494"/>
                  </a:cubicBezTo>
                  <a:cubicBezTo>
                    <a:pt x="756" y="495"/>
                    <a:pt x="755" y="496"/>
                    <a:pt x="754" y="497"/>
                  </a:cubicBezTo>
                  <a:lnTo>
                    <a:pt x="681" y="570"/>
                  </a:lnTo>
                  <a:lnTo>
                    <a:pt x="712" y="577"/>
                  </a:lnTo>
                  <a:cubicBezTo>
                    <a:pt x="715" y="578"/>
                    <a:pt x="717" y="580"/>
                    <a:pt x="716" y="583"/>
                  </a:cubicBezTo>
                  <a:cubicBezTo>
                    <a:pt x="716" y="585"/>
                    <a:pt x="713" y="589"/>
                    <a:pt x="708" y="594"/>
                  </a:cubicBezTo>
                  <a:close/>
                  <a:moveTo>
                    <a:pt x="696" y="911"/>
                  </a:moveTo>
                  <a:cubicBezTo>
                    <a:pt x="694" y="913"/>
                    <a:pt x="693" y="913"/>
                    <a:pt x="691" y="913"/>
                  </a:cubicBezTo>
                  <a:cubicBezTo>
                    <a:pt x="689" y="913"/>
                    <a:pt x="688" y="912"/>
                    <a:pt x="686" y="911"/>
                  </a:cubicBezTo>
                  <a:cubicBezTo>
                    <a:pt x="684" y="910"/>
                    <a:pt x="681" y="907"/>
                    <a:pt x="678" y="904"/>
                  </a:cubicBezTo>
                  <a:cubicBezTo>
                    <a:pt x="675" y="901"/>
                    <a:pt x="672" y="898"/>
                    <a:pt x="671" y="896"/>
                  </a:cubicBezTo>
                  <a:cubicBezTo>
                    <a:pt x="670" y="894"/>
                    <a:pt x="669" y="892"/>
                    <a:pt x="669" y="891"/>
                  </a:cubicBezTo>
                  <a:cubicBezTo>
                    <a:pt x="669" y="889"/>
                    <a:pt x="669" y="888"/>
                    <a:pt x="671" y="886"/>
                  </a:cubicBezTo>
                  <a:lnTo>
                    <a:pt x="686" y="870"/>
                  </a:lnTo>
                  <a:cubicBezTo>
                    <a:pt x="672" y="871"/>
                    <a:pt x="659" y="869"/>
                    <a:pt x="646" y="864"/>
                  </a:cubicBezTo>
                  <a:cubicBezTo>
                    <a:pt x="633" y="860"/>
                    <a:pt x="622" y="853"/>
                    <a:pt x="613" y="843"/>
                  </a:cubicBezTo>
                  <a:cubicBezTo>
                    <a:pt x="604" y="835"/>
                    <a:pt x="598" y="826"/>
                    <a:pt x="593" y="817"/>
                  </a:cubicBezTo>
                  <a:cubicBezTo>
                    <a:pt x="589" y="809"/>
                    <a:pt x="586" y="800"/>
                    <a:pt x="585" y="791"/>
                  </a:cubicBezTo>
                  <a:cubicBezTo>
                    <a:pt x="585" y="782"/>
                    <a:pt x="586" y="773"/>
                    <a:pt x="589" y="764"/>
                  </a:cubicBezTo>
                  <a:cubicBezTo>
                    <a:pt x="593" y="756"/>
                    <a:pt x="598" y="748"/>
                    <a:pt x="606" y="740"/>
                  </a:cubicBezTo>
                  <a:cubicBezTo>
                    <a:pt x="615" y="731"/>
                    <a:pt x="624" y="725"/>
                    <a:pt x="635" y="722"/>
                  </a:cubicBezTo>
                  <a:cubicBezTo>
                    <a:pt x="645" y="719"/>
                    <a:pt x="656" y="719"/>
                    <a:pt x="667" y="721"/>
                  </a:cubicBezTo>
                  <a:cubicBezTo>
                    <a:pt x="678" y="724"/>
                    <a:pt x="690" y="729"/>
                    <a:pt x="702" y="737"/>
                  </a:cubicBezTo>
                  <a:cubicBezTo>
                    <a:pt x="714" y="744"/>
                    <a:pt x="726" y="754"/>
                    <a:pt x="738" y="767"/>
                  </a:cubicBezTo>
                  <a:lnTo>
                    <a:pt x="760" y="789"/>
                  </a:lnTo>
                  <a:lnTo>
                    <a:pt x="773" y="776"/>
                  </a:lnTo>
                  <a:cubicBezTo>
                    <a:pt x="779" y="770"/>
                    <a:pt x="784" y="764"/>
                    <a:pt x="787" y="758"/>
                  </a:cubicBezTo>
                  <a:cubicBezTo>
                    <a:pt x="790" y="752"/>
                    <a:pt x="792" y="746"/>
                    <a:pt x="793" y="740"/>
                  </a:cubicBezTo>
                  <a:cubicBezTo>
                    <a:pt x="793" y="734"/>
                    <a:pt x="791" y="728"/>
                    <a:pt x="788" y="722"/>
                  </a:cubicBezTo>
                  <a:cubicBezTo>
                    <a:pt x="785" y="716"/>
                    <a:pt x="781" y="709"/>
                    <a:pt x="774" y="702"/>
                  </a:cubicBezTo>
                  <a:cubicBezTo>
                    <a:pt x="767" y="695"/>
                    <a:pt x="759" y="690"/>
                    <a:pt x="752" y="686"/>
                  </a:cubicBezTo>
                  <a:cubicBezTo>
                    <a:pt x="744" y="682"/>
                    <a:pt x="738" y="678"/>
                    <a:pt x="731" y="676"/>
                  </a:cubicBezTo>
                  <a:cubicBezTo>
                    <a:pt x="725" y="674"/>
                    <a:pt x="719" y="672"/>
                    <a:pt x="715" y="671"/>
                  </a:cubicBezTo>
                  <a:cubicBezTo>
                    <a:pt x="710" y="670"/>
                    <a:pt x="707" y="669"/>
                    <a:pt x="706" y="667"/>
                  </a:cubicBezTo>
                  <a:cubicBezTo>
                    <a:pt x="705" y="666"/>
                    <a:pt x="704" y="665"/>
                    <a:pt x="704" y="664"/>
                  </a:cubicBezTo>
                  <a:cubicBezTo>
                    <a:pt x="704" y="663"/>
                    <a:pt x="704" y="662"/>
                    <a:pt x="704" y="660"/>
                  </a:cubicBezTo>
                  <a:cubicBezTo>
                    <a:pt x="705" y="659"/>
                    <a:pt x="705" y="657"/>
                    <a:pt x="707" y="655"/>
                  </a:cubicBezTo>
                  <a:cubicBezTo>
                    <a:pt x="708" y="654"/>
                    <a:pt x="709" y="652"/>
                    <a:pt x="711" y="650"/>
                  </a:cubicBezTo>
                  <a:cubicBezTo>
                    <a:pt x="714" y="647"/>
                    <a:pt x="717" y="645"/>
                    <a:pt x="719" y="644"/>
                  </a:cubicBezTo>
                  <a:cubicBezTo>
                    <a:pt x="721" y="642"/>
                    <a:pt x="724" y="642"/>
                    <a:pt x="727" y="642"/>
                  </a:cubicBezTo>
                  <a:cubicBezTo>
                    <a:pt x="730" y="642"/>
                    <a:pt x="734" y="643"/>
                    <a:pt x="740" y="645"/>
                  </a:cubicBezTo>
                  <a:cubicBezTo>
                    <a:pt x="746" y="647"/>
                    <a:pt x="753" y="649"/>
                    <a:pt x="759" y="652"/>
                  </a:cubicBezTo>
                  <a:cubicBezTo>
                    <a:pt x="766" y="656"/>
                    <a:pt x="773" y="660"/>
                    <a:pt x="780" y="665"/>
                  </a:cubicBezTo>
                  <a:cubicBezTo>
                    <a:pt x="787" y="670"/>
                    <a:pt x="794" y="675"/>
                    <a:pt x="800" y="681"/>
                  </a:cubicBezTo>
                  <a:cubicBezTo>
                    <a:pt x="812" y="693"/>
                    <a:pt x="820" y="704"/>
                    <a:pt x="825" y="714"/>
                  </a:cubicBezTo>
                  <a:cubicBezTo>
                    <a:pt x="831" y="725"/>
                    <a:pt x="834" y="735"/>
                    <a:pt x="833" y="745"/>
                  </a:cubicBezTo>
                  <a:cubicBezTo>
                    <a:pt x="833" y="755"/>
                    <a:pt x="831" y="765"/>
                    <a:pt x="826" y="775"/>
                  </a:cubicBezTo>
                  <a:cubicBezTo>
                    <a:pt x="820" y="784"/>
                    <a:pt x="813" y="794"/>
                    <a:pt x="803" y="804"/>
                  </a:cubicBezTo>
                  <a:lnTo>
                    <a:pt x="696" y="911"/>
                  </a:lnTo>
                  <a:close/>
                  <a:moveTo>
                    <a:pt x="739" y="810"/>
                  </a:moveTo>
                  <a:lnTo>
                    <a:pt x="714" y="785"/>
                  </a:lnTo>
                  <a:cubicBezTo>
                    <a:pt x="706" y="777"/>
                    <a:pt x="699" y="771"/>
                    <a:pt x="692" y="766"/>
                  </a:cubicBezTo>
                  <a:cubicBezTo>
                    <a:pt x="684" y="761"/>
                    <a:pt x="677" y="759"/>
                    <a:pt x="671" y="757"/>
                  </a:cubicBezTo>
                  <a:cubicBezTo>
                    <a:pt x="664" y="756"/>
                    <a:pt x="658" y="756"/>
                    <a:pt x="653" y="758"/>
                  </a:cubicBezTo>
                  <a:cubicBezTo>
                    <a:pt x="647" y="760"/>
                    <a:pt x="642" y="764"/>
                    <a:pt x="637" y="768"/>
                  </a:cubicBezTo>
                  <a:cubicBezTo>
                    <a:pt x="629" y="777"/>
                    <a:pt x="625" y="786"/>
                    <a:pt x="625" y="796"/>
                  </a:cubicBezTo>
                  <a:cubicBezTo>
                    <a:pt x="626" y="806"/>
                    <a:pt x="631" y="816"/>
                    <a:pt x="640" y="825"/>
                  </a:cubicBezTo>
                  <a:cubicBezTo>
                    <a:pt x="648" y="833"/>
                    <a:pt x="657" y="838"/>
                    <a:pt x="667" y="841"/>
                  </a:cubicBezTo>
                  <a:cubicBezTo>
                    <a:pt x="678" y="843"/>
                    <a:pt x="690" y="844"/>
                    <a:pt x="706" y="843"/>
                  </a:cubicBezTo>
                  <a:lnTo>
                    <a:pt x="739" y="810"/>
                  </a:lnTo>
                  <a:close/>
                  <a:moveTo>
                    <a:pt x="889" y="1018"/>
                  </a:moveTo>
                  <a:cubicBezTo>
                    <a:pt x="881" y="1026"/>
                    <a:pt x="872" y="1031"/>
                    <a:pt x="863" y="1035"/>
                  </a:cubicBezTo>
                  <a:cubicBezTo>
                    <a:pt x="853" y="1038"/>
                    <a:pt x="844" y="1039"/>
                    <a:pt x="834" y="1038"/>
                  </a:cubicBezTo>
                  <a:cubicBezTo>
                    <a:pt x="824" y="1037"/>
                    <a:pt x="814" y="1034"/>
                    <a:pt x="804" y="1028"/>
                  </a:cubicBezTo>
                  <a:cubicBezTo>
                    <a:pt x="794" y="1023"/>
                    <a:pt x="785" y="1015"/>
                    <a:pt x="775" y="1006"/>
                  </a:cubicBezTo>
                  <a:cubicBezTo>
                    <a:pt x="770" y="1001"/>
                    <a:pt x="765" y="995"/>
                    <a:pt x="761" y="989"/>
                  </a:cubicBezTo>
                  <a:cubicBezTo>
                    <a:pt x="756" y="983"/>
                    <a:pt x="753" y="977"/>
                    <a:pt x="750" y="972"/>
                  </a:cubicBezTo>
                  <a:cubicBezTo>
                    <a:pt x="747" y="966"/>
                    <a:pt x="745" y="961"/>
                    <a:pt x="744" y="957"/>
                  </a:cubicBezTo>
                  <a:cubicBezTo>
                    <a:pt x="743" y="953"/>
                    <a:pt x="742" y="949"/>
                    <a:pt x="742" y="947"/>
                  </a:cubicBezTo>
                  <a:cubicBezTo>
                    <a:pt x="742" y="944"/>
                    <a:pt x="742" y="942"/>
                    <a:pt x="744" y="939"/>
                  </a:cubicBezTo>
                  <a:cubicBezTo>
                    <a:pt x="745" y="936"/>
                    <a:pt x="748" y="933"/>
                    <a:pt x="752" y="930"/>
                  </a:cubicBezTo>
                  <a:cubicBezTo>
                    <a:pt x="754" y="927"/>
                    <a:pt x="756" y="926"/>
                    <a:pt x="758" y="924"/>
                  </a:cubicBezTo>
                  <a:cubicBezTo>
                    <a:pt x="759" y="923"/>
                    <a:pt x="761" y="922"/>
                    <a:pt x="762" y="921"/>
                  </a:cubicBezTo>
                  <a:cubicBezTo>
                    <a:pt x="764" y="921"/>
                    <a:pt x="765" y="921"/>
                    <a:pt x="766" y="921"/>
                  </a:cubicBezTo>
                  <a:cubicBezTo>
                    <a:pt x="767" y="921"/>
                    <a:pt x="768" y="922"/>
                    <a:pt x="769" y="923"/>
                  </a:cubicBezTo>
                  <a:cubicBezTo>
                    <a:pt x="770" y="924"/>
                    <a:pt x="771" y="927"/>
                    <a:pt x="772" y="931"/>
                  </a:cubicBezTo>
                  <a:cubicBezTo>
                    <a:pt x="773" y="935"/>
                    <a:pt x="774" y="940"/>
                    <a:pt x="776" y="945"/>
                  </a:cubicBezTo>
                  <a:cubicBezTo>
                    <a:pt x="778" y="951"/>
                    <a:pt x="781" y="957"/>
                    <a:pt x="784" y="964"/>
                  </a:cubicBezTo>
                  <a:cubicBezTo>
                    <a:pt x="788" y="970"/>
                    <a:pt x="793" y="977"/>
                    <a:pt x="799" y="983"/>
                  </a:cubicBezTo>
                  <a:cubicBezTo>
                    <a:pt x="804" y="988"/>
                    <a:pt x="809" y="992"/>
                    <a:pt x="814" y="995"/>
                  </a:cubicBezTo>
                  <a:cubicBezTo>
                    <a:pt x="819" y="998"/>
                    <a:pt x="824" y="1000"/>
                    <a:pt x="829" y="1001"/>
                  </a:cubicBezTo>
                  <a:cubicBezTo>
                    <a:pt x="834" y="1002"/>
                    <a:pt x="839" y="1002"/>
                    <a:pt x="844" y="1000"/>
                  </a:cubicBezTo>
                  <a:cubicBezTo>
                    <a:pt x="849" y="998"/>
                    <a:pt x="853" y="995"/>
                    <a:pt x="858" y="991"/>
                  </a:cubicBezTo>
                  <a:cubicBezTo>
                    <a:pt x="862" y="987"/>
                    <a:pt x="865" y="982"/>
                    <a:pt x="866" y="976"/>
                  </a:cubicBezTo>
                  <a:cubicBezTo>
                    <a:pt x="866" y="971"/>
                    <a:pt x="866" y="965"/>
                    <a:pt x="865" y="959"/>
                  </a:cubicBezTo>
                  <a:cubicBezTo>
                    <a:pt x="863" y="953"/>
                    <a:pt x="861" y="947"/>
                    <a:pt x="858" y="940"/>
                  </a:cubicBezTo>
                  <a:cubicBezTo>
                    <a:pt x="855" y="934"/>
                    <a:pt x="852" y="927"/>
                    <a:pt x="849" y="920"/>
                  </a:cubicBezTo>
                  <a:cubicBezTo>
                    <a:pt x="846" y="913"/>
                    <a:pt x="844" y="906"/>
                    <a:pt x="842" y="898"/>
                  </a:cubicBezTo>
                  <a:cubicBezTo>
                    <a:pt x="839" y="891"/>
                    <a:pt x="838" y="884"/>
                    <a:pt x="838" y="876"/>
                  </a:cubicBezTo>
                  <a:cubicBezTo>
                    <a:pt x="838" y="869"/>
                    <a:pt x="839" y="861"/>
                    <a:pt x="842" y="854"/>
                  </a:cubicBezTo>
                  <a:cubicBezTo>
                    <a:pt x="845" y="847"/>
                    <a:pt x="850" y="839"/>
                    <a:pt x="857" y="832"/>
                  </a:cubicBezTo>
                  <a:cubicBezTo>
                    <a:pt x="863" y="826"/>
                    <a:pt x="870" y="821"/>
                    <a:pt x="878" y="818"/>
                  </a:cubicBezTo>
                  <a:cubicBezTo>
                    <a:pt x="886" y="815"/>
                    <a:pt x="895" y="813"/>
                    <a:pt x="904" y="814"/>
                  </a:cubicBezTo>
                  <a:cubicBezTo>
                    <a:pt x="913" y="814"/>
                    <a:pt x="923" y="817"/>
                    <a:pt x="933" y="822"/>
                  </a:cubicBezTo>
                  <a:cubicBezTo>
                    <a:pt x="942" y="826"/>
                    <a:pt x="952" y="833"/>
                    <a:pt x="962" y="843"/>
                  </a:cubicBezTo>
                  <a:cubicBezTo>
                    <a:pt x="966" y="847"/>
                    <a:pt x="970" y="852"/>
                    <a:pt x="974" y="857"/>
                  </a:cubicBezTo>
                  <a:cubicBezTo>
                    <a:pt x="977" y="862"/>
                    <a:pt x="980" y="867"/>
                    <a:pt x="982" y="871"/>
                  </a:cubicBezTo>
                  <a:cubicBezTo>
                    <a:pt x="985" y="876"/>
                    <a:pt x="987" y="880"/>
                    <a:pt x="988" y="883"/>
                  </a:cubicBezTo>
                  <a:cubicBezTo>
                    <a:pt x="989" y="887"/>
                    <a:pt x="990" y="890"/>
                    <a:pt x="990" y="892"/>
                  </a:cubicBezTo>
                  <a:cubicBezTo>
                    <a:pt x="990" y="894"/>
                    <a:pt x="990" y="896"/>
                    <a:pt x="990" y="897"/>
                  </a:cubicBezTo>
                  <a:cubicBezTo>
                    <a:pt x="990" y="898"/>
                    <a:pt x="989" y="899"/>
                    <a:pt x="988" y="900"/>
                  </a:cubicBezTo>
                  <a:cubicBezTo>
                    <a:pt x="988" y="901"/>
                    <a:pt x="987" y="903"/>
                    <a:pt x="986" y="904"/>
                  </a:cubicBezTo>
                  <a:cubicBezTo>
                    <a:pt x="985" y="906"/>
                    <a:pt x="983" y="907"/>
                    <a:pt x="981" y="909"/>
                  </a:cubicBezTo>
                  <a:cubicBezTo>
                    <a:pt x="979" y="911"/>
                    <a:pt x="977" y="913"/>
                    <a:pt x="976" y="914"/>
                  </a:cubicBezTo>
                  <a:cubicBezTo>
                    <a:pt x="974" y="915"/>
                    <a:pt x="973" y="916"/>
                    <a:pt x="971" y="917"/>
                  </a:cubicBezTo>
                  <a:cubicBezTo>
                    <a:pt x="970" y="917"/>
                    <a:pt x="969" y="917"/>
                    <a:pt x="968" y="917"/>
                  </a:cubicBezTo>
                  <a:cubicBezTo>
                    <a:pt x="967" y="917"/>
                    <a:pt x="966" y="917"/>
                    <a:pt x="965" y="916"/>
                  </a:cubicBezTo>
                  <a:cubicBezTo>
                    <a:pt x="964" y="915"/>
                    <a:pt x="963" y="913"/>
                    <a:pt x="962" y="909"/>
                  </a:cubicBezTo>
                  <a:cubicBezTo>
                    <a:pt x="962" y="906"/>
                    <a:pt x="961" y="902"/>
                    <a:pt x="959" y="897"/>
                  </a:cubicBezTo>
                  <a:cubicBezTo>
                    <a:pt x="957" y="893"/>
                    <a:pt x="955" y="888"/>
                    <a:pt x="952" y="882"/>
                  </a:cubicBezTo>
                  <a:cubicBezTo>
                    <a:pt x="949" y="877"/>
                    <a:pt x="944" y="871"/>
                    <a:pt x="939" y="865"/>
                  </a:cubicBezTo>
                  <a:cubicBezTo>
                    <a:pt x="934" y="860"/>
                    <a:pt x="929" y="857"/>
                    <a:pt x="924" y="854"/>
                  </a:cubicBezTo>
                  <a:cubicBezTo>
                    <a:pt x="919" y="851"/>
                    <a:pt x="915" y="850"/>
                    <a:pt x="910" y="849"/>
                  </a:cubicBezTo>
                  <a:cubicBezTo>
                    <a:pt x="906" y="849"/>
                    <a:pt x="901" y="850"/>
                    <a:pt x="897" y="851"/>
                  </a:cubicBezTo>
                  <a:cubicBezTo>
                    <a:pt x="893" y="853"/>
                    <a:pt x="890" y="855"/>
                    <a:pt x="886" y="859"/>
                  </a:cubicBezTo>
                  <a:cubicBezTo>
                    <a:pt x="882" y="863"/>
                    <a:pt x="879" y="868"/>
                    <a:pt x="878" y="874"/>
                  </a:cubicBezTo>
                  <a:cubicBezTo>
                    <a:pt x="877" y="879"/>
                    <a:pt x="878" y="885"/>
                    <a:pt x="879" y="891"/>
                  </a:cubicBezTo>
                  <a:cubicBezTo>
                    <a:pt x="881" y="897"/>
                    <a:pt x="883" y="904"/>
                    <a:pt x="886" y="910"/>
                  </a:cubicBezTo>
                  <a:cubicBezTo>
                    <a:pt x="889" y="917"/>
                    <a:pt x="892" y="924"/>
                    <a:pt x="895" y="931"/>
                  </a:cubicBezTo>
                  <a:cubicBezTo>
                    <a:pt x="898" y="938"/>
                    <a:pt x="900" y="945"/>
                    <a:pt x="903" y="953"/>
                  </a:cubicBezTo>
                  <a:cubicBezTo>
                    <a:pt x="905" y="960"/>
                    <a:pt x="907" y="967"/>
                    <a:pt x="907" y="975"/>
                  </a:cubicBezTo>
                  <a:cubicBezTo>
                    <a:pt x="907" y="982"/>
                    <a:pt x="906" y="989"/>
                    <a:pt x="903" y="996"/>
                  </a:cubicBezTo>
                  <a:cubicBezTo>
                    <a:pt x="900" y="1004"/>
                    <a:pt x="896" y="1011"/>
                    <a:pt x="889" y="1018"/>
                  </a:cubicBezTo>
                  <a:close/>
                  <a:moveTo>
                    <a:pt x="991" y="1190"/>
                  </a:moveTo>
                  <a:cubicBezTo>
                    <a:pt x="989" y="1193"/>
                    <a:pt x="987" y="1194"/>
                    <a:pt x="985" y="1196"/>
                  </a:cubicBezTo>
                  <a:cubicBezTo>
                    <a:pt x="983" y="1197"/>
                    <a:pt x="981" y="1198"/>
                    <a:pt x="979" y="1198"/>
                  </a:cubicBezTo>
                  <a:cubicBezTo>
                    <a:pt x="978" y="1199"/>
                    <a:pt x="977" y="1199"/>
                    <a:pt x="975" y="1198"/>
                  </a:cubicBezTo>
                  <a:cubicBezTo>
                    <a:pt x="974" y="1198"/>
                    <a:pt x="973" y="1197"/>
                    <a:pt x="972" y="1196"/>
                  </a:cubicBezTo>
                  <a:lnTo>
                    <a:pt x="874" y="1098"/>
                  </a:lnTo>
                  <a:cubicBezTo>
                    <a:pt x="872" y="1096"/>
                    <a:pt x="871" y="1093"/>
                    <a:pt x="871" y="1090"/>
                  </a:cubicBezTo>
                  <a:cubicBezTo>
                    <a:pt x="871" y="1087"/>
                    <a:pt x="873" y="1083"/>
                    <a:pt x="877" y="1079"/>
                  </a:cubicBezTo>
                  <a:lnTo>
                    <a:pt x="883" y="1073"/>
                  </a:lnTo>
                  <a:cubicBezTo>
                    <a:pt x="884" y="1071"/>
                    <a:pt x="886" y="1070"/>
                    <a:pt x="887" y="1069"/>
                  </a:cubicBezTo>
                  <a:cubicBezTo>
                    <a:pt x="889" y="1068"/>
                    <a:pt x="890" y="1067"/>
                    <a:pt x="892" y="1066"/>
                  </a:cubicBezTo>
                  <a:cubicBezTo>
                    <a:pt x="894" y="1065"/>
                    <a:pt x="896" y="1065"/>
                    <a:pt x="898" y="1064"/>
                  </a:cubicBezTo>
                  <a:cubicBezTo>
                    <a:pt x="901" y="1063"/>
                    <a:pt x="903" y="1063"/>
                    <a:pt x="906" y="1062"/>
                  </a:cubicBezTo>
                  <a:lnTo>
                    <a:pt x="1086" y="1023"/>
                  </a:lnTo>
                  <a:lnTo>
                    <a:pt x="1018" y="955"/>
                  </a:lnTo>
                  <a:cubicBezTo>
                    <a:pt x="1016" y="953"/>
                    <a:pt x="1015" y="950"/>
                    <a:pt x="1016" y="947"/>
                  </a:cubicBezTo>
                  <a:cubicBezTo>
                    <a:pt x="1017" y="944"/>
                    <a:pt x="1020" y="941"/>
                    <a:pt x="1024" y="936"/>
                  </a:cubicBezTo>
                  <a:cubicBezTo>
                    <a:pt x="1026" y="934"/>
                    <a:pt x="1028" y="932"/>
                    <a:pt x="1030" y="931"/>
                  </a:cubicBezTo>
                  <a:cubicBezTo>
                    <a:pt x="1032" y="930"/>
                    <a:pt x="1033" y="929"/>
                    <a:pt x="1035" y="928"/>
                  </a:cubicBezTo>
                  <a:cubicBezTo>
                    <a:pt x="1036" y="928"/>
                    <a:pt x="1038" y="928"/>
                    <a:pt x="1039" y="928"/>
                  </a:cubicBezTo>
                  <a:cubicBezTo>
                    <a:pt x="1040" y="929"/>
                    <a:pt x="1041" y="929"/>
                    <a:pt x="1042" y="930"/>
                  </a:cubicBezTo>
                  <a:lnTo>
                    <a:pt x="1134" y="1021"/>
                  </a:lnTo>
                  <a:cubicBezTo>
                    <a:pt x="1135" y="1023"/>
                    <a:pt x="1136" y="1024"/>
                    <a:pt x="1136" y="1025"/>
                  </a:cubicBezTo>
                  <a:cubicBezTo>
                    <a:pt x="1137" y="1027"/>
                    <a:pt x="1137" y="1028"/>
                    <a:pt x="1137" y="1030"/>
                  </a:cubicBezTo>
                  <a:cubicBezTo>
                    <a:pt x="1137" y="1031"/>
                    <a:pt x="1137" y="1033"/>
                    <a:pt x="1136" y="1035"/>
                  </a:cubicBezTo>
                  <a:cubicBezTo>
                    <a:pt x="1135" y="1036"/>
                    <a:pt x="1133" y="1038"/>
                    <a:pt x="1131" y="1040"/>
                  </a:cubicBezTo>
                  <a:lnTo>
                    <a:pt x="1126" y="1046"/>
                  </a:lnTo>
                  <a:cubicBezTo>
                    <a:pt x="1124" y="1048"/>
                    <a:pt x="1122" y="1049"/>
                    <a:pt x="1121" y="1050"/>
                  </a:cubicBezTo>
                  <a:cubicBezTo>
                    <a:pt x="1119" y="1051"/>
                    <a:pt x="1117" y="1052"/>
                    <a:pt x="1116" y="1053"/>
                  </a:cubicBezTo>
                  <a:cubicBezTo>
                    <a:pt x="1114" y="1054"/>
                    <a:pt x="1112" y="1055"/>
                    <a:pt x="1109" y="1056"/>
                  </a:cubicBezTo>
                  <a:cubicBezTo>
                    <a:pt x="1107" y="1056"/>
                    <a:pt x="1104" y="1057"/>
                    <a:pt x="1101" y="1058"/>
                  </a:cubicBezTo>
                  <a:lnTo>
                    <a:pt x="922" y="1097"/>
                  </a:lnTo>
                  <a:lnTo>
                    <a:pt x="997" y="1172"/>
                  </a:lnTo>
                  <a:cubicBezTo>
                    <a:pt x="998" y="1173"/>
                    <a:pt x="998" y="1174"/>
                    <a:pt x="999" y="1175"/>
                  </a:cubicBezTo>
                  <a:cubicBezTo>
                    <a:pt x="999" y="1176"/>
                    <a:pt x="999" y="1177"/>
                    <a:pt x="999" y="1179"/>
                  </a:cubicBezTo>
                  <a:cubicBezTo>
                    <a:pt x="998" y="1180"/>
                    <a:pt x="997" y="1182"/>
                    <a:pt x="996" y="1184"/>
                  </a:cubicBezTo>
                  <a:cubicBezTo>
                    <a:pt x="995" y="1186"/>
                    <a:pt x="993" y="1188"/>
                    <a:pt x="991" y="1190"/>
                  </a:cubicBezTo>
                  <a:close/>
                  <a:moveTo>
                    <a:pt x="1251" y="1293"/>
                  </a:moveTo>
                  <a:cubicBezTo>
                    <a:pt x="1246" y="1298"/>
                    <a:pt x="1242" y="1300"/>
                    <a:pt x="1237" y="1300"/>
                  </a:cubicBezTo>
                  <a:cubicBezTo>
                    <a:pt x="1233" y="1299"/>
                    <a:pt x="1230" y="1298"/>
                    <a:pt x="1227" y="1295"/>
                  </a:cubicBezTo>
                  <a:lnTo>
                    <a:pt x="1122" y="1190"/>
                  </a:lnTo>
                  <a:cubicBezTo>
                    <a:pt x="1113" y="1199"/>
                    <a:pt x="1106" y="1207"/>
                    <a:pt x="1101" y="1216"/>
                  </a:cubicBezTo>
                  <a:cubicBezTo>
                    <a:pt x="1095" y="1225"/>
                    <a:pt x="1092" y="1234"/>
                    <a:pt x="1091" y="1243"/>
                  </a:cubicBezTo>
                  <a:cubicBezTo>
                    <a:pt x="1090" y="1253"/>
                    <a:pt x="1092" y="1262"/>
                    <a:pt x="1096" y="1271"/>
                  </a:cubicBezTo>
                  <a:cubicBezTo>
                    <a:pt x="1100" y="1281"/>
                    <a:pt x="1107" y="1290"/>
                    <a:pt x="1116" y="1300"/>
                  </a:cubicBezTo>
                  <a:cubicBezTo>
                    <a:pt x="1124" y="1307"/>
                    <a:pt x="1131" y="1313"/>
                    <a:pt x="1138" y="1318"/>
                  </a:cubicBezTo>
                  <a:cubicBezTo>
                    <a:pt x="1145" y="1323"/>
                    <a:pt x="1152" y="1326"/>
                    <a:pt x="1158" y="1329"/>
                  </a:cubicBezTo>
                  <a:cubicBezTo>
                    <a:pt x="1164" y="1332"/>
                    <a:pt x="1169" y="1334"/>
                    <a:pt x="1173" y="1336"/>
                  </a:cubicBezTo>
                  <a:cubicBezTo>
                    <a:pt x="1177" y="1337"/>
                    <a:pt x="1179" y="1339"/>
                    <a:pt x="1181" y="1340"/>
                  </a:cubicBezTo>
                  <a:cubicBezTo>
                    <a:pt x="1182" y="1341"/>
                    <a:pt x="1182" y="1342"/>
                    <a:pt x="1182" y="1343"/>
                  </a:cubicBezTo>
                  <a:cubicBezTo>
                    <a:pt x="1183" y="1344"/>
                    <a:pt x="1182" y="1345"/>
                    <a:pt x="1182" y="1346"/>
                  </a:cubicBezTo>
                  <a:cubicBezTo>
                    <a:pt x="1182" y="1348"/>
                    <a:pt x="1181" y="1349"/>
                    <a:pt x="1179" y="1351"/>
                  </a:cubicBezTo>
                  <a:cubicBezTo>
                    <a:pt x="1178" y="1352"/>
                    <a:pt x="1176" y="1354"/>
                    <a:pt x="1174" y="1356"/>
                  </a:cubicBezTo>
                  <a:cubicBezTo>
                    <a:pt x="1173" y="1358"/>
                    <a:pt x="1171" y="1359"/>
                    <a:pt x="1170" y="1360"/>
                  </a:cubicBezTo>
                  <a:cubicBezTo>
                    <a:pt x="1169" y="1361"/>
                    <a:pt x="1168" y="1362"/>
                    <a:pt x="1167" y="1363"/>
                  </a:cubicBezTo>
                  <a:cubicBezTo>
                    <a:pt x="1166" y="1363"/>
                    <a:pt x="1164" y="1364"/>
                    <a:pt x="1163" y="1364"/>
                  </a:cubicBezTo>
                  <a:cubicBezTo>
                    <a:pt x="1162" y="1364"/>
                    <a:pt x="1161" y="1365"/>
                    <a:pt x="1160" y="1365"/>
                  </a:cubicBezTo>
                  <a:cubicBezTo>
                    <a:pt x="1158" y="1365"/>
                    <a:pt x="1155" y="1364"/>
                    <a:pt x="1151" y="1362"/>
                  </a:cubicBezTo>
                  <a:cubicBezTo>
                    <a:pt x="1146" y="1360"/>
                    <a:pt x="1141" y="1358"/>
                    <a:pt x="1134" y="1354"/>
                  </a:cubicBezTo>
                  <a:cubicBezTo>
                    <a:pt x="1128" y="1350"/>
                    <a:pt x="1120" y="1346"/>
                    <a:pt x="1113" y="1340"/>
                  </a:cubicBezTo>
                  <a:cubicBezTo>
                    <a:pt x="1105" y="1335"/>
                    <a:pt x="1097" y="1328"/>
                    <a:pt x="1090" y="1321"/>
                  </a:cubicBezTo>
                  <a:cubicBezTo>
                    <a:pt x="1077" y="1308"/>
                    <a:pt x="1067" y="1294"/>
                    <a:pt x="1061" y="1281"/>
                  </a:cubicBezTo>
                  <a:cubicBezTo>
                    <a:pt x="1055" y="1267"/>
                    <a:pt x="1052" y="1254"/>
                    <a:pt x="1052" y="1240"/>
                  </a:cubicBezTo>
                  <a:cubicBezTo>
                    <a:pt x="1053" y="1226"/>
                    <a:pt x="1057" y="1212"/>
                    <a:pt x="1064" y="1197"/>
                  </a:cubicBezTo>
                  <a:cubicBezTo>
                    <a:pt x="1072" y="1183"/>
                    <a:pt x="1082" y="1169"/>
                    <a:pt x="1097" y="1154"/>
                  </a:cubicBezTo>
                  <a:cubicBezTo>
                    <a:pt x="1110" y="1141"/>
                    <a:pt x="1125" y="1130"/>
                    <a:pt x="1139" y="1123"/>
                  </a:cubicBezTo>
                  <a:cubicBezTo>
                    <a:pt x="1153" y="1116"/>
                    <a:pt x="1168" y="1111"/>
                    <a:pt x="1182" y="1110"/>
                  </a:cubicBezTo>
                  <a:cubicBezTo>
                    <a:pt x="1196" y="1109"/>
                    <a:pt x="1210" y="1112"/>
                    <a:pt x="1224" y="1117"/>
                  </a:cubicBezTo>
                  <a:cubicBezTo>
                    <a:pt x="1237" y="1122"/>
                    <a:pt x="1250" y="1131"/>
                    <a:pt x="1261" y="1143"/>
                  </a:cubicBezTo>
                  <a:cubicBezTo>
                    <a:pt x="1274" y="1155"/>
                    <a:pt x="1282" y="1168"/>
                    <a:pt x="1287" y="1181"/>
                  </a:cubicBezTo>
                  <a:cubicBezTo>
                    <a:pt x="1292" y="1193"/>
                    <a:pt x="1294" y="1206"/>
                    <a:pt x="1293" y="1218"/>
                  </a:cubicBezTo>
                  <a:cubicBezTo>
                    <a:pt x="1292" y="1231"/>
                    <a:pt x="1288" y="1243"/>
                    <a:pt x="1281" y="1255"/>
                  </a:cubicBezTo>
                  <a:cubicBezTo>
                    <a:pt x="1275" y="1266"/>
                    <a:pt x="1266" y="1278"/>
                    <a:pt x="1256" y="1288"/>
                  </a:cubicBezTo>
                  <a:lnTo>
                    <a:pt x="1251" y="1293"/>
                  </a:lnTo>
                  <a:close/>
                  <a:moveTo>
                    <a:pt x="1230" y="1255"/>
                  </a:moveTo>
                  <a:cubicBezTo>
                    <a:pt x="1246" y="1240"/>
                    <a:pt x="1254" y="1225"/>
                    <a:pt x="1256" y="1209"/>
                  </a:cubicBezTo>
                  <a:cubicBezTo>
                    <a:pt x="1257" y="1193"/>
                    <a:pt x="1251" y="1178"/>
                    <a:pt x="1237" y="1164"/>
                  </a:cubicBezTo>
                  <a:cubicBezTo>
                    <a:pt x="1230" y="1157"/>
                    <a:pt x="1222" y="1152"/>
                    <a:pt x="1214" y="1149"/>
                  </a:cubicBezTo>
                  <a:cubicBezTo>
                    <a:pt x="1206" y="1146"/>
                    <a:pt x="1198" y="1145"/>
                    <a:pt x="1189" y="1146"/>
                  </a:cubicBezTo>
                  <a:cubicBezTo>
                    <a:pt x="1181" y="1147"/>
                    <a:pt x="1173" y="1149"/>
                    <a:pt x="1165" y="1153"/>
                  </a:cubicBezTo>
                  <a:cubicBezTo>
                    <a:pt x="1157" y="1157"/>
                    <a:pt x="1150" y="1162"/>
                    <a:pt x="1143" y="1168"/>
                  </a:cubicBezTo>
                  <a:lnTo>
                    <a:pt x="1230" y="1255"/>
                  </a:lnTo>
                  <a:close/>
                  <a:moveTo>
                    <a:pt x="1592" y="1488"/>
                  </a:moveTo>
                  <a:cubicBezTo>
                    <a:pt x="1591" y="1489"/>
                    <a:pt x="1590" y="1490"/>
                    <a:pt x="1588" y="1491"/>
                  </a:cubicBezTo>
                  <a:cubicBezTo>
                    <a:pt x="1587" y="1492"/>
                    <a:pt x="1585" y="1493"/>
                    <a:pt x="1583" y="1494"/>
                  </a:cubicBezTo>
                  <a:lnTo>
                    <a:pt x="1385" y="1598"/>
                  </a:lnTo>
                  <a:cubicBezTo>
                    <a:pt x="1383" y="1599"/>
                    <a:pt x="1381" y="1600"/>
                    <a:pt x="1380" y="1600"/>
                  </a:cubicBezTo>
                  <a:cubicBezTo>
                    <a:pt x="1378" y="1600"/>
                    <a:pt x="1376" y="1599"/>
                    <a:pt x="1375" y="1598"/>
                  </a:cubicBezTo>
                  <a:cubicBezTo>
                    <a:pt x="1373" y="1598"/>
                    <a:pt x="1371" y="1596"/>
                    <a:pt x="1368" y="1594"/>
                  </a:cubicBezTo>
                  <a:cubicBezTo>
                    <a:pt x="1366" y="1592"/>
                    <a:pt x="1362" y="1589"/>
                    <a:pt x="1359" y="1585"/>
                  </a:cubicBezTo>
                  <a:cubicBezTo>
                    <a:pt x="1355" y="1582"/>
                    <a:pt x="1352" y="1578"/>
                    <a:pt x="1350" y="1576"/>
                  </a:cubicBezTo>
                  <a:cubicBezTo>
                    <a:pt x="1348" y="1573"/>
                    <a:pt x="1346" y="1571"/>
                    <a:pt x="1345" y="1569"/>
                  </a:cubicBezTo>
                  <a:cubicBezTo>
                    <a:pt x="1344" y="1567"/>
                    <a:pt x="1344" y="1565"/>
                    <a:pt x="1344" y="1563"/>
                  </a:cubicBezTo>
                  <a:cubicBezTo>
                    <a:pt x="1344" y="1562"/>
                    <a:pt x="1345" y="1560"/>
                    <a:pt x="1345" y="1559"/>
                  </a:cubicBezTo>
                  <a:lnTo>
                    <a:pt x="1427" y="1410"/>
                  </a:lnTo>
                  <a:lnTo>
                    <a:pt x="1429" y="1408"/>
                  </a:lnTo>
                  <a:lnTo>
                    <a:pt x="1427" y="1409"/>
                  </a:lnTo>
                  <a:lnTo>
                    <a:pt x="1280" y="1494"/>
                  </a:lnTo>
                  <a:cubicBezTo>
                    <a:pt x="1279" y="1495"/>
                    <a:pt x="1277" y="1495"/>
                    <a:pt x="1275" y="1495"/>
                  </a:cubicBezTo>
                  <a:cubicBezTo>
                    <a:pt x="1274" y="1495"/>
                    <a:pt x="1272" y="1495"/>
                    <a:pt x="1270" y="1494"/>
                  </a:cubicBezTo>
                  <a:cubicBezTo>
                    <a:pt x="1268" y="1493"/>
                    <a:pt x="1266" y="1491"/>
                    <a:pt x="1263" y="1489"/>
                  </a:cubicBezTo>
                  <a:cubicBezTo>
                    <a:pt x="1261" y="1487"/>
                    <a:pt x="1257" y="1484"/>
                    <a:pt x="1254" y="1480"/>
                  </a:cubicBezTo>
                  <a:cubicBezTo>
                    <a:pt x="1250" y="1477"/>
                    <a:pt x="1247" y="1473"/>
                    <a:pt x="1245" y="1471"/>
                  </a:cubicBezTo>
                  <a:cubicBezTo>
                    <a:pt x="1243" y="1468"/>
                    <a:pt x="1242" y="1466"/>
                    <a:pt x="1241" y="1464"/>
                  </a:cubicBezTo>
                  <a:cubicBezTo>
                    <a:pt x="1240" y="1462"/>
                    <a:pt x="1239" y="1461"/>
                    <a:pt x="1239" y="1459"/>
                  </a:cubicBezTo>
                  <a:cubicBezTo>
                    <a:pt x="1240" y="1457"/>
                    <a:pt x="1240" y="1456"/>
                    <a:pt x="1241" y="1454"/>
                  </a:cubicBezTo>
                  <a:lnTo>
                    <a:pt x="1346" y="1257"/>
                  </a:lnTo>
                  <a:cubicBezTo>
                    <a:pt x="1347" y="1254"/>
                    <a:pt x="1348" y="1253"/>
                    <a:pt x="1349" y="1251"/>
                  </a:cubicBezTo>
                  <a:cubicBezTo>
                    <a:pt x="1350" y="1250"/>
                    <a:pt x="1351" y="1249"/>
                    <a:pt x="1351" y="1248"/>
                  </a:cubicBezTo>
                  <a:cubicBezTo>
                    <a:pt x="1352" y="1247"/>
                    <a:pt x="1353" y="1246"/>
                    <a:pt x="1355" y="1246"/>
                  </a:cubicBezTo>
                  <a:cubicBezTo>
                    <a:pt x="1356" y="1246"/>
                    <a:pt x="1357" y="1246"/>
                    <a:pt x="1359" y="1247"/>
                  </a:cubicBezTo>
                  <a:cubicBezTo>
                    <a:pt x="1360" y="1247"/>
                    <a:pt x="1362" y="1249"/>
                    <a:pt x="1364" y="1250"/>
                  </a:cubicBezTo>
                  <a:cubicBezTo>
                    <a:pt x="1366" y="1252"/>
                    <a:pt x="1368" y="1254"/>
                    <a:pt x="1371" y="1257"/>
                  </a:cubicBezTo>
                  <a:cubicBezTo>
                    <a:pt x="1374" y="1260"/>
                    <a:pt x="1377" y="1263"/>
                    <a:pt x="1379" y="1265"/>
                  </a:cubicBezTo>
                  <a:cubicBezTo>
                    <a:pt x="1380" y="1268"/>
                    <a:pt x="1382" y="1269"/>
                    <a:pt x="1382" y="1271"/>
                  </a:cubicBezTo>
                  <a:cubicBezTo>
                    <a:pt x="1383" y="1272"/>
                    <a:pt x="1383" y="1274"/>
                    <a:pt x="1383" y="1275"/>
                  </a:cubicBezTo>
                  <a:cubicBezTo>
                    <a:pt x="1383" y="1276"/>
                    <a:pt x="1382" y="1277"/>
                    <a:pt x="1381" y="1279"/>
                  </a:cubicBezTo>
                  <a:lnTo>
                    <a:pt x="1289" y="1448"/>
                  </a:lnTo>
                  <a:lnTo>
                    <a:pt x="1287" y="1450"/>
                  </a:lnTo>
                  <a:lnTo>
                    <a:pt x="1289" y="1449"/>
                  </a:lnTo>
                  <a:lnTo>
                    <a:pt x="1456" y="1353"/>
                  </a:lnTo>
                  <a:cubicBezTo>
                    <a:pt x="1457" y="1352"/>
                    <a:pt x="1458" y="1352"/>
                    <a:pt x="1460" y="1352"/>
                  </a:cubicBezTo>
                  <a:cubicBezTo>
                    <a:pt x="1461" y="1351"/>
                    <a:pt x="1462" y="1352"/>
                    <a:pt x="1464" y="1352"/>
                  </a:cubicBezTo>
                  <a:cubicBezTo>
                    <a:pt x="1465" y="1353"/>
                    <a:pt x="1467" y="1354"/>
                    <a:pt x="1469" y="1356"/>
                  </a:cubicBezTo>
                  <a:cubicBezTo>
                    <a:pt x="1471" y="1357"/>
                    <a:pt x="1473" y="1360"/>
                    <a:pt x="1476" y="1362"/>
                  </a:cubicBezTo>
                  <a:cubicBezTo>
                    <a:pt x="1479" y="1365"/>
                    <a:pt x="1481" y="1368"/>
                    <a:pt x="1483" y="1370"/>
                  </a:cubicBezTo>
                  <a:cubicBezTo>
                    <a:pt x="1485" y="1372"/>
                    <a:pt x="1486" y="1373"/>
                    <a:pt x="1486" y="1375"/>
                  </a:cubicBezTo>
                  <a:cubicBezTo>
                    <a:pt x="1487" y="1376"/>
                    <a:pt x="1487" y="1378"/>
                    <a:pt x="1487" y="1379"/>
                  </a:cubicBezTo>
                  <a:cubicBezTo>
                    <a:pt x="1487" y="1380"/>
                    <a:pt x="1486" y="1381"/>
                    <a:pt x="1486" y="1382"/>
                  </a:cubicBezTo>
                  <a:lnTo>
                    <a:pt x="1392" y="1552"/>
                  </a:lnTo>
                  <a:lnTo>
                    <a:pt x="1391" y="1554"/>
                  </a:lnTo>
                  <a:lnTo>
                    <a:pt x="1393" y="1553"/>
                  </a:lnTo>
                  <a:lnTo>
                    <a:pt x="1562" y="1459"/>
                  </a:lnTo>
                  <a:cubicBezTo>
                    <a:pt x="1563" y="1458"/>
                    <a:pt x="1564" y="1458"/>
                    <a:pt x="1566" y="1458"/>
                  </a:cubicBezTo>
                  <a:cubicBezTo>
                    <a:pt x="1567" y="1457"/>
                    <a:pt x="1568" y="1458"/>
                    <a:pt x="1570" y="1458"/>
                  </a:cubicBezTo>
                  <a:cubicBezTo>
                    <a:pt x="1571" y="1459"/>
                    <a:pt x="1573" y="1460"/>
                    <a:pt x="1575" y="1462"/>
                  </a:cubicBezTo>
                  <a:cubicBezTo>
                    <a:pt x="1577" y="1464"/>
                    <a:pt x="1580" y="1466"/>
                    <a:pt x="1583" y="1469"/>
                  </a:cubicBezTo>
                  <a:cubicBezTo>
                    <a:pt x="1586" y="1472"/>
                    <a:pt x="1588" y="1474"/>
                    <a:pt x="1590" y="1476"/>
                  </a:cubicBezTo>
                  <a:cubicBezTo>
                    <a:pt x="1591" y="1478"/>
                    <a:pt x="1592" y="1480"/>
                    <a:pt x="1593" y="1481"/>
                  </a:cubicBezTo>
                  <a:cubicBezTo>
                    <a:pt x="1593" y="1483"/>
                    <a:pt x="1594" y="1484"/>
                    <a:pt x="1593" y="1485"/>
                  </a:cubicBezTo>
                  <a:cubicBezTo>
                    <a:pt x="1593" y="1486"/>
                    <a:pt x="1593" y="1487"/>
                    <a:pt x="1592" y="1488"/>
                  </a:cubicBezTo>
                  <a:close/>
                  <a:moveTo>
                    <a:pt x="1499" y="1714"/>
                  </a:moveTo>
                  <a:cubicBezTo>
                    <a:pt x="1498" y="1715"/>
                    <a:pt x="1497" y="1716"/>
                    <a:pt x="1496" y="1716"/>
                  </a:cubicBezTo>
                  <a:cubicBezTo>
                    <a:pt x="1495" y="1716"/>
                    <a:pt x="1493" y="1716"/>
                    <a:pt x="1492" y="1715"/>
                  </a:cubicBezTo>
                  <a:cubicBezTo>
                    <a:pt x="1490" y="1715"/>
                    <a:pt x="1489" y="1714"/>
                    <a:pt x="1486" y="1712"/>
                  </a:cubicBezTo>
                  <a:cubicBezTo>
                    <a:pt x="1484" y="1710"/>
                    <a:pt x="1482" y="1708"/>
                    <a:pt x="1479" y="1705"/>
                  </a:cubicBezTo>
                  <a:cubicBezTo>
                    <a:pt x="1476" y="1702"/>
                    <a:pt x="1474" y="1700"/>
                    <a:pt x="1472" y="1698"/>
                  </a:cubicBezTo>
                  <a:cubicBezTo>
                    <a:pt x="1470" y="1696"/>
                    <a:pt x="1469" y="1694"/>
                    <a:pt x="1469" y="1692"/>
                  </a:cubicBezTo>
                  <a:cubicBezTo>
                    <a:pt x="1468" y="1691"/>
                    <a:pt x="1468" y="1689"/>
                    <a:pt x="1468" y="1688"/>
                  </a:cubicBezTo>
                  <a:cubicBezTo>
                    <a:pt x="1468" y="1687"/>
                    <a:pt x="1469" y="1686"/>
                    <a:pt x="1470" y="1685"/>
                  </a:cubicBezTo>
                  <a:lnTo>
                    <a:pt x="1629" y="1526"/>
                  </a:lnTo>
                  <a:cubicBezTo>
                    <a:pt x="1630" y="1525"/>
                    <a:pt x="1631" y="1525"/>
                    <a:pt x="1632" y="1524"/>
                  </a:cubicBezTo>
                  <a:cubicBezTo>
                    <a:pt x="1633" y="1524"/>
                    <a:pt x="1634" y="1524"/>
                    <a:pt x="1636" y="1525"/>
                  </a:cubicBezTo>
                  <a:cubicBezTo>
                    <a:pt x="1637" y="1526"/>
                    <a:pt x="1639" y="1527"/>
                    <a:pt x="1641" y="1528"/>
                  </a:cubicBezTo>
                  <a:cubicBezTo>
                    <a:pt x="1644" y="1530"/>
                    <a:pt x="1646" y="1532"/>
                    <a:pt x="1649" y="1535"/>
                  </a:cubicBezTo>
                  <a:cubicBezTo>
                    <a:pt x="1652" y="1538"/>
                    <a:pt x="1654" y="1541"/>
                    <a:pt x="1656" y="1543"/>
                  </a:cubicBezTo>
                  <a:cubicBezTo>
                    <a:pt x="1657" y="1545"/>
                    <a:pt x="1659" y="1547"/>
                    <a:pt x="1659" y="1548"/>
                  </a:cubicBezTo>
                  <a:cubicBezTo>
                    <a:pt x="1660" y="1550"/>
                    <a:pt x="1660" y="1551"/>
                    <a:pt x="1660" y="1552"/>
                  </a:cubicBezTo>
                  <a:cubicBezTo>
                    <a:pt x="1659" y="1553"/>
                    <a:pt x="1659" y="1554"/>
                    <a:pt x="1658" y="1555"/>
                  </a:cubicBezTo>
                  <a:lnTo>
                    <a:pt x="1499" y="1714"/>
                  </a:lnTo>
                  <a:close/>
                  <a:moveTo>
                    <a:pt x="1715" y="1505"/>
                  </a:moveTo>
                  <a:cubicBezTo>
                    <a:pt x="1708" y="1512"/>
                    <a:pt x="1702" y="1515"/>
                    <a:pt x="1697" y="1515"/>
                  </a:cubicBezTo>
                  <a:cubicBezTo>
                    <a:pt x="1692" y="1515"/>
                    <a:pt x="1686" y="1511"/>
                    <a:pt x="1679" y="1504"/>
                  </a:cubicBezTo>
                  <a:cubicBezTo>
                    <a:pt x="1672" y="1497"/>
                    <a:pt x="1669" y="1492"/>
                    <a:pt x="1669" y="1487"/>
                  </a:cubicBezTo>
                  <a:cubicBezTo>
                    <a:pt x="1669" y="1482"/>
                    <a:pt x="1672" y="1476"/>
                    <a:pt x="1679" y="1469"/>
                  </a:cubicBezTo>
                  <a:cubicBezTo>
                    <a:pt x="1686" y="1462"/>
                    <a:pt x="1692" y="1459"/>
                    <a:pt x="1697" y="1459"/>
                  </a:cubicBezTo>
                  <a:cubicBezTo>
                    <a:pt x="1702" y="1459"/>
                    <a:pt x="1708" y="1463"/>
                    <a:pt x="1715" y="1470"/>
                  </a:cubicBezTo>
                  <a:cubicBezTo>
                    <a:pt x="1721" y="1476"/>
                    <a:pt x="1725" y="1482"/>
                    <a:pt x="1725" y="1487"/>
                  </a:cubicBezTo>
                  <a:cubicBezTo>
                    <a:pt x="1725" y="1492"/>
                    <a:pt x="1722" y="1498"/>
                    <a:pt x="1715" y="1505"/>
                  </a:cubicBezTo>
                  <a:close/>
                  <a:moveTo>
                    <a:pt x="1688" y="1854"/>
                  </a:moveTo>
                  <a:cubicBezTo>
                    <a:pt x="1686" y="1856"/>
                    <a:pt x="1684" y="1858"/>
                    <a:pt x="1682" y="1860"/>
                  </a:cubicBezTo>
                  <a:cubicBezTo>
                    <a:pt x="1681" y="1861"/>
                    <a:pt x="1679" y="1862"/>
                    <a:pt x="1678" y="1863"/>
                  </a:cubicBezTo>
                  <a:cubicBezTo>
                    <a:pt x="1677" y="1863"/>
                    <a:pt x="1675" y="1864"/>
                    <a:pt x="1674" y="1864"/>
                  </a:cubicBezTo>
                  <a:cubicBezTo>
                    <a:pt x="1673" y="1865"/>
                    <a:pt x="1671" y="1865"/>
                    <a:pt x="1668" y="1865"/>
                  </a:cubicBezTo>
                  <a:cubicBezTo>
                    <a:pt x="1665" y="1865"/>
                    <a:pt x="1661" y="1864"/>
                    <a:pt x="1655" y="1863"/>
                  </a:cubicBezTo>
                  <a:cubicBezTo>
                    <a:pt x="1649" y="1861"/>
                    <a:pt x="1643" y="1859"/>
                    <a:pt x="1637" y="1857"/>
                  </a:cubicBezTo>
                  <a:cubicBezTo>
                    <a:pt x="1631" y="1854"/>
                    <a:pt x="1625" y="1850"/>
                    <a:pt x="1619" y="1846"/>
                  </a:cubicBezTo>
                  <a:cubicBezTo>
                    <a:pt x="1612" y="1842"/>
                    <a:pt x="1606" y="1837"/>
                    <a:pt x="1601" y="1832"/>
                  </a:cubicBezTo>
                  <a:cubicBezTo>
                    <a:pt x="1590" y="1820"/>
                    <a:pt x="1581" y="1808"/>
                    <a:pt x="1576" y="1796"/>
                  </a:cubicBezTo>
                  <a:cubicBezTo>
                    <a:pt x="1571" y="1783"/>
                    <a:pt x="1569" y="1770"/>
                    <a:pt x="1571" y="1757"/>
                  </a:cubicBezTo>
                  <a:cubicBezTo>
                    <a:pt x="1572" y="1744"/>
                    <a:pt x="1576" y="1730"/>
                    <a:pt x="1584" y="1717"/>
                  </a:cubicBezTo>
                  <a:cubicBezTo>
                    <a:pt x="1591" y="1703"/>
                    <a:pt x="1602" y="1689"/>
                    <a:pt x="1615" y="1676"/>
                  </a:cubicBezTo>
                  <a:cubicBezTo>
                    <a:pt x="1631" y="1660"/>
                    <a:pt x="1647" y="1648"/>
                    <a:pt x="1662" y="1641"/>
                  </a:cubicBezTo>
                  <a:cubicBezTo>
                    <a:pt x="1677" y="1633"/>
                    <a:pt x="1691" y="1630"/>
                    <a:pt x="1705" y="1629"/>
                  </a:cubicBezTo>
                  <a:cubicBezTo>
                    <a:pt x="1719" y="1628"/>
                    <a:pt x="1732" y="1631"/>
                    <a:pt x="1744" y="1637"/>
                  </a:cubicBezTo>
                  <a:cubicBezTo>
                    <a:pt x="1757" y="1642"/>
                    <a:pt x="1768" y="1650"/>
                    <a:pt x="1779" y="1661"/>
                  </a:cubicBezTo>
                  <a:cubicBezTo>
                    <a:pt x="1784" y="1666"/>
                    <a:pt x="1788" y="1671"/>
                    <a:pt x="1792" y="1677"/>
                  </a:cubicBezTo>
                  <a:cubicBezTo>
                    <a:pt x="1796" y="1682"/>
                    <a:pt x="1799" y="1688"/>
                    <a:pt x="1802" y="1694"/>
                  </a:cubicBezTo>
                  <a:cubicBezTo>
                    <a:pt x="1804" y="1699"/>
                    <a:pt x="1806" y="1704"/>
                    <a:pt x="1807" y="1710"/>
                  </a:cubicBezTo>
                  <a:cubicBezTo>
                    <a:pt x="1808" y="1715"/>
                    <a:pt x="1809" y="1719"/>
                    <a:pt x="1809" y="1722"/>
                  </a:cubicBezTo>
                  <a:cubicBezTo>
                    <a:pt x="1809" y="1724"/>
                    <a:pt x="1809" y="1726"/>
                    <a:pt x="1808" y="1728"/>
                  </a:cubicBezTo>
                  <a:cubicBezTo>
                    <a:pt x="1808" y="1729"/>
                    <a:pt x="1808" y="1731"/>
                    <a:pt x="1807" y="1732"/>
                  </a:cubicBezTo>
                  <a:cubicBezTo>
                    <a:pt x="1806" y="1734"/>
                    <a:pt x="1805" y="1735"/>
                    <a:pt x="1804" y="1737"/>
                  </a:cubicBezTo>
                  <a:cubicBezTo>
                    <a:pt x="1802" y="1738"/>
                    <a:pt x="1801" y="1740"/>
                    <a:pt x="1799" y="1742"/>
                  </a:cubicBezTo>
                  <a:cubicBezTo>
                    <a:pt x="1794" y="1747"/>
                    <a:pt x="1790" y="1749"/>
                    <a:pt x="1787" y="1750"/>
                  </a:cubicBezTo>
                  <a:cubicBezTo>
                    <a:pt x="1784" y="1751"/>
                    <a:pt x="1782" y="1750"/>
                    <a:pt x="1781" y="1749"/>
                  </a:cubicBezTo>
                  <a:cubicBezTo>
                    <a:pt x="1779" y="1747"/>
                    <a:pt x="1778" y="1744"/>
                    <a:pt x="1778" y="1740"/>
                  </a:cubicBezTo>
                  <a:cubicBezTo>
                    <a:pt x="1777" y="1736"/>
                    <a:pt x="1776" y="1731"/>
                    <a:pt x="1775" y="1725"/>
                  </a:cubicBezTo>
                  <a:cubicBezTo>
                    <a:pt x="1774" y="1719"/>
                    <a:pt x="1772" y="1712"/>
                    <a:pt x="1769" y="1705"/>
                  </a:cubicBezTo>
                  <a:cubicBezTo>
                    <a:pt x="1766" y="1698"/>
                    <a:pt x="1761" y="1692"/>
                    <a:pt x="1754" y="1685"/>
                  </a:cubicBezTo>
                  <a:cubicBezTo>
                    <a:pt x="1740" y="1671"/>
                    <a:pt x="1724" y="1665"/>
                    <a:pt x="1706" y="1669"/>
                  </a:cubicBezTo>
                  <a:cubicBezTo>
                    <a:pt x="1687" y="1672"/>
                    <a:pt x="1668" y="1684"/>
                    <a:pt x="1647" y="1704"/>
                  </a:cubicBezTo>
                  <a:cubicBezTo>
                    <a:pt x="1637" y="1715"/>
                    <a:pt x="1629" y="1725"/>
                    <a:pt x="1623" y="1734"/>
                  </a:cubicBezTo>
                  <a:cubicBezTo>
                    <a:pt x="1618" y="1744"/>
                    <a:pt x="1614" y="1753"/>
                    <a:pt x="1613" y="1762"/>
                  </a:cubicBezTo>
                  <a:cubicBezTo>
                    <a:pt x="1611" y="1771"/>
                    <a:pt x="1612" y="1780"/>
                    <a:pt x="1615" y="1788"/>
                  </a:cubicBezTo>
                  <a:cubicBezTo>
                    <a:pt x="1618" y="1796"/>
                    <a:pt x="1623" y="1803"/>
                    <a:pt x="1630" y="1810"/>
                  </a:cubicBezTo>
                  <a:cubicBezTo>
                    <a:pt x="1637" y="1817"/>
                    <a:pt x="1644" y="1822"/>
                    <a:pt x="1651" y="1825"/>
                  </a:cubicBezTo>
                  <a:cubicBezTo>
                    <a:pt x="1658" y="1828"/>
                    <a:pt x="1665" y="1830"/>
                    <a:pt x="1671" y="1831"/>
                  </a:cubicBezTo>
                  <a:cubicBezTo>
                    <a:pt x="1677" y="1832"/>
                    <a:pt x="1683" y="1833"/>
                    <a:pt x="1687" y="1833"/>
                  </a:cubicBezTo>
                  <a:cubicBezTo>
                    <a:pt x="1692" y="1834"/>
                    <a:pt x="1695" y="1835"/>
                    <a:pt x="1696" y="1836"/>
                  </a:cubicBezTo>
                  <a:cubicBezTo>
                    <a:pt x="1697" y="1837"/>
                    <a:pt x="1698" y="1838"/>
                    <a:pt x="1698" y="1839"/>
                  </a:cubicBezTo>
                  <a:cubicBezTo>
                    <a:pt x="1698" y="1840"/>
                    <a:pt x="1697" y="1841"/>
                    <a:pt x="1697" y="1843"/>
                  </a:cubicBezTo>
                  <a:cubicBezTo>
                    <a:pt x="1696" y="1845"/>
                    <a:pt x="1695" y="1846"/>
                    <a:pt x="1693" y="1848"/>
                  </a:cubicBezTo>
                  <a:cubicBezTo>
                    <a:pt x="1692" y="1850"/>
                    <a:pt x="1690" y="1852"/>
                    <a:pt x="1688" y="1854"/>
                  </a:cubicBezTo>
                  <a:close/>
                  <a:moveTo>
                    <a:pt x="1817" y="2016"/>
                  </a:moveTo>
                  <a:cubicBezTo>
                    <a:pt x="1815" y="2018"/>
                    <a:pt x="1812" y="2020"/>
                    <a:pt x="1811" y="2021"/>
                  </a:cubicBezTo>
                  <a:cubicBezTo>
                    <a:pt x="1809" y="2023"/>
                    <a:pt x="1807" y="2024"/>
                    <a:pt x="1805" y="2024"/>
                  </a:cubicBezTo>
                  <a:cubicBezTo>
                    <a:pt x="1804" y="2025"/>
                    <a:pt x="1803" y="2025"/>
                    <a:pt x="1801" y="2024"/>
                  </a:cubicBezTo>
                  <a:cubicBezTo>
                    <a:pt x="1800" y="2024"/>
                    <a:pt x="1799" y="2023"/>
                    <a:pt x="1798" y="2022"/>
                  </a:cubicBezTo>
                  <a:lnTo>
                    <a:pt x="1700" y="1924"/>
                  </a:lnTo>
                  <a:cubicBezTo>
                    <a:pt x="1698" y="1922"/>
                    <a:pt x="1696" y="1919"/>
                    <a:pt x="1696" y="1916"/>
                  </a:cubicBezTo>
                  <a:cubicBezTo>
                    <a:pt x="1697" y="1912"/>
                    <a:pt x="1699" y="1909"/>
                    <a:pt x="1702" y="1905"/>
                  </a:cubicBezTo>
                  <a:lnTo>
                    <a:pt x="1708" y="1899"/>
                  </a:lnTo>
                  <a:cubicBezTo>
                    <a:pt x="1710" y="1897"/>
                    <a:pt x="1712" y="1896"/>
                    <a:pt x="1713" y="1895"/>
                  </a:cubicBezTo>
                  <a:cubicBezTo>
                    <a:pt x="1715" y="1894"/>
                    <a:pt x="1716" y="1893"/>
                    <a:pt x="1718" y="1892"/>
                  </a:cubicBezTo>
                  <a:cubicBezTo>
                    <a:pt x="1720" y="1891"/>
                    <a:pt x="1722" y="1891"/>
                    <a:pt x="1724" y="1890"/>
                  </a:cubicBezTo>
                  <a:cubicBezTo>
                    <a:pt x="1727" y="1889"/>
                    <a:pt x="1729" y="1889"/>
                    <a:pt x="1732" y="1888"/>
                  </a:cubicBezTo>
                  <a:lnTo>
                    <a:pt x="1912" y="1849"/>
                  </a:lnTo>
                  <a:lnTo>
                    <a:pt x="1844" y="1781"/>
                  </a:lnTo>
                  <a:cubicBezTo>
                    <a:pt x="1842" y="1779"/>
                    <a:pt x="1841" y="1776"/>
                    <a:pt x="1842" y="1773"/>
                  </a:cubicBezTo>
                  <a:cubicBezTo>
                    <a:pt x="1843" y="1770"/>
                    <a:pt x="1845" y="1767"/>
                    <a:pt x="1850" y="1762"/>
                  </a:cubicBezTo>
                  <a:cubicBezTo>
                    <a:pt x="1852" y="1760"/>
                    <a:pt x="1854" y="1758"/>
                    <a:pt x="1856" y="1757"/>
                  </a:cubicBezTo>
                  <a:cubicBezTo>
                    <a:pt x="1858" y="1756"/>
                    <a:pt x="1859" y="1755"/>
                    <a:pt x="1861" y="1754"/>
                  </a:cubicBezTo>
                  <a:cubicBezTo>
                    <a:pt x="1862" y="1754"/>
                    <a:pt x="1864" y="1754"/>
                    <a:pt x="1865" y="1754"/>
                  </a:cubicBezTo>
                  <a:cubicBezTo>
                    <a:pt x="1866" y="1754"/>
                    <a:pt x="1867" y="1755"/>
                    <a:pt x="1868" y="1756"/>
                  </a:cubicBezTo>
                  <a:lnTo>
                    <a:pt x="1959" y="1847"/>
                  </a:lnTo>
                  <a:cubicBezTo>
                    <a:pt x="1961" y="1849"/>
                    <a:pt x="1962" y="1850"/>
                    <a:pt x="1962" y="1851"/>
                  </a:cubicBezTo>
                  <a:cubicBezTo>
                    <a:pt x="1963" y="1853"/>
                    <a:pt x="1963" y="1854"/>
                    <a:pt x="1963" y="1856"/>
                  </a:cubicBezTo>
                  <a:cubicBezTo>
                    <a:pt x="1963" y="1857"/>
                    <a:pt x="1963" y="1859"/>
                    <a:pt x="1962" y="1861"/>
                  </a:cubicBezTo>
                  <a:cubicBezTo>
                    <a:pt x="1961" y="1862"/>
                    <a:pt x="1959" y="1864"/>
                    <a:pt x="1957" y="1866"/>
                  </a:cubicBezTo>
                  <a:lnTo>
                    <a:pt x="1952" y="1872"/>
                  </a:lnTo>
                  <a:cubicBezTo>
                    <a:pt x="1950" y="1873"/>
                    <a:pt x="1948" y="1875"/>
                    <a:pt x="1947" y="1876"/>
                  </a:cubicBezTo>
                  <a:cubicBezTo>
                    <a:pt x="1945" y="1877"/>
                    <a:pt x="1943" y="1878"/>
                    <a:pt x="1942" y="1879"/>
                  </a:cubicBezTo>
                  <a:cubicBezTo>
                    <a:pt x="1940" y="1880"/>
                    <a:pt x="1938" y="1881"/>
                    <a:pt x="1935" y="1882"/>
                  </a:cubicBezTo>
                  <a:cubicBezTo>
                    <a:pt x="1933" y="1882"/>
                    <a:pt x="1930" y="1883"/>
                    <a:pt x="1927" y="1884"/>
                  </a:cubicBezTo>
                  <a:lnTo>
                    <a:pt x="1748" y="1923"/>
                  </a:lnTo>
                  <a:lnTo>
                    <a:pt x="1823" y="1998"/>
                  </a:lnTo>
                  <a:cubicBezTo>
                    <a:pt x="1824" y="1999"/>
                    <a:pt x="1824" y="2000"/>
                    <a:pt x="1825" y="2001"/>
                  </a:cubicBezTo>
                  <a:cubicBezTo>
                    <a:pt x="1825" y="2002"/>
                    <a:pt x="1825" y="2003"/>
                    <a:pt x="1824" y="2005"/>
                  </a:cubicBezTo>
                  <a:cubicBezTo>
                    <a:pt x="1824" y="2006"/>
                    <a:pt x="1823" y="2008"/>
                    <a:pt x="1822" y="2010"/>
                  </a:cubicBezTo>
                  <a:cubicBezTo>
                    <a:pt x="1821" y="2012"/>
                    <a:pt x="1819" y="2014"/>
                    <a:pt x="1817" y="2016"/>
                  </a:cubicBezTo>
                  <a:close/>
                  <a:moveTo>
                    <a:pt x="2065" y="2108"/>
                  </a:moveTo>
                  <a:cubicBezTo>
                    <a:pt x="2061" y="2112"/>
                    <a:pt x="2056" y="2115"/>
                    <a:pt x="2052" y="2114"/>
                  </a:cubicBezTo>
                  <a:cubicBezTo>
                    <a:pt x="2048" y="2114"/>
                    <a:pt x="2044" y="2112"/>
                    <a:pt x="2041" y="2109"/>
                  </a:cubicBezTo>
                  <a:lnTo>
                    <a:pt x="1936" y="2004"/>
                  </a:lnTo>
                  <a:cubicBezTo>
                    <a:pt x="1928" y="2013"/>
                    <a:pt x="1921" y="2022"/>
                    <a:pt x="1915" y="2031"/>
                  </a:cubicBezTo>
                  <a:cubicBezTo>
                    <a:pt x="1910" y="2040"/>
                    <a:pt x="1907" y="2049"/>
                    <a:pt x="1906" y="2058"/>
                  </a:cubicBezTo>
                  <a:cubicBezTo>
                    <a:pt x="1905" y="2067"/>
                    <a:pt x="1907" y="2076"/>
                    <a:pt x="1910" y="2086"/>
                  </a:cubicBezTo>
                  <a:cubicBezTo>
                    <a:pt x="1914" y="2095"/>
                    <a:pt x="1921" y="2105"/>
                    <a:pt x="1931" y="2114"/>
                  </a:cubicBezTo>
                  <a:cubicBezTo>
                    <a:pt x="1938" y="2122"/>
                    <a:pt x="1946" y="2128"/>
                    <a:pt x="1953" y="2133"/>
                  </a:cubicBezTo>
                  <a:cubicBezTo>
                    <a:pt x="1960" y="2137"/>
                    <a:pt x="1966" y="2141"/>
                    <a:pt x="1972" y="2144"/>
                  </a:cubicBezTo>
                  <a:cubicBezTo>
                    <a:pt x="1978" y="2147"/>
                    <a:pt x="1983" y="2149"/>
                    <a:pt x="1987" y="2150"/>
                  </a:cubicBezTo>
                  <a:cubicBezTo>
                    <a:pt x="1991" y="2152"/>
                    <a:pt x="1994" y="2153"/>
                    <a:pt x="1995" y="2155"/>
                  </a:cubicBezTo>
                  <a:cubicBezTo>
                    <a:pt x="1996" y="2156"/>
                    <a:pt x="1997" y="2157"/>
                    <a:pt x="1997" y="2158"/>
                  </a:cubicBezTo>
                  <a:cubicBezTo>
                    <a:pt x="1997" y="2159"/>
                    <a:pt x="1997" y="2160"/>
                    <a:pt x="1997" y="2161"/>
                  </a:cubicBezTo>
                  <a:cubicBezTo>
                    <a:pt x="1996" y="2162"/>
                    <a:pt x="1995" y="2164"/>
                    <a:pt x="1994" y="2165"/>
                  </a:cubicBezTo>
                  <a:cubicBezTo>
                    <a:pt x="1993" y="2167"/>
                    <a:pt x="1991" y="2169"/>
                    <a:pt x="1989" y="2171"/>
                  </a:cubicBezTo>
                  <a:cubicBezTo>
                    <a:pt x="1987" y="2172"/>
                    <a:pt x="1986" y="2174"/>
                    <a:pt x="1985" y="2175"/>
                  </a:cubicBezTo>
                  <a:cubicBezTo>
                    <a:pt x="1983" y="2176"/>
                    <a:pt x="1982" y="2177"/>
                    <a:pt x="1981" y="2177"/>
                  </a:cubicBezTo>
                  <a:cubicBezTo>
                    <a:pt x="1980" y="2178"/>
                    <a:pt x="1979" y="2178"/>
                    <a:pt x="1978" y="2179"/>
                  </a:cubicBezTo>
                  <a:cubicBezTo>
                    <a:pt x="1977" y="2179"/>
                    <a:pt x="1976" y="2179"/>
                    <a:pt x="1974" y="2179"/>
                  </a:cubicBezTo>
                  <a:cubicBezTo>
                    <a:pt x="1973" y="2179"/>
                    <a:pt x="1970" y="2178"/>
                    <a:pt x="1965" y="2177"/>
                  </a:cubicBezTo>
                  <a:cubicBezTo>
                    <a:pt x="1961" y="2175"/>
                    <a:pt x="1955" y="2172"/>
                    <a:pt x="1949" y="2169"/>
                  </a:cubicBezTo>
                  <a:cubicBezTo>
                    <a:pt x="1942" y="2165"/>
                    <a:pt x="1935" y="2160"/>
                    <a:pt x="1927" y="2155"/>
                  </a:cubicBezTo>
                  <a:cubicBezTo>
                    <a:pt x="1920" y="2149"/>
                    <a:pt x="1912" y="2143"/>
                    <a:pt x="1904" y="2135"/>
                  </a:cubicBezTo>
                  <a:cubicBezTo>
                    <a:pt x="1891" y="2122"/>
                    <a:pt x="1882" y="2109"/>
                    <a:pt x="1875" y="2095"/>
                  </a:cubicBezTo>
                  <a:cubicBezTo>
                    <a:pt x="1869" y="2082"/>
                    <a:pt x="1866" y="2068"/>
                    <a:pt x="1867" y="2054"/>
                  </a:cubicBezTo>
                  <a:cubicBezTo>
                    <a:pt x="1867" y="2040"/>
                    <a:pt x="1871" y="2026"/>
                    <a:pt x="1879" y="2012"/>
                  </a:cubicBezTo>
                  <a:cubicBezTo>
                    <a:pt x="1886" y="1998"/>
                    <a:pt x="1897" y="1983"/>
                    <a:pt x="1911" y="1969"/>
                  </a:cubicBezTo>
                  <a:cubicBezTo>
                    <a:pt x="1925" y="1955"/>
                    <a:pt x="1939" y="1945"/>
                    <a:pt x="1954" y="1937"/>
                  </a:cubicBezTo>
                  <a:cubicBezTo>
                    <a:pt x="1968" y="1930"/>
                    <a:pt x="1982" y="1926"/>
                    <a:pt x="1997" y="1925"/>
                  </a:cubicBezTo>
                  <a:cubicBezTo>
                    <a:pt x="2011" y="1924"/>
                    <a:pt x="2025" y="1926"/>
                    <a:pt x="2038" y="1932"/>
                  </a:cubicBezTo>
                  <a:cubicBezTo>
                    <a:pt x="2052" y="1937"/>
                    <a:pt x="2064" y="1946"/>
                    <a:pt x="2076" y="1957"/>
                  </a:cubicBezTo>
                  <a:cubicBezTo>
                    <a:pt x="2088" y="1970"/>
                    <a:pt x="2097" y="1982"/>
                    <a:pt x="2102" y="1995"/>
                  </a:cubicBezTo>
                  <a:cubicBezTo>
                    <a:pt x="2107" y="2008"/>
                    <a:pt x="2108" y="2020"/>
                    <a:pt x="2107" y="2033"/>
                  </a:cubicBezTo>
                  <a:cubicBezTo>
                    <a:pt x="2106" y="2045"/>
                    <a:pt x="2102" y="2057"/>
                    <a:pt x="2096" y="2069"/>
                  </a:cubicBezTo>
                  <a:cubicBezTo>
                    <a:pt x="2089" y="2081"/>
                    <a:pt x="2081" y="2092"/>
                    <a:pt x="2071" y="2102"/>
                  </a:cubicBezTo>
                  <a:lnTo>
                    <a:pt x="2065" y="2108"/>
                  </a:lnTo>
                  <a:close/>
                  <a:moveTo>
                    <a:pt x="2045" y="2070"/>
                  </a:moveTo>
                  <a:cubicBezTo>
                    <a:pt x="2060" y="2055"/>
                    <a:pt x="2069" y="2039"/>
                    <a:pt x="2070" y="2023"/>
                  </a:cubicBezTo>
                  <a:cubicBezTo>
                    <a:pt x="2072" y="2008"/>
                    <a:pt x="2066" y="1993"/>
                    <a:pt x="2052" y="1978"/>
                  </a:cubicBezTo>
                  <a:cubicBezTo>
                    <a:pt x="2044" y="1971"/>
                    <a:pt x="2037" y="1966"/>
                    <a:pt x="2029" y="1964"/>
                  </a:cubicBezTo>
                  <a:cubicBezTo>
                    <a:pt x="2020" y="1961"/>
                    <a:pt x="2012" y="1960"/>
                    <a:pt x="2004" y="1961"/>
                  </a:cubicBezTo>
                  <a:cubicBezTo>
                    <a:pt x="1996" y="1961"/>
                    <a:pt x="1988" y="1964"/>
                    <a:pt x="1980" y="1968"/>
                  </a:cubicBezTo>
                  <a:cubicBezTo>
                    <a:pt x="1972" y="1972"/>
                    <a:pt x="1965" y="1977"/>
                    <a:pt x="1958" y="1983"/>
                  </a:cubicBezTo>
                  <a:lnTo>
                    <a:pt x="2045" y="207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84" name="Freeform 131"/>
            <p:cNvSpPr>
              <a:spLocks noEditPoints="1"/>
            </p:cNvSpPr>
            <p:nvPr/>
          </p:nvSpPr>
          <p:spPr bwMode="auto">
            <a:xfrm>
              <a:off x="1976" y="1998"/>
              <a:ext cx="115" cy="122"/>
            </a:xfrm>
            <a:custGeom>
              <a:avLst/>
              <a:gdLst>
                <a:gd name="T0" fmla="*/ 110 w 1085"/>
                <a:gd name="T1" fmla="*/ 340 h 1154"/>
                <a:gd name="T2" fmla="*/ 6 w 1085"/>
                <a:gd name="T3" fmla="*/ 214 h 1154"/>
                <a:gd name="T4" fmla="*/ 58 w 1085"/>
                <a:gd name="T5" fmla="*/ 105 h 1154"/>
                <a:gd name="T6" fmla="*/ 77 w 1085"/>
                <a:gd name="T7" fmla="*/ 95 h 1154"/>
                <a:gd name="T8" fmla="*/ 226 w 1085"/>
                <a:gd name="T9" fmla="*/ 1 h 1154"/>
                <a:gd name="T10" fmla="*/ 250 w 1085"/>
                <a:gd name="T11" fmla="*/ 25 h 1154"/>
                <a:gd name="T12" fmla="*/ 231 w 1085"/>
                <a:gd name="T13" fmla="*/ 130 h 1154"/>
                <a:gd name="T14" fmla="*/ 216 w 1085"/>
                <a:gd name="T15" fmla="*/ 155 h 1154"/>
                <a:gd name="T16" fmla="*/ 51 w 1085"/>
                <a:gd name="T17" fmla="*/ 230 h 1154"/>
                <a:gd name="T18" fmla="*/ 132 w 1085"/>
                <a:gd name="T19" fmla="*/ 325 h 1154"/>
                <a:gd name="T20" fmla="*/ 295 w 1085"/>
                <a:gd name="T21" fmla="*/ 484 h 1154"/>
                <a:gd name="T22" fmla="*/ 173 w 1085"/>
                <a:gd name="T23" fmla="*/ 367 h 1154"/>
                <a:gd name="T24" fmla="*/ 301 w 1085"/>
                <a:gd name="T25" fmla="*/ 240 h 1154"/>
                <a:gd name="T26" fmla="*/ 423 w 1085"/>
                <a:gd name="T27" fmla="*/ 358 h 1154"/>
                <a:gd name="T28" fmla="*/ 369 w 1085"/>
                <a:gd name="T29" fmla="*/ 385 h 1154"/>
                <a:gd name="T30" fmla="*/ 335 w 1085"/>
                <a:gd name="T31" fmla="*/ 282 h 1154"/>
                <a:gd name="T32" fmla="*/ 227 w 1085"/>
                <a:gd name="T33" fmla="*/ 339 h 1154"/>
                <a:gd name="T34" fmla="*/ 262 w 1085"/>
                <a:gd name="T35" fmla="*/ 443 h 1154"/>
                <a:gd name="T36" fmla="*/ 724 w 1085"/>
                <a:gd name="T37" fmla="*/ 629 h 1154"/>
                <a:gd name="T38" fmla="*/ 513 w 1085"/>
                <a:gd name="T39" fmla="*/ 741 h 1154"/>
                <a:gd name="T40" fmla="*/ 483 w 1085"/>
                <a:gd name="T41" fmla="*/ 717 h 1154"/>
                <a:gd name="T42" fmla="*/ 560 w 1085"/>
                <a:gd name="T43" fmla="*/ 551 h 1154"/>
                <a:gd name="T44" fmla="*/ 408 w 1085"/>
                <a:gd name="T45" fmla="*/ 636 h 1154"/>
                <a:gd name="T46" fmla="*/ 378 w 1085"/>
                <a:gd name="T47" fmla="*/ 612 h 1154"/>
                <a:gd name="T48" fmla="*/ 478 w 1085"/>
                <a:gd name="T49" fmla="*/ 398 h 1154"/>
                <a:gd name="T50" fmla="*/ 491 w 1085"/>
                <a:gd name="T51" fmla="*/ 388 h 1154"/>
                <a:gd name="T52" fmla="*/ 515 w 1085"/>
                <a:gd name="T53" fmla="*/ 412 h 1154"/>
                <a:gd name="T54" fmla="*/ 420 w 1085"/>
                <a:gd name="T55" fmla="*/ 591 h 1154"/>
                <a:gd name="T56" fmla="*/ 597 w 1085"/>
                <a:gd name="T57" fmla="*/ 493 h 1154"/>
                <a:gd name="T58" fmla="*/ 619 w 1085"/>
                <a:gd name="T59" fmla="*/ 516 h 1154"/>
                <a:gd name="T60" fmla="*/ 524 w 1085"/>
                <a:gd name="T61" fmla="*/ 695 h 1154"/>
                <a:gd name="T62" fmla="*/ 703 w 1085"/>
                <a:gd name="T63" fmla="*/ 599 h 1154"/>
                <a:gd name="T64" fmla="*/ 726 w 1085"/>
                <a:gd name="T65" fmla="*/ 622 h 1154"/>
                <a:gd name="T66" fmla="*/ 629 w 1085"/>
                <a:gd name="T67" fmla="*/ 857 h 1154"/>
                <a:gd name="T68" fmla="*/ 605 w 1085"/>
                <a:gd name="T69" fmla="*/ 839 h 1154"/>
                <a:gd name="T70" fmla="*/ 762 w 1085"/>
                <a:gd name="T71" fmla="*/ 667 h 1154"/>
                <a:gd name="T72" fmla="*/ 782 w 1085"/>
                <a:gd name="T73" fmla="*/ 676 h 1154"/>
                <a:gd name="T74" fmla="*/ 791 w 1085"/>
                <a:gd name="T75" fmla="*/ 696 h 1154"/>
                <a:gd name="T76" fmla="*/ 812 w 1085"/>
                <a:gd name="T77" fmla="*/ 645 h 1154"/>
                <a:gd name="T78" fmla="*/ 847 w 1085"/>
                <a:gd name="T79" fmla="*/ 611 h 1154"/>
                <a:gd name="T80" fmla="*/ 815 w 1085"/>
                <a:gd name="T81" fmla="*/ 1000 h 1154"/>
                <a:gd name="T82" fmla="*/ 788 w 1085"/>
                <a:gd name="T83" fmla="*/ 1004 h 1154"/>
                <a:gd name="T84" fmla="*/ 709 w 1085"/>
                <a:gd name="T85" fmla="*/ 937 h 1154"/>
                <a:gd name="T86" fmla="*/ 794 w 1085"/>
                <a:gd name="T87" fmla="*/ 782 h 1154"/>
                <a:gd name="T88" fmla="*/ 925 w 1085"/>
                <a:gd name="T89" fmla="*/ 818 h 1154"/>
                <a:gd name="T90" fmla="*/ 941 w 1085"/>
                <a:gd name="T91" fmla="*/ 869 h 1154"/>
                <a:gd name="T92" fmla="*/ 920 w 1085"/>
                <a:gd name="T93" fmla="*/ 891 h 1154"/>
                <a:gd name="T94" fmla="*/ 902 w 1085"/>
                <a:gd name="T95" fmla="*/ 846 h 1154"/>
                <a:gd name="T96" fmla="*/ 756 w 1085"/>
                <a:gd name="T97" fmla="*/ 875 h 1154"/>
                <a:gd name="T98" fmla="*/ 784 w 1085"/>
                <a:gd name="T99" fmla="*/ 966 h 1154"/>
                <a:gd name="T100" fmla="*/ 830 w 1085"/>
                <a:gd name="T101" fmla="*/ 980 h 1154"/>
                <a:gd name="T102" fmla="*/ 938 w 1085"/>
                <a:gd name="T103" fmla="*/ 1146 h 1154"/>
                <a:gd name="T104" fmla="*/ 920 w 1085"/>
                <a:gd name="T105" fmla="*/ 1152 h 1154"/>
                <a:gd name="T106" fmla="*/ 830 w 1085"/>
                <a:gd name="T107" fmla="*/ 1029 h 1154"/>
                <a:gd name="T108" fmla="*/ 854 w 1085"/>
                <a:gd name="T109" fmla="*/ 1017 h 1154"/>
                <a:gd name="T110" fmla="*/ 971 w 1085"/>
                <a:gd name="T111" fmla="*/ 892 h 1154"/>
                <a:gd name="T112" fmla="*/ 990 w 1085"/>
                <a:gd name="T113" fmla="*/ 886 h 1154"/>
                <a:gd name="T114" fmla="*/ 1083 w 1085"/>
                <a:gd name="T115" fmla="*/ 990 h 1154"/>
                <a:gd name="T116" fmla="*/ 1063 w 1085"/>
                <a:gd name="T117" fmla="*/ 1009 h 1154"/>
                <a:gd name="T118" fmla="*/ 944 w 1085"/>
                <a:gd name="T119" fmla="*/ 1127 h 1154"/>
                <a:gd name="T120" fmla="*/ 938 w 1085"/>
                <a:gd name="T121" fmla="*/ 1146 h 1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5" h="1154">
                  <a:moveTo>
                    <a:pt x="126" y="332"/>
                  </a:moveTo>
                  <a:cubicBezTo>
                    <a:pt x="124" y="334"/>
                    <a:pt x="121" y="336"/>
                    <a:pt x="120" y="337"/>
                  </a:cubicBezTo>
                  <a:cubicBezTo>
                    <a:pt x="118" y="339"/>
                    <a:pt x="116" y="339"/>
                    <a:pt x="114" y="340"/>
                  </a:cubicBezTo>
                  <a:cubicBezTo>
                    <a:pt x="113" y="341"/>
                    <a:pt x="111" y="341"/>
                    <a:pt x="110" y="340"/>
                  </a:cubicBezTo>
                  <a:cubicBezTo>
                    <a:pt x="108" y="340"/>
                    <a:pt x="107" y="340"/>
                    <a:pt x="106" y="339"/>
                  </a:cubicBezTo>
                  <a:lnTo>
                    <a:pt x="5" y="237"/>
                  </a:lnTo>
                  <a:cubicBezTo>
                    <a:pt x="2" y="235"/>
                    <a:pt x="1" y="231"/>
                    <a:pt x="0" y="227"/>
                  </a:cubicBezTo>
                  <a:cubicBezTo>
                    <a:pt x="0" y="223"/>
                    <a:pt x="2" y="218"/>
                    <a:pt x="6" y="214"/>
                  </a:cubicBezTo>
                  <a:lnTo>
                    <a:pt x="91" y="130"/>
                  </a:lnTo>
                  <a:lnTo>
                    <a:pt x="53" y="122"/>
                  </a:lnTo>
                  <a:cubicBezTo>
                    <a:pt x="50" y="121"/>
                    <a:pt x="49" y="119"/>
                    <a:pt x="49" y="116"/>
                  </a:cubicBezTo>
                  <a:cubicBezTo>
                    <a:pt x="50" y="114"/>
                    <a:pt x="53" y="110"/>
                    <a:pt x="58" y="105"/>
                  </a:cubicBezTo>
                  <a:cubicBezTo>
                    <a:pt x="60" y="103"/>
                    <a:pt x="62" y="101"/>
                    <a:pt x="63" y="99"/>
                  </a:cubicBezTo>
                  <a:cubicBezTo>
                    <a:pt x="65" y="98"/>
                    <a:pt x="67" y="97"/>
                    <a:pt x="68" y="96"/>
                  </a:cubicBezTo>
                  <a:cubicBezTo>
                    <a:pt x="70" y="95"/>
                    <a:pt x="71" y="95"/>
                    <a:pt x="73" y="95"/>
                  </a:cubicBezTo>
                  <a:cubicBezTo>
                    <a:pt x="74" y="95"/>
                    <a:pt x="76" y="95"/>
                    <a:pt x="77" y="95"/>
                  </a:cubicBezTo>
                  <a:lnTo>
                    <a:pt x="116" y="104"/>
                  </a:lnTo>
                  <a:lnTo>
                    <a:pt x="218" y="2"/>
                  </a:lnTo>
                  <a:cubicBezTo>
                    <a:pt x="219" y="1"/>
                    <a:pt x="220" y="1"/>
                    <a:pt x="221" y="0"/>
                  </a:cubicBezTo>
                  <a:cubicBezTo>
                    <a:pt x="223" y="0"/>
                    <a:pt x="224" y="0"/>
                    <a:pt x="226" y="1"/>
                  </a:cubicBezTo>
                  <a:cubicBezTo>
                    <a:pt x="227" y="2"/>
                    <a:pt x="229" y="3"/>
                    <a:pt x="231" y="5"/>
                  </a:cubicBezTo>
                  <a:cubicBezTo>
                    <a:pt x="233" y="6"/>
                    <a:pt x="236" y="9"/>
                    <a:pt x="239" y="12"/>
                  </a:cubicBezTo>
                  <a:cubicBezTo>
                    <a:pt x="242" y="14"/>
                    <a:pt x="244" y="17"/>
                    <a:pt x="246" y="19"/>
                  </a:cubicBezTo>
                  <a:cubicBezTo>
                    <a:pt x="248" y="21"/>
                    <a:pt x="249" y="23"/>
                    <a:pt x="250" y="25"/>
                  </a:cubicBezTo>
                  <a:cubicBezTo>
                    <a:pt x="250" y="27"/>
                    <a:pt x="251" y="28"/>
                    <a:pt x="250" y="29"/>
                  </a:cubicBezTo>
                  <a:cubicBezTo>
                    <a:pt x="250" y="30"/>
                    <a:pt x="250" y="31"/>
                    <a:pt x="249" y="32"/>
                  </a:cubicBezTo>
                  <a:lnTo>
                    <a:pt x="166" y="115"/>
                  </a:lnTo>
                  <a:lnTo>
                    <a:pt x="231" y="130"/>
                  </a:lnTo>
                  <a:cubicBezTo>
                    <a:pt x="234" y="131"/>
                    <a:pt x="235" y="133"/>
                    <a:pt x="235" y="136"/>
                  </a:cubicBezTo>
                  <a:cubicBezTo>
                    <a:pt x="234" y="138"/>
                    <a:pt x="231" y="142"/>
                    <a:pt x="226" y="147"/>
                  </a:cubicBezTo>
                  <a:cubicBezTo>
                    <a:pt x="224" y="149"/>
                    <a:pt x="222" y="151"/>
                    <a:pt x="221" y="152"/>
                  </a:cubicBezTo>
                  <a:cubicBezTo>
                    <a:pt x="219" y="154"/>
                    <a:pt x="217" y="155"/>
                    <a:pt x="216" y="155"/>
                  </a:cubicBezTo>
                  <a:cubicBezTo>
                    <a:pt x="214" y="156"/>
                    <a:pt x="213" y="157"/>
                    <a:pt x="211" y="157"/>
                  </a:cubicBezTo>
                  <a:cubicBezTo>
                    <a:pt x="210" y="157"/>
                    <a:pt x="208" y="157"/>
                    <a:pt x="207" y="156"/>
                  </a:cubicBezTo>
                  <a:lnTo>
                    <a:pt x="140" y="141"/>
                  </a:lnTo>
                  <a:lnTo>
                    <a:pt x="51" y="230"/>
                  </a:lnTo>
                  <a:lnTo>
                    <a:pt x="133" y="312"/>
                  </a:lnTo>
                  <a:cubicBezTo>
                    <a:pt x="134" y="313"/>
                    <a:pt x="134" y="314"/>
                    <a:pt x="135" y="316"/>
                  </a:cubicBezTo>
                  <a:cubicBezTo>
                    <a:pt x="135" y="317"/>
                    <a:pt x="135" y="318"/>
                    <a:pt x="134" y="320"/>
                  </a:cubicBezTo>
                  <a:cubicBezTo>
                    <a:pt x="134" y="322"/>
                    <a:pt x="133" y="323"/>
                    <a:pt x="132" y="325"/>
                  </a:cubicBezTo>
                  <a:cubicBezTo>
                    <a:pt x="130" y="327"/>
                    <a:pt x="128" y="329"/>
                    <a:pt x="126" y="332"/>
                  </a:cubicBezTo>
                  <a:close/>
                  <a:moveTo>
                    <a:pt x="379" y="440"/>
                  </a:moveTo>
                  <a:cubicBezTo>
                    <a:pt x="366" y="453"/>
                    <a:pt x="353" y="463"/>
                    <a:pt x="338" y="471"/>
                  </a:cubicBezTo>
                  <a:cubicBezTo>
                    <a:pt x="324" y="478"/>
                    <a:pt x="310" y="483"/>
                    <a:pt x="295" y="484"/>
                  </a:cubicBezTo>
                  <a:cubicBezTo>
                    <a:pt x="280" y="485"/>
                    <a:pt x="266" y="482"/>
                    <a:pt x="251" y="477"/>
                  </a:cubicBezTo>
                  <a:cubicBezTo>
                    <a:pt x="236" y="471"/>
                    <a:pt x="222" y="461"/>
                    <a:pt x="209" y="448"/>
                  </a:cubicBezTo>
                  <a:cubicBezTo>
                    <a:pt x="196" y="435"/>
                    <a:pt x="186" y="421"/>
                    <a:pt x="181" y="408"/>
                  </a:cubicBezTo>
                  <a:cubicBezTo>
                    <a:pt x="175" y="394"/>
                    <a:pt x="172" y="380"/>
                    <a:pt x="173" y="367"/>
                  </a:cubicBezTo>
                  <a:cubicBezTo>
                    <a:pt x="174" y="353"/>
                    <a:pt x="178" y="339"/>
                    <a:pt x="186" y="325"/>
                  </a:cubicBezTo>
                  <a:cubicBezTo>
                    <a:pt x="193" y="311"/>
                    <a:pt x="204" y="298"/>
                    <a:pt x="217" y="284"/>
                  </a:cubicBezTo>
                  <a:cubicBezTo>
                    <a:pt x="230" y="271"/>
                    <a:pt x="244" y="261"/>
                    <a:pt x="258" y="253"/>
                  </a:cubicBezTo>
                  <a:cubicBezTo>
                    <a:pt x="272" y="246"/>
                    <a:pt x="287" y="242"/>
                    <a:pt x="301" y="240"/>
                  </a:cubicBezTo>
                  <a:cubicBezTo>
                    <a:pt x="316" y="239"/>
                    <a:pt x="331" y="242"/>
                    <a:pt x="345" y="247"/>
                  </a:cubicBezTo>
                  <a:cubicBezTo>
                    <a:pt x="360" y="253"/>
                    <a:pt x="374" y="263"/>
                    <a:pt x="387" y="276"/>
                  </a:cubicBezTo>
                  <a:cubicBezTo>
                    <a:pt x="400" y="290"/>
                    <a:pt x="410" y="303"/>
                    <a:pt x="416" y="316"/>
                  </a:cubicBezTo>
                  <a:cubicBezTo>
                    <a:pt x="421" y="330"/>
                    <a:pt x="424" y="344"/>
                    <a:pt x="423" y="358"/>
                  </a:cubicBezTo>
                  <a:cubicBezTo>
                    <a:pt x="422" y="372"/>
                    <a:pt x="418" y="386"/>
                    <a:pt x="410" y="399"/>
                  </a:cubicBezTo>
                  <a:cubicBezTo>
                    <a:pt x="403" y="413"/>
                    <a:pt x="393" y="427"/>
                    <a:pt x="379" y="440"/>
                  </a:cubicBezTo>
                  <a:close/>
                  <a:moveTo>
                    <a:pt x="347" y="412"/>
                  </a:moveTo>
                  <a:cubicBezTo>
                    <a:pt x="356" y="403"/>
                    <a:pt x="363" y="394"/>
                    <a:pt x="369" y="385"/>
                  </a:cubicBezTo>
                  <a:cubicBezTo>
                    <a:pt x="375" y="376"/>
                    <a:pt x="379" y="366"/>
                    <a:pt x="381" y="357"/>
                  </a:cubicBezTo>
                  <a:cubicBezTo>
                    <a:pt x="383" y="347"/>
                    <a:pt x="383" y="338"/>
                    <a:pt x="380" y="328"/>
                  </a:cubicBezTo>
                  <a:cubicBezTo>
                    <a:pt x="377" y="319"/>
                    <a:pt x="371" y="309"/>
                    <a:pt x="362" y="300"/>
                  </a:cubicBezTo>
                  <a:cubicBezTo>
                    <a:pt x="353" y="291"/>
                    <a:pt x="344" y="285"/>
                    <a:pt x="335" y="282"/>
                  </a:cubicBezTo>
                  <a:cubicBezTo>
                    <a:pt x="325" y="279"/>
                    <a:pt x="316" y="278"/>
                    <a:pt x="306" y="279"/>
                  </a:cubicBezTo>
                  <a:cubicBezTo>
                    <a:pt x="297" y="281"/>
                    <a:pt x="287" y="285"/>
                    <a:pt x="277" y="290"/>
                  </a:cubicBezTo>
                  <a:cubicBezTo>
                    <a:pt x="268" y="296"/>
                    <a:pt x="258" y="303"/>
                    <a:pt x="249" y="312"/>
                  </a:cubicBezTo>
                  <a:cubicBezTo>
                    <a:pt x="241" y="321"/>
                    <a:pt x="233" y="330"/>
                    <a:pt x="227" y="339"/>
                  </a:cubicBezTo>
                  <a:cubicBezTo>
                    <a:pt x="221" y="349"/>
                    <a:pt x="217" y="358"/>
                    <a:pt x="215" y="368"/>
                  </a:cubicBezTo>
                  <a:cubicBezTo>
                    <a:pt x="213" y="377"/>
                    <a:pt x="214" y="387"/>
                    <a:pt x="217" y="396"/>
                  </a:cubicBezTo>
                  <a:cubicBezTo>
                    <a:pt x="219" y="406"/>
                    <a:pt x="226" y="415"/>
                    <a:pt x="235" y="425"/>
                  </a:cubicBezTo>
                  <a:cubicBezTo>
                    <a:pt x="244" y="433"/>
                    <a:pt x="253" y="439"/>
                    <a:pt x="262" y="443"/>
                  </a:cubicBezTo>
                  <a:cubicBezTo>
                    <a:pt x="271" y="446"/>
                    <a:pt x="281" y="447"/>
                    <a:pt x="290" y="445"/>
                  </a:cubicBezTo>
                  <a:cubicBezTo>
                    <a:pt x="300" y="444"/>
                    <a:pt x="309" y="440"/>
                    <a:pt x="319" y="434"/>
                  </a:cubicBezTo>
                  <a:cubicBezTo>
                    <a:pt x="329" y="429"/>
                    <a:pt x="338" y="421"/>
                    <a:pt x="347" y="412"/>
                  </a:cubicBezTo>
                  <a:close/>
                  <a:moveTo>
                    <a:pt x="724" y="629"/>
                  </a:moveTo>
                  <a:cubicBezTo>
                    <a:pt x="724" y="630"/>
                    <a:pt x="722" y="631"/>
                    <a:pt x="721" y="632"/>
                  </a:cubicBezTo>
                  <a:cubicBezTo>
                    <a:pt x="720" y="633"/>
                    <a:pt x="718" y="634"/>
                    <a:pt x="715" y="635"/>
                  </a:cubicBezTo>
                  <a:lnTo>
                    <a:pt x="517" y="739"/>
                  </a:lnTo>
                  <a:cubicBezTo>
                    <a:pt x="516" y="740"/>
                    <a:pt x="514" y="740"/>
                    <a:pt x="513" y="741"/>
                  </a:cubicBezTo>
                  <a:cubicBezTo>
                    <a:pt x="511" y="741"/>
                    <a:pt x="509" y="740"/>
                    <a:pt x="507" y="739"/>
                  </a:cubicBezTo>
                  <a:cubicBezTo>
                    <a:pt x="506" y="738"/>
                    <a:pt x="503" y="737"/>
                    <a:pt x="501" y="735"/>
                  </a:cubicBezTo>
                  <a:cubicBezTo>
                    <a:pt x="498" y="733"/>
                    <a:pt x="495" y="730"/>
                    <a:pt x="492" y="726"/>
                  </a:cubicBezTo>
                  <a:cubicBezTo>
                    <a:pt x="488" y="722"/>
                    <a:pt x="485" y="719"/>
                    <a:pt x="483" y="717"/>
                  </a:cubicBezTo>
                  <a:cubicBezTo>
                    <a:pt x="481" y="714"/>
                    <a:pt x="479" y="712"/>
                    <a:pt x="478" y="710"/>
                  </a:cubicBezTo>
                  <a:cubicBezTo>
                    <a:pt x="477" y="708"/>
                    <a:pt x="477" y="706"/>
                    <a:pt x="477" y="704"/>
                  </a:cubicBezTo>
                  <a:cubicBezTo>
                    <a:pt x="477" y="703"/>
                    <a:pt x="477" y="701"/>
                    <a:pt x="478" y="700"/>
                  </a:cubicBezTo>
                  <a:lnTo>
                    <a:pt x="560" y="551"/>
                  </a:lnTo>
                  <a:lnTo>
                    <a:pt x="561" y="549"/>
                  </a:lnTo>
                  <a:lnTo>
                    <a:pt x="560" y="550"/>
                  </a:lnTo>
                  <a:lnTo>
                    <a:pt x="413" y="635"/>
                  </a:lnTo>
                  <a:cubicBezTo>
                    <a:pt x="411" y="636"/>
                    <a:pt x="410" y="636"/>
                    <a:pt x="408" y="636"/>
                  </a:cubicBezTo>
                  <a:cubicBezTo>
                    <a:pt x="407" y="636"/>
                    <a:pt x="405" y="636"/>
                    <a:pt x="403" y="635"/>
                  </a:cubicBezTo>
                  <a:cubicBezTo>
                    <a:pt x="401" y="634"/>
                    <a:pt x="399" y="632"/>
                    <a:pt x="396" y="630"/>
                  </a:cubicBezTo>
                  <a:cubicBezTo>
                    <a:pt x="393" y="628"/>
                    <a:pt x="390" y="625"/>
                    <a:pt x="387" y="621"/>
                  </a:cubicBezTo>
                  <a:cubicBezTo>
                    <a:pt x="383" y="617"/>
                    <a:pt x="380" y="614"/>
                    <a:pt x="378" y="612"/>
                  </a:cubicBezTo>
                  <a:cubicBezTo>
                    <a:pt x="376" y="609"/>
                    <a:pt x="375" y="607"/>
                    <a:pt x="374" y="605"/>
                  </a:cubicBezTo>
                  <a:cubicBezTo>
                    <a:pt x="373" y="603"/>
                    <a:pt x="372" y="601"/>
                    <a:pt x="372" y="600"/>
                  </a:cubicBezTo>
                  <a:cubicBezTo>
                    <a:pt x="372" y="598"/>
                    <a:pt x="373" y="597"/>
                    <a:pt x="374" y="595"/>
                  </a:cubicBezTo>
                  <a:lnTo>
                    <a:pt x="478" y="398"/>
                  </a:lnTo>
                  <a:cubicBezTo>
                    <a:pt x="480" y="395"/>
                    <a:pt x="481" y="393"/>
                    <a:pt x="482" y="392"/>
                  </a:cubicBezTo>
                  <a:cubicBezTo>
                    <a:pt x="482" y="391"/>
                    <a:pt x="483" y="390"/>
                    <a:pt x="484" y="389"/>
                  </a:cubicBezTo>
                  <a:cubicBezTo>
                    <a:pt x="485" y="388"/>
                    <a:pt x="486" y="387"/>
                    <a:pt x="487" y="387"/>
                  </a:cubicBezTo>
                  <a:cubicBezTo>
                    <a:pt x="489" y="387"/>
                    <a:pt x="490" y="387"/>
                    <a:pt x="491" y="388"/>
                  </a:cubicBezTo>
                  <a:cubicBezTo>
                    <a:pt x="493" y="388"/>
                    <a:pt x="495" y="390"/>
                    <a:pt x="497" y="391"/>
                  </a:cubicBezTo>
                  <a:cubicBezTo>
                    <a:pt x="499" y="393"/>
                    <a:pt x="501" y="395"/>
                    <a:pt x="504" y="398"/>
                  </a:cubicBezTo>
                  <a:cubicBezTo>
                    <a:pt x="507" y="401"/>
                    <a:pt x="510" y="404"/>
                    <a:pt x="512" y="406"/>
                  </a:cubicBezTo>
                  <a:cubicBezTo>
                    <a:pt x="513" y="408"/>
                    <a:pt x="515" y="410"/>
                    <a:pt x="515" y="412"/>
                  </a:cubicBezTo>
                  <a:cubicBezTo>
                    <a:pt x="516" y="413"/>
                    <a:pt x="516" y="415"/>
                    <a:pt x="516" y="416"/>
                  </a:cubicBezTo>
                  <a:cubicBezTo>
                    <a:pt x="515" y="417"/>
                    <a:pt x="515" y="418"/>
                    <a:pt x="514" y="420"/>
                  </a:cubicBezTo>
                  <a:lnTo>
                    <a:pt x="421" y="589"/>
                  </a:lnTo>
                  <a:lnTo>
                    <a:pt x="420" y="591"/>
                  </a:lnTo>
                  <a:lnTo>
                    <a:pt x="422" y="590"/>
                  </a:lnTo>
                  <a:lnTo>
                    <a:pt x="588" y="494"/>
                  </a:lnTo>
                  <a:cubicBezTo>
                    <a:pt x="590" y="493"/>
                    <a:pt x="591" y="493"/>
                    <a:pt x="592" y="492"/>
                  </a:cubicBezTo>
                  <a:cubicBezTo>
                    <a:pt x="594" y="492"/>
                    <a:pt x="595" y="492"/>
                    <a:pt x="597" y="493"/>
                  </a:cubicBezTo>
                  <a:cubicBezTo>
                    <a:pt x="598" y="494"/>
                    <a:pt x="600" y="495"/>
                    <a:pt x="602" y="497"/>
                  </a:cubicBezTo>
                  <a:cubicBezTo>
                    <a:pt x="604" y="498"/>
                    <a:pt x="606" y="500"/>
                    <a:pt x="609" y="503"/>
                  </a:cubicBezTo>
                  <a:cubicBezTo>
                    <a:pt x="612" y="506"/>
                    <a:pt x="614" y="509"/>
                    <a:pt x="616" y="511"/>
                  </a:cubicBezTo>
                  <a:cubicBezTo>
                    <a:pt x="618" y="513"/>
                    <a:pt x="619" y="514"/>
                    <a:pt x="619" y="516"/>
                  </a:cubicBezTo>
                  <a:cubicBezTo>
                    <a:pt x="620" y="517"/>
                    <a:pt x="620" y="519"/>
                    <a:pt x="620" y="520"/>
                  </a:cubicBezTo>
                  <a:cubicBezTo>
                    <a:pt x="620" y="521"/>
                    <a:pt x="619" y="522"/>
                    <a:pt x="619" y="523"/>
                  </a:cubicBezTo>
                  <a:lnTo>
                    <a:pt x="525" y="693"/>
                  </a:lnTo>
                  <a:lnTo>
                    <a:pt x="524" y="695"/>
                  </a:lnTo>
                  <a:lnTo>
                    <a:pt x="526" y="693"/>
                  </a:lnTo>
                  <a:lnTo>
                    <a:pt x="695" y="600"/>
                  </a:lnTo>
                  <a:cubicBezTo>
                    <a:pt x="696" y="599"/>
                    <a:pt x="697" y="599"/>
                    <a:pt x="698" y="599"/>
                  </a:cubicBezTo>
                  <a:cubicBezTo>
                    <a:pt x="700" y="598"/>
                    <a:pt x="701" y="599"/>
                    <a:pt x="703" y="599"/>
                  </a:cubicBezTo>
                  <a:cubicBezTo>
                    <a:pt x="704" y="600"/>
                    <a:pt x="706" y="601"/>
                    <a:pt x="708" y="603"/>
                  </a:cubicBezTo>
                  <a:cubicBezTo>
                    <a:pt x="710" y="605"/>
                    <a:pt x="713" y="607"/>
                    <a:pt x="716" y="610"/>
                  </a:cubicBezTo>
                  <a:cubicBezTo>
                    <a:pt x="719" y="613"/>
                    <a:pt x="721" y="615"/>
                    <a:pt x="723" y="617"/>
                  </a:cubicBezTo>
                  <a:cubicBezTo>
                    <a:pt x="724" y="619"/>
                    <a:pt x="725" y="621"/>
                    <a:pt x="726" y="622"/>
                  </a:cubicBezTo>
                  <a:cubicBezTo>
                    <a:pt x="726" y="624"/>
                    <a:pt x="726" y="625"/>
                    <a:pt x="726" y="626"/>
                  </a:cubicBezTo>
                  <a:cubicBezTo>
                    <a:pt x="726" y="627"/>
                    <a:pt x="725" y="628"/>
                    <a:pt x="724" y="629"/>
                  </a:cubicBezTo>
                  <a:close/>
                  <a:moveTo>
                    <a:pt x="632" y="855"/>
                  </a:moveTo>
                  <a:cubicBezTo>
                    <a:pt x="631" y="856"/>
                    <a:pt x="630" y="857"/>
                    <a:pt x="629" y="857"/>
                  </a:cubicBezTo>
                  <a:cubicBezTo>
                    <a:pt x="628" y="857"/>
                    <a:pt x="626" y="857"/>
                    <a:pt x="625" y="856"/>
                  </a:cubicBezTo>
                  <a:cubicBezTo>
                    <a:pt x="623" y="856"/>
                    <a:pt x="621" y="855"/>
                    <a:pt x="619" y="853"/>
                  </a:cubicBezTo>
                  <a:cubicBezTo>
                    <a:pt x="617" y="851"/>
                    <a:pt x="615" y="849"/>
                    <a:pt x="612" y="846"/>
                  </a:cubicBezTo>
                  <a:cubicBezTo>
                    <a:pt x="609" y="843"/>
                    <a:pt x="607" y="841"/>
                    <a:pt x="605" y="839"/>
                  </a:cubicBezTo>
                  <a:cubicBezTo>
                    <a:pt x="603" y="836"/>
                    <a:pt x="602" y="835"/>
                    <a:pt x="601" y="833"/>
                  </a:cubicBezTo>
                  <a:cubicBezTo>
                    <a:pt x="601" y="831"/>
                    <a:pt x="601" y="830"/>
                    <a:pt x="601" y="829"/>
                  </a:cubicBezTo>
                  <a:cubicBezTo>
                    <a:pt x="601" y="828"/>
                    <a:pt x="602" y="827"/>
                    <a:pt x="603" y="826"/>
                  </a:cubicBezTo>
                  <a:lnTo>
                    <a:pt x="762" y="667"/>
                  </a:lnTo>
                  <a:cubicBezTo>
                    <a:pt x="763" y="666"/>
                    <a:pt x="764" y="666"/>
                    <a:pt x="765" y="665"/>
                  </a:cubicBezTo>
                  <a:cubicBezTo>
                    <a:pt x="766" y="665"/>
                    <a:pt x="767" y="665"/>
                    <a:pt x="769" y="666"/>
                  </a:cubicBezTo>
                  <a:cubicBezTo>
                    <a:pt x="770" y="666"/>
                    <a:pt x="772" y="668"/>
                    <a:pt x="774" y="669"/>
                  </a:cubicBezTo>
                  <a:cubicBezTo>
                    <a:pt x="776" y="671"/>
                    <a:pt x="779" y="673"/>
                    <a:pt x="782" y="676"/>
                  </a:cubicBezTo>
                  <a:cubicBezTo>
                    <a:pt x="785" y="679"/>
                    <a:pt x="787" y="681"/>
                    <a:pt x="789" y="684"/>
                  </a:cubicBezTo>
                  <a:cubicBezTo>
                    <a:pt x="790" y="686"/>
                    <a:pt x="791" y="687"/>
                    <a:pt x="792" y="689"/>
                  </a:cubicBezTo>
                  <a:cubicBezTo>
                    <a:pt x="793" y="691"/>
                    <a:pt x="793" y="692"/>
                    <a:pt x="792" y="693"/>
                  </a:cubicBezTo>
                  <a:cubicBezTo>
                    <a:pt x="792" y="694"/>
                    <a:pt x="792" y="695"/>
                    <a:pt x="791" y="696"/>
                  </a:cubicBezTo>
                  <a:lnTo>
                    <a:pt x="632" y="855"/>
                  </a:lnTo>
                  <a:close/>
                  <a:moveTo>
                    <a:pt x="848" y="646"/>
                  </a:moveTo>
                  <a:cubicBezTo>
                    <a:pt x="841" y="653"/>
                    <a:pt x="835" y="656"/>
                    <a:pt x="830" y="656"/>
                  </a:cubicBezTo>
                  <a:cubicBezTo>
                    <a:pt x="825" y="656"/>
                    <a:pt x="819" y="652"/>
                    <a:pt x="812" y="645"/>
                  </a:cubicBezTo>
                  <a:cubicBezTo>
                    <a:pt x="805" y="638"/>
                    <a:pt x="802" y="632"/>
                    <a:pt x="802" y="628"/>
                  </a:cubicBezTo>
                  <a:cubicBezTo>
                    <a:pt x="802" y="623"/>
                    <a:pt x="805" y="617"/>
                    <a:pt x="812" y="610"/>
                  </a:cubicBezTo>
                  <a:cubicBezTo>
                    <a:pt x="818" y="603"/>
                    <a:pt x="824" y="600"/>
                    <a:pt x="829" y="600"/>
                  </a:cubicBezTo>
                  <a:cubicBezTo>
                    <a:pt x="835" y="600"/>
                    <a:pt x="841" y="604"/>
                    <a:pt x="847" y="611"/>
                  </a:cubicBezTo>
                  <a:cubicBezTo>
                    <a:pt x="854" y="617"/>
                    <a:pt x="858" y="623"/>
                    <a:pt x="858" y="628"/>
                  </a:cubicBezTo>
                  <a:cubicBezTo>
                    <a:pt x="858" y="633"/>
                    <a:pt x="855" y="639"/>
                    <a:pt x="848" y="646"/>
                  </a:cubicBezTo>
                  <a:close/>
                  <a:moveTo>
                    <a:pt x="820" y="995"/>
                  </a:moveTo>
                  <a:cubicBezTo>
                    <a:pt x="818" y="997"/>
                    <a:pt x="817" y="999"/>
                    <a:pt x="815" y="1000"/>
                  </a:cubicBezTo>
                  <a:cubicBezTo>
                    <a:pt x="813" y="1002"/>
                    <a:pt x="812" y="1003"/>
                    <a:pt x="811" y="1004"/>
                  </a:cubicBezTo>
                  <a:cubicBezTo>
                    <a:pt x="809" y="1004"/>
                    <a:pt x="808" y="1005"/>
                    <a:pt x="807" y="1005"/>
                  </a:cubicBezTo>
                  <a:cubicBezTo>
                    <a:pt x="806" y="1005"/>
                    <a:pt x="804" y="1006"/>
                    <a:pt x="801" y="1006"/>
                  </a:cubicBezTo>
                  <a:cubicBezTo>
                    <a:pt x="798" y="1006"/>
                    <a:pt x="794" y="1005"/>
                    <a:pt x="788" y="1004"/>
                  </a:cubicBezTo>
                  <a:cubicBezTo>
                    <a:pt x="782" y="1002"/>
                    <a:pt x="776" y="1000"/>
                    <a:pt x="770" y="998"/>
                  </a:cubicBezTo>
                  <a:cubicBezTo>
                    <a:pt x="764" y="995"/>
                    <a:pt x="758" y="991"/>
                    <a:pt x="751" y="987"/>
                  </a:cubicBezTo>
                  <a:cubicBezTo>
                    <a:pt x="745" y="983"/>
                    <a:pt x="739" y="978"/>
                    <a:pt x="734" y="973"/>
                  </a:cubicBezTo>
                  <a:cubicBezTo>
                    <a:pt x="722" y="961"/>
                    <a:pt x="714" y="949"/>
                    <a:pt x="709" y="937"/>
                  </a:cubicBezTo>
                  <a:cubicBezTo>
                    <a:pt x="704" y="924"/>
                    <a:pt x="702" y="911"/>
                    <a:pt x="703" y="898"/>
                  </a:cubicBezTo>
                  <a:cubicBezTo>
                    <a:pt x="705" y="885"/>
                    <a:pt x="709" y="871"/>
                    <a:pt x="716" y="858"/>
                  </a:cubicBezTo>
                  <a:cubicBezTo>
                    <a:pt x="724" y="844"/>
                    <a:pt x="735" y="830"/>
                    <a:pt x="748" y="816"/>
                  </a:cubicBezTo>
                  <a:cubicBezTo>
                    <a:pt x="764" y="801"/>
                    <a:pt x="779" y="789"/>
                    <a:pt x="794" y="782"/>
                  </a:cubicBezTo>
                  <a:cubicBezTo>
                    <a:pt x="810" y="774"/>
                    <a:pt x="824" y="770"/>
                    <a:pt x="838" y="770"/>
                  </a:cubicBezTo>
                  <a:cubicBezTo>
                    <a:pt x="852" y="769"/>
                    <a:pt x="865" y="772"/>
                    <a:pt x="877" y="777"/>
                  </a:cubicBezTo>
                  <a:cubicBezTo>
                    <a:pt x="890" y="783"/>
                    <a:pt x="901" y="791"/>
                    <a:pt x="912" y="801"/>
                  </a:cubicBezTo>
                  <a:cubicBezTo>
                    <a:pt x="917" y="807"/>
                    <a:pt x="921" y="812"/>
                    <a:pt x="925" y="818"/>
                  </a:cubicBezTo>
                  <a:cubicBezTo>
                    <a:pt x="929" y="823"/>
                    <a:pt x="932" y="829"/>
                    <a:pt x="935" y="835"/>
                  </a:cubicBezTo>
                  <a:cubicBezTo>
                    <a:pt x="937" y="840"/>
                    <a:pt x="939" y="845"/>
                    <a:pt x="940" y="851"/>
                  </a:cubicBezTo>
                  <a:cubicBezTo>
                    <a:pt x="941" y="856"/>
                    <a:pt x="942" y="860"/>
                    <a:pt x="942" y="862"/>
                  </a:cubicBezTo>
                  <a:cubicBezTo>
                    <a:pt x="942" y="865"/>
                    <a:pt x="942" y="867"/>
                    <a:pt x="941" y="869"/>
                  </a:cubicBezTo>
                  <a:cubicBezTo>
                    <a:pt x="941" y="870"/>
                    <a:pt x="940" y="871"/>
                    <a:pt x="940" y="873"/>
                  </a:cubicBezTo>
                  <a:cubicBezTo>
                    <a:pt x="939" y="874"/>
                    <a:pt x="938" y="876"/>
                    <a:pt x="937" y="877"/>
                  </a:cubicBezTo>
                  <a:cubicBezTo>
                    <a:pt x="935" y="879"/>
                    <a:pt x="934" y="881"/>
                    <a:pt x="931" y="883"/>
                  </a:cubicBezTo>
                  <a:cubicBezTo>
                    <a:pt x="927" y="888"/>
                    <a:pt x="923" y="890"/>
                    <a:pt x="920" y="891"/>
                  </a:cubicBezTo>
                  <a:cubicBezTo>
                    <a:pt x="917" y="892"/>
                    <a:pt x="915" y="891"/>
                    <a:pt x="914" y="890"/>
                  </a:cubicBezTo>
                  <a:cubicBezTo>
                    <a:pt x="912" y="888"/>
                    <a:pt x="911" y="885"/>
                    <a:pt x="910" y="881"/>
                  </a:cubicBezTo>
                  <a:cubicBezTo>
                    <a:pt x="910" y="877"/>
                    <a:pt x="909" y="872"/>
                    <a:pt x="908" y="866"/>
                  </a:cubicBezTo>
                  <a:cubicBezTo>
                    <a:pt x="907" y="860"/>
                    <a:pt x="905" y="853"/>
                    <a:pt x="902" y="846"/>
                  </a:cubicBezTo>
                  <a:cubicBezTo>
                    <a:pt x="899" y="839"/>
                    <a:pt x="894" y="833"/>
                    <a:pt x="887" y="826"/>
                  </a:cubicBezTo>
                  <a:cubicBezTo>
                    <a:pt x="873" y="812"/>
                    <a:pt x="857" y="806"/>
                    <a:pt x="838" y="810"/>
                  </a:cubicBezTo>
                  <a:cubicBezTo>
                    <a:pt x="820" y="813"/>
                    <a:pt x="801" y="825"/>
                    <a:pt x="780" y="845"/>
                  </a:cubicBezTo>
                  <a:cubicBezTo>
                    <a:pt x="770" y="856"/>
                    <a:pt x="762" y="866"/>
                    <a:pt x="756" y="875"/>
                  </a:cubicBezTo>
                  <a:cubicBezTo>
                    <a:pt x="750" y="885"/>
                    <a:pt x="747" y="894"/>
                    <a:pt x="745" y="903"/>
                  </a:cubicBezTo>
                  <a:cubicBezTo>
                    <a:pt x="744" y="912"/>
                    <a:pt x="745" y="921"/>
                    <a:pt x="748" y="929"/>
                  </a:cubicBezTo>
                  <a:cubicBezTo>
                    <a:pt x="751" y="937"/>
                    <a:pt x="756" y="944"/>
                    <a:pt x="763" y="951"/>
                  </a:cubicBezTo>
                  <a:cubicBezTo>
                    <a:pt x="770" y="958"/>
                    <a:pt x="776" y="963"/>
                    <a:pt x="784" y="966"/>
                  </a:cubicBezTo>
                  <a:cubicBezTo>
                    <a:pt x="791" y="969"/>
                    <a:pt x="798" y="971"/>
                    <a:pt x="804" y="972"/>
                  </a:cubicBezTo>
                  <a:cubicBezTo>
                    <a:pt x="810" y="973"/>
                    <a:pt x="815" y="974"/>
                    <a:pt x="820" y="974"/>
                  </a:cubicBezTo>
                  <a:cubicBezTo>
                    <a:pt x="825" y="975"/>
                    <a:pt x="828" y="976"/>
                    <a:pt x="829" y="977"/>
                  </a:cubicBezTo>
                  <a:cubicBezTo>
                    <a:pt x="830" y="978"/>
                    <a:pt x="830" y="979"/>
                    <a:pt x="830" y="980"/>
                  </a:cubicBezTo>
                  <a:cubicBezTo>
                    <a:pt x="831" y="981"/>
                    <a:pt x="830" y="982"/>
                    <a:pt x="830" y="984"/>
                  </a:cubicBezTo>
                  <a:cubicBezTo>
                    <a:pt x="829" y="985"/>
                    <a:pt x="828" y="987"/>
                    <a:pt x="826" y="989"/>
                  </a:cubicBezTo>
                  <a:cubicBezTo>
                    <a:pt x="825" y="991"/>
                    <a:pt x="823" y="993"/>
                    <a:pt x="820" y="995"/>
                  </a:cubicBezTo>
                  <a:close/>
                  <a:moveTo>
                    <a:pt x="938" y="1146"/>
                  </a:moveTo>
                  <a:cubicBezTo>
                    <a:pt x="936" y="1148"/>
                    <a:pt x="934" y="1150"/>
                    <a:pt x="932" y="1151"/>
                  </a:cubicBezTo>
                  <a:cubicBezTo>
                    <a:pt x="930" y="1152"/>
                    <a:pt x="928" y="1153"/>
                    <a:pt x="927" y="1154"/>
                  </a:cubicBezTo>
                  <a:cubicBezTo>
                    <a:pt x="925" y="1154"/>
                    <a:pt x="924" y="1154"/>
                    <a:pt x="923" y="1154"/>
                  </a:cubicBezTo>
                  <a:cubicBezTo>
                    <a:pt x="922" y="1153"/>
                    <a:pt x="921" y="1153"/>
                    <a:pt x="920" y="1152"/>
                  </a:cubicBezTo>
                  <a:lnTo>
                    <a:pt x="822" y="1054"/>
                  </a:lnTo>
                  <a:cubicBezTo>
                    <a:pt x="819" y="1051"/>
                    <a:pt x="818" y="1049"/>
                    <a:pt x="818" y="1045"/>
                  </a:cubicBezTo>
                  <a:cubicBezTo>
                    <a:pt x="818" y="1042"/>
                    <a:pt x="820" y="1039"/>
                    <a:pt x="824" y="1035"/>
                  </a:cubicBezTo>
                  <a:lnTo>
                    <a:pt x="830" y="1029"/>
                  </a:lnTo>
                  <a:cubicBezTo>
                    <a:pt x="832" y="1027"/>
                    <a:pt x="833" y="1026"/>
                    <a:pt x="835" y="1025"/>
                  </a:cubicBezTo>
                  <a:cubicBezTo>
                    <a:pt x="836" y="1023"/>
                    <a:pt x="838" y="1023"/>
                    <a:pt x="840" y="1022"/>
                  </a:cubicBezTo>
                  <a:cubicBezTo>
                    <a:pt x="841" y="1021"/>
                    <a:pt x="843" y="1020"/>
                    <a:pt x="846" y="1020"/>
                  </a:cubicBezTo>
                  <a:cubicBezTo>
                    <a:pt x="848" y="1019"/>
                    <a:pt x="851" y="1018"/>
                    <a:pt x="854" y="1017"/>
                  </a:cubicBezTo>
                  <a:lnTo>
                    <a:pt x="1033" y="978"/>
                  </a:lnTo>
                  <a:lnTo>
                    <a:pt x="965" y="910"/>
                  </a:lnTo>
                  <a:cubicBezTo>
                    <a:pt x="963" y="908"/>
                    <a:pt x="963" y="906"/>
                    <a:pt x="964" y="903"/>
                  </a:cubicBezTo>
                  <a:cubicBezTo>
                    <a:pt x="964" y="900"/>
                    <a:pt x="967" y="896"/>
                    <a:pt x="971" y="892"/>
                  </a:cubicBezTo>
                  <a:cubicBezTo>
                    <a:pt x="974" y="890"/>
                    <a:pt x="975" y="888"/>
                    <a:pt x="977" y="887"/>
                  </a:cubicBezTo>
                  <a:cubicBezTo>
                    <a:pt x="979" y="885"/>
                    <a:pt x="981" y="884"/>
                    <a:pt x="982" y="884"/>
                  </a:cubicBezTo>
                  <a:cubicBezTo>
                    <a:pt x="984" y="883"/>
                    <a:pt x="985" y="883"/>
                    <a:pt x="986" y="884"/>
                  </a:cubicBezTo>
                  <a:cubicBezTo>
                    <a:pt x="988" y="884"/>
                    <a:pt x="989" y="885"/>
                    <a:pt x="990" y="886"/>
                  </a:cubicBezTo>
                  <a:lnTo>
                    <a:pt x="1081" y="977"/>
                  </a:lnTo>
                  <a:cubicBezTo>
                    <a:pt x="1082" y="978"/>
                    <a:pt x="1083" y="980"/>
                    <a:pt x="1084" y="981"/>
                  </a:cubicBezTo>
                  <a:cubicBezTo>
                    <a:pt x="1085" y="982"/>
                    <a:pt x="1085" y="984"/>
                    <a:pt x="1085" y="985"/>
                  </a:cubicBezTo>
                  <a:cubicBezTo>
                    <a:pt x="1085" y="987"/>
                    <a:pt x="1084" y="988"/>
                    <a:pt x="1083" y="990"/>
                  </a:cubicBezTo>
                  <a:cubicBezTo>
                    <a:pt x="1082" y="992"/>
                    <a:pt x="1081" y="994"/>
                    <a:pt x="1079" y="996"/>
                  </a:cubicBezTo>
                  <a:lnTo>
                    <a:pt x="1073" y="1001"/>
                  </a:lnTo>
                  <a:cubicBezTo>
                    <a:pt x="1072" y="1003"/>
                    <a:pt x="1070" y="1004"/>
                    <a:pt x="1068" y="1006"/>
                  </a:cubicBezTo>
                  <a:cubicBezTo>
                    <a:pt x="1067" y="1007"/>
                    <a:pt x="1065" y="1008"/>
                    <a:pt x="1063" y="1009"/>
                  </a:cubicBezTo>
                  <a:cubicBezTo>
                    <a:pt x="1061" y="1010"/>
                    <a:pt x="1059" y="1010"/>
                    <a:pt x="1057" y="1011"/>
                  </a:cubicBezTo>
                  <a:cubicBezTo>
                    <a:pt x="1054" y="1012"/>
                    <a:pt x="1052" y="1013"/>
                    <a:pt x="1049" y="1013"/>
                  </a:cubicBezTo>
                  <a:lnTo>
                    <a:pt x="870" y="1053"/>
                  </a:lnTo>
                  <a:lnTo>
                    <a:pt x="944" y="1127"/>
                  </a:lnTo>
                  <a:cubicBezTo>
                    <a:pt x="945" y="1128"/>
                    <a:pt x="946" y="1129"/>
                    <a:pt x="946" y="1130"/>
                  </a:cubicBezTo>
                  <a:cubicBezTo>
                    <a:pt x="946" y="1132"/>
                    <a:pt x="946" y="1133"/>
                    <a:pt x="946" y="1134"/>
                  </a:cubicBezTo>
                  <a:cubicBezTo>
                    <a:pt x="946" y="1136"/>
                    <a:pt x="945" y="1138"/>
                    <a:pt x="944" y="1140"/>
                  </a:cubicBezTo>
                  <a:cubicBezTo>
                    <a:pt x="942" y="1141"/>
                    <a:pt x="941" y="1144"/>
                    <a:pt x="938" y="1146"/>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85" name="Freeform 132"/>
            <p:cNvSpPr>
              <a:spLocks noEditPoints="1"/>
            </p:cNvSpPr>
            <p:nvPr/>
          </p:nvSpPr>
          <p:spPr bwMode="auto">
            <a:xfrm>
              <a:off x="1300" y="1484"/>
              <a:ext cx="269" cy="283"/>
            </a:xfrm>
            <a:custGeom>
              <a:avLst/>
              <a:gdLst>
                <a:gd name="T0" fmla="*/ 2 w 2543"/>
                <a:gd name="T1" fmla="*/ 221 h 2675"/>
                <a:gd name="T2" fmla="*/ 252 w 2543"/>
                <a:gd name="T3" fmla="*/ 32 h 2675"/>
                <a:gd name="T4" fmla="*/ 195 w 2543"/>
                <a:gd name="T5" fmla="*/ 419 h 2675"/>
                <a:gd name="T6" fmla="*/ 118 w 2543"/>
                <a:gd name="T7" fmla="*/ 338 h 2675"/>
                <a:gd name="T8" fmla="*/ 248 w 2543"/>
                <a:gd name="T9" fmla="*/ 149 h 2675"/>
                <a:gd name="T10" fmla="*/ 253 w 2543"/>
                <a:gd name="T11" fmla="*/ 197 h 2675"/>
                <a:gd name="T12" fmla="*/ 470 w 2543"/>
                <a:gd name="T13" fmla="*/ 598 h 2675"/>
                <a:gd name="T14" fmla="*/ 433 w 2543"/>
                <a:gd name="T15" fmla="*/ 368 h 2675"/>
                <a:gd name="T16" fmla="*/ 513 w 2543"/>
                <a:gd name="T17" fmla="*/ 484 h 2675"/>
                <a:gd name="T18" fmla="*/ 348 w 2543"/>
                <a:gd name="T19" fmla="*/ 524 h 2675"/>
                <a:gd name="T20" fmla="*/ 649 w 2543"/>
                <a:gd name="T21" fmla="*/ 866 h 2675"/>
                <a:gd name="T22" fmla="*/ 691 w 2543"/>
                <a:gd name="T23" fmla="*/ 678 h 2675"/>
                <a:gd name="T24" fmla="*/ 505 w 2543"/>
                <a:gd name="T25" fmla="*/ 733 h 2675"/>
                <a:gd name="T26" fmla="*/ 635 w 2543"/>
                <a:gd name="T27" fmla="*/ 525 h 2675"/>
                <a:gd name="T28" fmla="*/ 724 w 2543"/>
                <a:gd name="T29" fmla="*/ 620 h 2675"/>
                <a:gd name="T30" fmla="*/ 655 w 2543"/>
                <a:gd name="T31" fmla="*/ 822 h 2675"/>
                <a:gd name="T32" fmla="*/ 858 w 2543"/>
                <a:gd name="T33" fmla="*/ 753 h 2675"/>
                <a:gd name="T34" fmla="*/ 947 w 2543"/>
                <a:gd name="T35" fmla="*/ 889 h 2675"/>
                <a:gd name="T36" fmla="*/ 750 w 2543"/>
                <a:gd name="T37" fmla="*/ 980 h 2675"/>
                <a:gd name="T38" fmla="*/ 905 w 2543"/>
                <a:gd name="T39" fmla="*/ 796 h 2675"/>
                <a:gd name="T40" fmla="*/ 959 w 2543"/>
                <a:gd name="T41" fmla="*/ 847 h 2675"/>
                <a:gd name="T42" fmla="*/ 976 w 2543"/>
                <a:gd name="T43" fmla="*/ 898 h 2675"/>
                <a:gd name="T44" fmla="*/ 925 w 2543"/>
                <a:gd name="T45" fmla="*/ 989 h 2675"/>
                <a:gd name="T46" fmla="*/ 1055 w 2543"/>
                <a:gd name="T47" fmla="*/ 1116 h 2675"/>
                <a:gd name="T48" fmla="*/ 935 w 2543"/>
                <a:gd name="T49" fmla="*/ 1044 h 2675"/>
                <a:gd name="T50" fmla="*/ 1184 w 2543"/>
                <a:gd name="T51" fmla="*/ 1365 h 2675"/>
                <a:gd name="T52" fmla="*/ 1072 w 2543"/>
                <a:gd name="T53" fmla="*/ 1263 h 2675"/>
                <a:gd name="T54" fmla="*/ 1309 w 2543"/>
                <a:gd name="T55" fmla="*/ 1216 h 2675"/>
                <a:gd name="T56" fmla="*/ 1277 w 2543"/>
                <a:gd name="T57" fmla="*/ 1231 h 2675"/>
                <a:gd name="T58" fmla="*/ 1152 w 2543"/>
                <a:gd name="T59" fmla="*/ 1331 h 2675"/>
                <a:gd name="T60" fmla="*/ 1224 w 2543"/>
                <a:gd name="T61" fmla="*/ 1448 h 2675"/>
                <a:gd name="T62" fmla="*/ 1437 w 2543"/>
                <a:gd name="T63" fmla="*/ 1179 h 2675"/>
                <a:gd name="T64" fmla="*/ 1408 w 2543"/>
                <a:gd name="T65" fmla="*/ 1628 h 2675"/>
                <a:gd name="T66" fmla="*/ 1325 w 2543"/>
                <a:gd name="T67" fmla="*/ 1560 h 2675"/>
                <a:gd name="T68" fmla="*/ 1473 w 2543"/>
                <a:gd name="T69" fmla="*/ 1505 h 2675"/>
                <a:gd name="T70" fmla="*/ 1418 w 2543"/>
                <a:gd name="T71" fmla="*/ 1384 h 2675"/>
                <a:gd name="T72" fmla="*/ 1493 w 2543"/>
                <a:gd name="T73" fmla="*/ 1381 h 2675"/>
                <a:gd name="T74" fmla="*/ 1404 w 2543"/>
                <a:gd name="T75" fmla="*/ 1482 h 2675"/>
                <a:gd name="T76" fmla="*/ 1840 w 2543"/>
                <a:gd name="T77" fmla="*/ 1741 h 2675"/>
                <a:gd name="T78" fmla="*/ 1594 w 2543"/>
                <a:gd name="T79" fmla="*/ 1821 h 2675"/>
                <a:gd name="T80" fmla="*/ 1512 w 2543"/>
                <a:gd name="T81" fmla="*/ 1742 h 2675"/>
                <a:gd name="T82" fmla="*/ 1603 w 2543"/>
                <a:gd name="T83" fmla="*/ 1499 h 2675"/>
                <a:gd name="T84" fmla="*/ 1536 w 2543"/>
                <a:gd name="T85" fmla="*/ 1703 h 2675"/>
                <a:gd name="T86" fmla="*/ 1735 w 2543"/>
                <a:gd name="T87" fmla="*/ 1632 h 2675"/>
                <a:gd name="T88" fmla="*/ 1831 w 2543"/>
                <a:gd name="T89" fmla="*/ 1722 h 2675"/>
                <a:gd name="T90" fmla="*/ 2137 w 2543"/>
                <a:gd name="T91" fmla="*/ 1959 h 2675"/>
                <a:gd name="T92" fmla="*/ 1842 w 2543"/>
                <a:gd name="T93" fmla="*/ 2066 h 2675"/>
                <a:gd name="T94" fmla="*/ 1996 w 2543"/>
                <a:gd name="T95" fmla="*/ 1773 h 2675"/>
                <a:gd name="T96" fmla="*/ 2167 w 2543"/>
                <a:gd name="T97" fmla="*/ 2295 h 2675"/>
                <a:gd name="T98" fmla="*/ 2130 w 2543"/>
                <a:gd name="T99" fmla="*/ 2065 h 2675"/>
                <a:gd name="T100" fmla="*/ 2210 w 2543"/>
                <a:gd name="T101" fmla="*/ 2181 h 2675"/>
                <a:gd name="T102" fmla="*/ 2045 w 2543"/>
                <a:gd name="T103" fmla="*/ 2221 h 2675"/>
                <a:gd name="T104" fmla="*/ 2334 w 2543"/>
                <a:gd name="T105" fmla="*/ 2552 h 2675"/>
                <a:gd name="T106" fmla="*/ 2377 w 2543"/>
                <a:gd name="T107" fmla="*/ 2364 h 2675"/>
                <a:gd name="T108" fmla="*/ 2191 w 2543"/>
                <a:gd name="T109" fmla="*/ 2418 h 2675"/>
                <a:gd name="T110" fmla="*/ 2321 w 2543"/>
                <a:gd name="T111" fmla="*/ 2211 h 2675"/>
                <a:gd name="T112" fmla="*/ 2409 w 2543"/>
                <a:gd name="T113" fmla="*/ 2306 h 2675"/>
                <a:gd name="T114" fmla="*/ 2341 w 2543"/>
                <a:gd name="T115" fmla="*/ 2508 h 2675"/>
                <a:gd name="T116" fmla="*/ 2543 w 2543"/>
                <a:gd name="T117" fmla="*/ 2439 h 2675"/>
                <a:gd name="T118" fmla="*/ 2484 w 2543"/>
                <a:gd name="T119" fmla="*/ 2642 h 2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43" h="2675">
                  <a:moveTo>
                    <a:pt x="32" y="252"/>
                  </a:moveTo>
                  <a:cubicBezTo>
                    <a:pt x="31" y="253"/>
                    <a:pt x="30" y="253"/>
                    <a:pt x="29" y="253"/>
                  </a:cubicBezTo>
                  <a:cubicBezTo>
                    <a:pt x="28" y="254"/>
                    <a:pt x="27" y="253"/>
                    <a:pt x="25" y="253"/>
                  </a:cubicBezTo>
                  <a:cubicBezTo>
                    <a:pt x="23" y="252"/>
                    <a:pt x="22" y="251"/>
                    <a:pt x="19" y="249"/>
                  </a:cubicBezTo>
                  <a:cubicBezTo>
                    <a:pt x="17" y="247"/>
                    <a:pt x="15" y="245"/>
                    <a:pt x="12" y="242"/>
                  </a:cubicBezTo>
                  <a:cubicBezTo>
                    <a:pt x="9" y="239"/>
                    <a:pt x="6" y="237"/>
                    <a:pt x="5" y="234"/>
                  </a:cubicBezTo>
                  <a:cubicBezTo>
                    <a:pt x="3" y="232"/>
                    <a:pt x="2" y="230"/>
                    <a:pt x="1" y="229"/>
                  </a:cubicBezTo>
                  <a:cubicBezTo>
                    <a:pt x="0" y="227"/>
                    <a:pt x="0" y="226"/>
                    <a:pt x="0" y="224"/>
                  </a:cubicBezTo>
                  <a:cubicBezTo>
                    <a:pt x="0" y="223"/>
                    <a:pt x="1" y="222"/>
                    <a:pt x="2" y="221"/>
                  </a:cubicBezTo>
                  <a:lnTo>
                    <a:pt x="222" y="2"/>
                  </a:lnTo>
                  <a:cubicBezTo>
                    <a:pt x="223" y="1"/>
                    <a:pt x="224" y="0"/>
                    <a:pt x="225" y="0"/>
                  </a:cubicBezTo>
                  <a:cubicBezTo>
                    <a:pt x="226" y="0"/>
                    <a:pt x="228" y="0"/>
                    <a:pt x="229" y="1"/>
                  </a:cubicBezTo>
                  <a:cubicBezTo>
                    <a:pt x="231" y="2"/>
                    <a:pt x="233" y="3"/>
                    <a:pt x="235" y="5"/>
                  </a:cubicBezTo>
                  <a:cubicBezTo>
                    <a:pt x="237" y="6"/>
                    <a:pt x="240" y="9"/>
                    <a:pt x="242" y="11"/>
                  </a:cubicBezTo>
                  <a:cubicBezTo>
                    <a:pt x="245" y="14"/>
                    <a:pt x="248" y="17"/>
                    <a:pt x="249" y="19"/>
                  </a:cubicBezTo>
                  <a:cubicBezTo>
                    <a:pt x="251" y="21"/>
                    <a:pt x="252" y="23"/>
                    <a:pt x="253" y="25"/>
                  </a:cubicBezTo>
                  <a:cubicBezTo>
                    <a:pt x="254" y="26"/>
                    <a:pt x="254" y="28"/>
                    <a:pt x="254" y="29"/>
                  </a:cubicBezTo>
                  <a:cubicBezTo>
                    <a:pt x="254" y="30"/>
                    <a:pt x="253" y="31"/>
                    <a:pt x="252" y="32"/>
                  </a:cubicBezTo>
                  <a:lnTo>
                    <a:pt x="32" y="252"/>
                  </a:lnTo>
                  <a:close/>
                  <a:moveTo>
                    <a:pt x="226" y="446"/>
                  </a:moveTo>
                  <a:cubicBezTo>
                    <a:pt x="225" y="447"/>
                    <a:pt x="224" y="447"/>
                    <a:pt x="223" y="447"/>
                  </a:cubicBezTo>
                  <a:cubicBezTo>
                    <a:pt x="222" y="447"/>
                    <a:pt x="220" y="447"/>
                    <a:pt x="219" y="447"/>
                  </a:cubicBezTo>
                  <a:cubicBezTo>
                    <a:pt x="217" y="446"/>
                    <a:pt x="216" y="445"/>
                    <a:pt x="213" y="443"/>
                  </a:cubicBezTo>
                  <a:cubicBezTo>
                    <a:pt x="211" y="442"/>
                    <a:pt x="209" y="439"/>
                    <a:pt x="206" y="437"/>
                  </a:cubicBezTo>
                  <a:cubicBezTo>
                    <a:pt x="203" y="434"/>
                    <a:pt x="201" y="431"/>
                    <a:pt x="199" y="429"/>
                  </a:cubicBezTo>
                  <a:cubicBezTo>
                    <a:pt x="197" y="427"/>
                    <a:pt x="196" y="425"/>
                    <a:pt x="196" y="423"/>
                  </a:cubicBezTo>
                  <a:cubicBezTo>
                    <a:pt x="195" y="422"/>
                    <a:pt x="195" y="421"/>
                    <a:pt x="195" y="419"/>
                  </a:cubicBezTo>
                  <a:cubicBezTo>
                    <a:pt x="195" y="418"/>
                    <a:pt x="196" y="417"/>
                    <a:pt x="197" y="416"/>
                  </a:cubicBezTo>
                  <a:lnTo>
                    <a:pt x="290" y="323"/>
                  </a:lnTo>
                  <a:cubicBezTo>
                    <a:pt x="299" y="314"/>
                    <a:pt x="306" y="306"/>
                    <a:pt x="310" y="299"/>
                  </a:cubicBezTo>
                  <a:cubicBezTo>
                    <a:pt x="314" y="292"/>
                    <a:pt x="317" y="285"/>
                    <a:pt x="318" y="279"/>
                  </a:cubicBezTo>
                  <a:cubicBezTo>
                    <a:pt x="319" y="272"/>
                    <a:pt x="319" y="265"/>
                    <a:pt x="317" y="259"/>
                  </a:cubicBezTo>
                  <a:cubicBezTo>
                    <a:pt x="314" y="253"/>
                    <a:pt x="310" y="247"/>
                    <a:pt x="305" y="241"/>
                  </a:cubicBezTo>
                  <a:cubicBezTo>
                    <a:pt x="298" y="234"/>
                    <a:pt x="288" y="229"/>
                    <a:pt x="275" y="227"/>
                  </a:cubicBezTo>
                  <a:cubicBezTo>
                    <a:pt x="263" y="225"/>
                    <a:pt x="247" y="225"/>
                    <a:pt x="229" y="227"/>
                  </a:cubicBezTo>
                  <a:lnTo>
                    <a:pt x="118" y="338"/>
                  </a:lnTo>
                  <a:cubicBezTo>
                    <a:pt x="117" y="339"/>
                    <a:pt x="116" y="339"/>
                    <a:pt x="115" y="339"/>
                  </a:cubicBezTo>
                  <a:cubicBezTo>
                    <a:pt x="114" y="340"/>
                    <a:pt x="113" y="339"/>
                    <a:pt x="111" y="339"/>
                  </a:cubicBezTo>
                  <a:cubicBezTo>
                    <a:pt x="110" y="338"/>
                    <a:pt x="108" y="337"/>
                    <a:pt x="106" y="335"/>
                  </a:cubicBezTo>
                  <a:cubicBezTo>
                    <a:pt x="103" y="334"/>
                    <a:pt x="101" y="331"/>
                    <a:pt x="98" y="329"/>
                  </a:cubicBezTo>
                  <a:cubicBezTo>
                    <a:pt x="95" y="326"/>
                    <a:pt x="93" y="323"/>
                    <a:pt x="91" y="321"/>
                  </a:cubicBezTo>
                  <a:cubicBezTo>
                    <a:pt x="90" y="319"/>
                    <a:pt x="88" y="317"/>
                    <a:pt x="88" y="316"/>
                  </a:cubicBezTo>
                  <a:cubicBezTo>
                    <a:pt x="87" y="314"/>
                    <a:pt x="87" y="313"/>
                    <a:pt x="87" y="312"/>
                  </a:cubicBezTo>
                  <a:cubicBezTo>
                    <a:pt x="87" y="311"/>
                    <a:pt x="88" y="310"/>
                    <a:pt x="89" y="309"/>
                  </a:cubicBezTo>
                  <a:lnTo>
                    <a:pt x="248" y="149"/>
                  </a:lnTo>
                  <a:cubicBezTo>
                    <a:pt x="249" y="149"/>
                    <a:pt x="250" y="148"/>
                    <a:pt x="251" y="148"/>
                  </a:cubicBezTo>
                  <a:cubicBezTo>
                    <a:pt x="252" y="147"/>
                    <a:pt x="253" y="147"/>
                    <a:pt x="255" y="148"/>
                  </a:cubicBezTo>
                  <a:cubicBezTo>
                    <a:pt x="256" y="148"/>
                    <a:pt x="258" y="150"/>
                    <a:pt x="260" y="151"/>
                  </a:cubicBezTo>
                  <a:cubicBezTo>
                    <a:pt x="262" y="152"/>
                    <a:pt x="264" y="155"/>
                    <a:pt x="267" y="157"/>
                  </a:cubicBezTo>
                  <a:cubicBezTo>
                    <a:pt x="269" y="160"/>
                    <a:pt x="271" y="162"/>
                    <a:pt x="273" y="164"/>
                  </a:cubicBezTo>
                  <a:cubicBezTo>
                    <a:pt x="275" y="166"/>
                    <a:pt x="276" y="168"/>
                    <a:pt x="276" y="169"/>
                  </a:cubicBezTo>
                  <a:cubicBezTo>
                    <a:pt x="276" y="170"/>
                    <a:pt x="276" y="172"/>
                    <a:pt x="276" y="173"/>
                  </a:cubicBezTo>
                  <a:cubicBezTo>
                    <a:pt x="276" y="174"/>
                    <a:pt x="275" y="175"/>
                    <a:pt x="274" y="176"/>
                  </a:cubicBezTo>
                  <a:lnTo>
                    <a:pt x="253" y="197"/>
                  </a:lnTo>
                  <a:cubicBezTo>
                    <a:pt x="272" y="196"/>
                    <a:pt x="289" y="197"/>
                    <a:pt x="302" y="202"/>
                  </a:cubicBezTo>
                  <a:cubicBezTo>
                    <a:pt x="316" y="206"/>
                    <a:pt x="327" y="213"/>
                    <a:pt x="336" y="222"/>
                  </a:cubicBezTo>
                  <a:cubicBezTo>
                    <a:pt x="347" y="232"/>
                    <a:pt x="354" y="243"/>
                    <a:pt x="358" y="254"/>
                  </a:cubicBezTo>
                  <a:cubicBezTo>
                    <a:pt x="361" y="265"/>
                    <a:pt x="362" y="275"/>
                    <a:pt x="361" y="286"/>
                  </a:cubicBezTo>
                  <a:cubicBezTo>
                    <a:pt x="359" y="296"/>
                    <a:pt x="355" y="307"/>
                    <a:pt x="349" y="317"/>
                  </a:cubicBezTo>
                  <a:cubicBezTo>
                    <a:pt x="343" y="327"/>
                    <a:pt x="334" y="337"/>
                    <a:pt x="323" y="349"/>
                  </a:cubicBezTo>
                  <a:lnTo>
                    <a:pt x="226" y="446"/>
                  </a:lnTo>
                  <a:close/>
                  <a:moveTo>
                    <a:pt x="511" y="568"/>
                  </a:moveTo>
                  <a:cubicBezTo>
                    <a:pt x="498" y="581"/>
                    <a:pt x="484" y="591"/>
                    <a:pt x="470" y="598"/>
                  </a:cubicBezTo>
                  <a:cubicBezTo>
                    <a:pt x="455" y="606"/>
                    <a:pt x="441" y="610"/>
                    <a:pt x="426" y="611"/>
                  </a:cubicBezTo>
                  <a:cubicBezTo>
                    <a:pt x="412" y="612"/>
                    <a:pt x="397" y="610"/>
                    <a:pt x="382" y="604"/>
                  </a:cubicBezTo>
                  <a:cubicBezTo>
                    <a:pt x="368" y="598"/>
                    <a:pt x="354" y="589"/>
                    <a:pt x="340" y="575"/>
                  </a:cubicBezTo>
                  <a:cubicBezTo>
                    <a:pt x="327" y="562"/>
                    <a:pt x="318" y="549"/>
                    <a:pt x="312" y="535"/>
                  </a:cubicBezTo>
                  <a:cubicBezTo>
                    <a:pt x="306" y="522"/>
                    <a:pt x="304" y="508"/>
                    <a:pt x="304" y="494"/>
                  </a:cubicBezTo>
                  <a:cubicBezTo>
                    <a:pt x="305" y="480"/>
                    <a:pt x="310" y="466"/>
                    <a:pt x="317" y="452"/>
                  </a:cubicBezTo>
                  <a:cubicBezTo>
                    <a:pt x="324" y="439"/>
                    <a:pt x="335" y="425"/>
                    <a:pt x="348" y="412"/>
                  </a:cubicBezTo>
                  <a:cubicBezTo>
                    <a:pt x="361" y="399"/>
                    <a:pt x="375" y="388"/>
                    <a:pt x="389" y="381"/>
                  </a:cubicBezTo>
                  <a:cubicBezTo>
                    <a:pt x="403" y="373"/>
                    <a:pt x="418" y="369"/>
                    <a:pt x="433" y="368"/>
                  </a:cubicBezTo>
                  <a:cubicBezTo>
                    <a:pt x="447" y="367"/>
                    <a:pt x="462" y="369"/>
                    <a:pt x="476" y="375"/>
                  </a:cubicBezTo>
                  <a:cubicBezTo>
                    <a:pt x="491" y="381"/>
                    <a:pt x="505" y="390"/>
                    <a:pt x="518" y="404"/>
                  </a:cubicBezTo>
                  <a:cubicBezTo>
                    <a:pt x="531" y="417"/>
                    <a:pt x="541" y="430"/>
                    <a:pt x="547" y="444"/>
                  </a:cubicBezTo>
                  <a:cubicBezTo>
                    <a:pt x="553" y="458"/>
                    <a:pt x="555" y="471"/>
                    <a:pt x="554" y="485"/>
                  </a:cubicBezTo>
                  <a:cubicBezTo>
                    <a:pt x="553" y="499"/>
                    <a:pt x="549" y="513"/>
                    <a:pt x="542" y="527"/>
                  </a:cubicBezTo>
                  <a:cubicBezTo>
                    <a:pt x="534" y="541"/>
                    <a:pt x="524" y="554"/>
                    <a:pt x="511" y="568"/>
                  </a:cubicBezTo>
                  <a:close/>
                  <a:moveTo>
                    <a:pt x="478" y="539"/>
                  </a:moveTo>
                  <a:cubicBezTo>
                    <a:pt x="487" y="531"/>
                    <a:pt x="494" y="522"/>
                    <a:pt x="500" y="512"/>
                  </a:cubicBezTo>
                  <a:cubicBezTo>
                    <a:pt x="506" y="503"/>
                    <a:pt x="511" y="494"/>
                    <a:pt x="513" y="484"/>
                  </a:cubicBezTo>
                  <a:cubicBezTo>
                    <a:pt x="515" y="475"/>
                    <a:pt x="514" y="465"/>
                    <a:pt x="511" y="456"/>
                  </a:cubicBezTo>
                  <a:cubicBezTo>
                    <a:pt x="508" y="446"/>
                    <a:pt x="502" y="436"/>
                    <a:pt x="493" y="427"/>
                  </a:cubicBezTo>
                  <a:cubicBezTo>
                    <a:pt x="484" y="418"/>
                    <a:pt x="475" y="412"/>
                    <a:pt x="466" y="409"/>
                  </a:cubicBezTo>
                  <a:cubicBezTo>
                    <a:pt x="457" y="406"/>
                    <a:pt x="447" y="405"/>
                    <a:pt x="437" y="407"/>
                  </a:cubicBezTo>
                  <a:cubicBezTo>
                    <a:pt x="428" y="408"/>
                    <a:pt x="418" y="412"/>
                    <a:pt x="409" y="418"/>
                  </a:cubicBezTo>
                  <a:cubicBezTo>
                    <a:pt x="399" y="423"/>
                    <a:pt x="390" y="431"/>
                    <a:pt x="380" y="440"/>
                  </a:cubicBezTo>
                  <a:cubicBezTo>
                    <a:pt x="372" y="449"/>
                    <a:pt x="364" y="458"/>
                    <a:pt x="358" y="467"/>
                  </a:cubicBezTo>
                  <a:cubicBezTo>
                    <a:pt x="352" y="476"/>
                    <a:pt x="348" y="486"/>
                    <a:pt x="346" y="495"/>
                  </a:cubicBezTo>
                  <a:cubicBezTo>
                    <a:pt x="344" y="504"/>
                    <a:pt x="345" y="514"/>
                    <a:pt x="348" y="524"/>
                  </a:cubicBezTo>
                  <a:cubicBezTo>
                    <a:pt x="351" y="533"/>
                    <a:pt x="357" y="543"/>
                    <a:pt x="366" y="552"/>
                  </a:cubicBezTo>
                  <a:cubicBezTo>
                    <a:pt x="375" y="561"/>
                    <a:pt x="384" y="567"/>
                    <a:pt x="393" y="570"/>
                  </a:cubicBezTo>
                  <a:cubicBezTo>
                    <a:pt x="403" y="573"/>
                    <a:pt x="412" y="574"/>
                    <a:pt x="422" y="573"/>
                  </a:cubicBezTo>
                  <a:cubicBezTo>
                    <a:pt x="431" y="571"/>
                    <a:pt x="441" y="567"/>
                    <a:pt x="450" y="562"/>
                  </a:cubicBezTo>
                  <a:cubicBezTo>
                    <a:pt x="460" y="556"/>
                    <a:pt x="469" y="548"/>
                    <a:pt x="478" y="539"/>
                  </a:cubicBezTo>
                  <a:close/>
                  <a:moveTo>
                    <a:pt x="856" y="756"/>
                  </a:moveTo>
                  <a:cubicBezTo>
                    <a:pt x="855" y="757"/>
                    <a:pt x="854" y="758"/>
                    <a:pt x="852" y="759"/>
                  </a:cubicBezTo>
                  <a:cubicBezTo>
                    <a:pt x="851" y="760"/>
                    <a:pt x="849" y="761"/>
                    <a:pt x="847" y="762"/>
                  </a:cubicBezTo>
                  <a:lnTo>
                    <a:pt x="649" y="866"/>
                  </a:lnTo>
                  <a:cubicBezTo>
                    <a:pt x="647" y="867"/>
                    <a:pt x="645" y="868"/>
                    <a:pt x="644" y="868"/>
                  </a:cubicBezTo>
                  <a:cubicBezTo>
                    <a:pt x="642" y="868"/>
                    <a:pt x="640" y="868"/>
                    <a:pt x="639" y="867"/>
                  </a:cubicBezTo>
                  <a:cubicBezTo>
                    <a:pt x="637" y="866"/>
                    <a:pt x="635" y="864"/>
                    <a:pt x="632" y="862"/>
                  </a:cubicBezTo>
                  <a:cubicBezTo>
                    <a:pt x="630" y="860"/>
                    <a:pt x="627" y="857"/>
                    <a:pt x="623" y="854"/>
                  </a:cubicBezTo>
                  <a:cubicBezTo>
                    <a:pt x="619" y="850"/>
                    <a:pt x="616" y="847"/>
                    <a:pt x="614" y="844"/>
                  </a:cubicBezTo>
                  <a:cubicBezTo>
                    <a:pt x="612" y="841"/>
                    <a:pt x="610" y="839"/>
                    <a:pt x="609" y="837"/>
                  </a:cubicBezTo>
                  <a:cubicBezTo>
                    <a:pt x="608" y="835"/>
                    <a:pt x="608" y="833"/>
                    <a:pt x="608" y="832"/>
                  </a:cubicBezTo>
                  <a:cubicBezTo>
                    <a:pt x="608" y="830"/>
                    <a:pt x="609" y="829"/>
                    <a:pt x="609" y="827"/>
                  </a:cubicBezTo>
                  <a:lnTo>
                    <a:pt x="691" y="678"/>
                  </a:lnTo>
                  <a:lnTo>
                    <a:pt x="693" y="676"/>
                  </a:lnTo>
                  <a:lnTo>
                    <a:pt x="691" y="678"/>
                  </a:lnTo>
                  <a:lnTo>
                    <a:pt x="544" y="762"/>
                  </a:lnTo>
                  <a:cubicBezTo>
                    <a:pt x="543" y="763"/>
                    <a:pt x="541" y="764"/>
                    <a:pt x="539" y="764"/>
                  </a:cubicBezTo>
                  <a:cubicBezTo>
                    <a:pt x="538" y="764"/>
                    <a:pt x="536" y="763"/>
                    <a:pt x="534" y="762"/>
                  </a:cubicBezTo>
                  <a:cubicBezTo>
                    <a:pt x="532" y="761"/>
                    <a:pt x="530" y="759"/>
                    <a:pt x="527" y="757"/>
                  </a:cubicBezTo>
                  <a:cubicBezTo>
                    <a:pt x="525" y="755"/>
                    <a:pt x="522" y="752"/>
                    <a:pt x="518" y="749"/>
                  </a:cubicBezTo>
                  <a:cubicBezTo>
                    <a:pt x="514" y="745"/>
                    <a:pt x="512" y="742"/>
                    <a:pt x="509" y="739"/>
                  </a:cubicBezTo>
                  <a:cubicBezTo>
                    <a:pt x="507" y="737"/>
                    <a:pt x="506" y="735"/>
                    <a:pt x="505" y="733"/>
                  </a:cubicBezTo>
                  <a:cubicBezTo>
                    <a:pt x="504" y="731"/>
                    <a:pt x="503" y="729"/>
                    <a:pt x="504" y="727"/>
                  </a:cubicBezTo>
                  <a:cubicBezTo>
                    <a:pt x="504" y="726"/>
                    <a:pt x="504" y="724"/>
                    <a:pt x="505" y="723"/>
                  </a:cubicBezTo>
                  <a:lnTo>
                    <a:pt x="610" y="525"/>
                  </a:lnTo>
                  <a:cubicBezTo>
                    <a:pt x="611" y="523"/>
                    <a:pt x="612" y="521"/>
                    <a:pt x="613" y="519"/>
                  </a:cubicBezTo>
                  <a:cubicBezTo>
                    <a:pt x="614" y="518"/>
                    <a:pt x="615" y="517"/>
                    <a:pt x="615" y="516"/>
                  </a:cubicBezTo>
                  <a:cubicBezTo>
                    <a:pt x="616" y="515"/>
                    <a:pt x="618" y="514"/>
                    <a:pt x="619" y="514"/>
                  </a:cubicBezTo>
                  <a:cubicBezTo>
                    <a:pt x="620" y="514"/>
                    <a:pt x="621" y="514"/>
                    <a:pt x="623" y="515"/>
                  </a:cubicBezTo>
                  <a:cubicBezTo>
                    <a:pt x="624" y="516"/>
                    <a:pt x="626" y="517"/>
                    <a:pt x="628" y="519"/>
                  </a:cubicBezTo>
                  <a:cubicBezTo>
                    <a:pt x="630" y="521"/>
                    <a:pt x="632" y="523"/>
                    <a:pt x="635" y="525"/>
                  </a:cubicBezTo>
                  <a:cubicBezTo>
                    <a:pt x="638" y="529"/>
                    <a:pt x="641" y="532"/>
                    <a:pt x="643" y="534"/>
                  </a:cubicBezTo>
                  <a:cubicBezTo>
                    <a:pt x="645" y="536"/>
                    <a:pt x="646" y="538"/>
                    <a:pt x="646" y="539"/>
                  </a:cubicBezTo>
                  <a:cubicBezTo>
                    <a:pt x="647" y="541"/>
                    <a:pt x="647" y="542"/>
                    <a:pt x="647" y="543"/>
                  </a:cubicBezTo>
                  <a:cubicBezTo>
                    <a:pt x="647" y="544"/>
                    <a:pt x="646" y="546"/>
                    <a:pt x="645" y="547"/>
                  </a:cubicBezTo>
                  <a:lnTo>
                    <a:pt x="553" y="717"/>
                  </a:lnTo>
                  <a:lnTo>
                    <a:pt x="551" y="719"/>
                  </a:lnTo>
                  <a:lnTo>
                    <a:pt x="553" y="717"/>
                  </a:lnTo>
                  <a:lnTo>
                    <a:pt x="720" y="621"/>
                  </a:lnTo>
                  <a:cubicBezTo>
                    <a:pt x="721" y="621"/>
                    <a:pt x="722" y="620"/>
                    <a:pt x="724" y="620"/>
                  </a:cubicBezTo>
                  <a:cubicBezTo>
                    <a:pt x="725" y="620"/>
                    <a:pt x="726" y="620"/>
                    <a:pt x="728" y="620"/>
                  </a:cubicBezTo>
                  <a:cubicBezTo>
                    <a:pt x="729" y="621"/>
                    <a:pt x="731" y="622"/>
                    <a:pt x="733" y="624"/>
                  </a:cubicBezTo>
                  <a:cubicBezTo>
                    <a:pt x="735" y="626"/>
                    <a:pt x="737" y="628"/>
                    <a:pt x="740" y="631"/>
                  </a:cubicBezTo>
                  <a:cubicBezTo>
                    <a:pt x="743" y="634"/>
                    <a:pt x="745" y="636"/>
                    <a:pt x="747" y="638"/>
                  </a:cubicBezTo>
                  <a:cubicBezTo>
                    <a:pt x="749" y="640"/>
                    <a:pt x="750" y="642"/>
                    <a:pt x="751" y="643"/>
                  </a:cubicBezTo>
                  <a:cubicBezTo>
                    <a:pt x="751" y="645"/>
                    <a:pt x="751" y="646"/>
                    <a:pt x="751" y="647"/>
                  </a:cubicBezTo>
                  <a:cubicBezTo>
                    <a:pt x="751" y="648"/>
                    <a:pt x="750" y="650"/>
                    <a:pt x="750" y="651"/>
                  </a:cubicBezTo>
                  <a:lnTo>
                    <a:pt x="656" y="820"/>
                  </a:lnTo>
                  <a:lnTo>
                    <a:pt x="655" y="822"/>
                  </a:lnTo>
                  <a:lnTo>
                    <a:pt x="657" y="821"/>
                  </a:lnTo>
                  <a:lnTo>
                    <a:pt x="826" y="728"/>
                  </a:lnTo>
                  <a:cubicBezTo>
                    <a:pt x="827" y="727"/>
                    <a:pt x="828" y="726"/>
                    <a:pt x="830" y="726"/>
                  </a:cubicBezTo>
                  <a:cubicBezTo>
                    <a:pt x="831" y="726"/>
                    <a:pt x="832" y="726"/>
                    <a:pt x="834" y="727"/>
                  </a:cubicBezTo>
                  <a:cubicBezTo>
                    <a:pt x="835" y="727"/>
                    <a:pt x="837" y="729"/>
                    <a:pt x="839" y="730"/>
                  </a:cubicBezTo>
                  <a:cubicBezTo>
                    <a:pt x="842" y="732"/>
                    <a:pt x="844" y="735"/>
                    <a:pt x="847" y="738"/>
                  </a:cubicBezTo>
                  <a:cubicBezTo>
                    <a:pt x="850" y="740"/>
                    <a:pt x="852" y="743"/>
                    <a:pt x="854" y="745"/>
                  </a:cubicBezTo>
                  <a:cubicBezTo>
                    <a:pt x="855" y="746"/>
                    <a:pt x="856" y="748"/>
                    <a:pt x="857" y="750"/>
                  </a:cubicBezTo>
                  <a:cubicBezTo>
                    <a:pt x="858" y="751"/>
                    <a:pt x="858" y="752"/>
                    <a:pt x="858" y="753"/>
                  </a:cubicBezTo>
                  <a:cubicBezTo>
                    <a:pt x="857" y="754"/>
                    <a:pt x="857" y="755"/>
                    <a:pt x="856" y="756"/>
                  </a:cubicBezTo>
                  <a:close/>
                  <a:moveTo>
                    <a:pt x="976" y="898"/>
                  </a:moveTo>
                  <a:cubicBezTo>
                    <a:pt x="973" y="900"/>
                    <a:pt x="971" y="902"/>
                    <a:pt x="969" y="904"/>
                  </a:cubicBezTo>
                  <a:cubicBezTo>
                    <a:pt x="967" y="906"/>
                    <a:pt x="965" y="907"/>
                    <a:pt x="964" y="908"/>
                  </a:cubicBezTo>
                  <a:cubicBezTo>
                    <a:pt x="963" y="908"/>
                    <a:pt x="961" y="909"/>
                    <a:pt x="960" y="909"/>
                  </a:cubicBezTo>
                  <a:cubicBezTo>
                    <a:pt x="959" y="909"/>
                    <a:pt x="958" y="908"/>
                    <a:pt x="957" y="907"/>
                  </a:cubicBezTo>
                  <a:cubicBezTo>
                    <a:pt x="956" y="906"/>
                    <a:pt x="955" y="905"/>
                    <a:pt x="955" y="903"/>
                  </a:cubicBezTo>
                  <a:cubicBezTo>
                    <a:pt x="954" y="901"/>
                    <a:pt x="953" y="899"/>
                    <a:pt x="952" y="897"/>
                  </a:cubicBezTo>
                  <a:cubicBezTo>
                    <a:pt x="950" y="894"/>
                    <a:pt x="949" y="892"/>
                    <a:pt x="947" y="889"/>
                  </a:cubicBezTo>
                  <a:cubicBezTo>
                    <a:pt x="946" y="887"/>
                    <a:pt x="944" y="884"/>
                    <a:pt x="941" y="882"/>
                  </a:cubicBezTo>
                  <a:cubicBezTo>
                    <a:pt x="938" y="879"/>
                    <a:pt x="935" y="877"/>
                    <a:pt x="931" y="875"/>
                  </a:cubicBezTo>
                  <a:cubicBezTo>
                    <a:pt x="927" y="873"/>
                    <a:pt x="922" y="872"/>
                    <a:pt x="916" y="872"/>
                  </a:cubicBezTo>
                  <a:cubicBezTo>
                    <a:pt x="910" y="871"/>
                    <a:pt x="903" y="872"/>
                    <a:pt x="895" y="873"/>
                  </a:cubicBezTo>
                  <a:cubicBezTo>
                    <a:pt x="888" y="874"/>
                    <a:pt x="878" y="876"/>
                    <a:pt x="868" y="878"/>
                  </a:cubicBezTo>
                  <a:lnTo>
                    <a:pt x="763" y="983"/>
                  </a:lnTo>
                  <a:cubicBezTo>
                    <a:pt x="762" y="984"/>
                    <a:pt x="761" y="984"/>
                    <a:pt x="760" y="984"/>
                  </a:cubicBezTo>
                  <a:cubicBezTo>
                    <a:pt x="759" y="984"/>
                    <a:pt x="757" y="984"/>
                    <a:pt x="756" y="984"/>
                  </a:cubicBezTo>
                  <a:cubicBezTo>
                    <a:pt x="754" y="983"/>
                    <a:pt x="753" y="982"/>
                    <a:pt x="750" y="980"/>
                  </a:cubicBezTo>
                  <a:cubicBezTo>
                    <a:pt x="748" y="979"/>
                    <a:pt x="746" y="976"/>
                    <a:pt x="743" y="973"/>
                  </a:cubicBezTo>
                  <a:cubicBezTo>
                    <a:pt x="740" y="971"/>
                    <a:pt x="738" y="968"/>
                    <a:pt x="736" y="966"/>
                  </a:cubicBezTo>
                  <a:cubicBezTo>
                    <a:pt x="735" y="964"/>
                    <a:pt x="733" y="962"/>
                    <a:pt x="733" y="960"/>
                  </a:cubicBezTo>
                  <a:cubicBezTo>
                    <a:pt x="732" y="959"/>
                    <a:pt x="732" y="958"/>
                    <a:pt x="732" y="956"/>
                  </a:cubicBezTo>
                  <a:cubicBezTo>
                    <a:pt x="732" y="955"/>
                    <a:pt x="733" y="954"/>
                    <a:pt x="734" y="953"/>
                  </a:cubicBezTo>
                  <a:lnTo>
                    <a:pt x="893" y="794"/>
                  </a:lnTo>
                  <a:cubicBezTo>
                    <a:pt x="894" y="793"/>
                    <a:pt x="895" y="793"/>
                    <a:pt x="896" y="792"/>
                  </a:cubicBezTo>
                  <a:cubicBezTo>
                    <a:pt x="897" y="792"/>
                    <a:pt x="898" y="792"/>
                    <a:pt x="900" y="793"/>
                  </a:cubicBezTo>
                  <a:cubicBezTo>
                    <a:pt x="901" y="793"/>
                    <a:pt x="903" y="794"/>
                    <a:pt x="905" y="796"/>
                  </a:cubicBezTo>
                  <a:cubicBezTo>
                    <a:pt x="907" y="797"/>
                    <a:pt x="909" y="799"/>
                    <a:pt x="912" y="802"/>
                  </a:cubicBezTo>
                  <a:cubicBezTo>
                    <a:pt x="914" y="805"/>
                    <a:pt x="916" y="807"/>
                    <a:pt x="918" y="809"/>
                  </a:cubicBezTo>
                  <a:cubicBezTo>
                    <a:pt x="919" y="811"/>
                    <a:pt x="920" y="812"/>
                    <a:pt x="921" y="814"/>
                  </a:cubicBezTo>
                  <a:cubicBezTo>
                    <a:pt x="921" y="815"/>
                    <a:pt x="921" y="817"/>
                    <a:pt x="921" y="818"/>
                  </a:cubicBezTo>
                  <a:cubicBezTo>
                    <a:pt x="921" y="819"/>
                    <a:pt x="920" y="820"/>
                    <a:pt x="919" y="821"/>
                  </a:cubicBezTo>
                  <a:lnTo>
                    <a:pt x="896" y="844"/>
                  </a:lnTo>
                  <a:cubicBezTo>
                    <a:pt x="907" y="842"/>
                    <a:pt x="916" y="841"/>
                    <a:pt x="924" y="841"/>
                  </a:cubicBezTo>
                  <a:cubicBezTo>
                    <a:pt x="932" y="840"/>
                    <a:pt x="939" y="841"/>
                    <a:pt x="944" y="842"/>
                  </a:cubicBezTo>
                  <a:cubicBezTo>
                    <a:pt x="950" y="843"/>
                    <a:pt x="955" y="845"/>
                    <a:pt x="959" y="847"/>
                  </a:cubicBezTo>
                  <a:cubicBezTo>
                    <a:pt x="963" y="850"/>
                    <a:pt x="967" y="853"/>
                    <a:pt x="971" y="856"/>
                  </a:cubicBezTo>
                  <a:cubicBezTo>
                    <a:pt x="972" y="858"/>
                    <a:pt x="974" y="860"/>
                    <a:pt x="976" y="862"/>
                  </a:cubicBezTo>
                  <a:cubicBezTo>
                    <a:pt x="977" y="864"/>
                    <a:pt x="979" y="866"/>
                    <a:pt x="981" y="869"/>
                  </a:cubicBezTo>
                  <a:cubicBezTo>
                    <a:pt x="982" y="871"/>
                    <a:pt x="984" y="874"/>
                    <a:pt x="985" y="876"/>
                  </a:cubicBezTo>
                  <a:cubicBezTo>
                    <a:pt x="986" y="878"/>
                    <a:pt x="987" y="880"/>
                    <a:pt x="987" y="882"/>
                  </a:cubicBezTo>
                  <a:cubicBezTo>
                    <a:pt x="987" y="883"/>
                    <a:pt x="987" y="884"/>
                    <a:pt x="987" y="885"/>
                  </a:cubicBezTo>
                  <a:cubicBezTo>
                    <a:pt x="986" y="885"/>
                    <a:pt x="986" y="886"/>
                    <a:pt x="985" y="887"/>
                  </a:cubicBezTo>
                  <a:cubicBezTo>
                    <a:pt x="985" y="888"/>
                    <a:pt x="983" y="890"/>
                    <a:pt x="982" y="891"/>
                  </a:cubicBezTo>
                  <a:cubicBezTo>
                    <a:pt x="980" y="893"/>
                    <a:pt x="978" y="895"/>
                    <a:pt x="976" y="898"/>
                  </a:cubicBezTo>
                  <a:close/>
                  <a:moveTo>
                    <a:pt x="1088" y="1145"/>
                  </a:moveTo>
                  <a:cubicBezTo>
                    <a:pt x="1075" y="1158"/>
                    <a:pt x="1061" y="1168"/>
                    <a:pt x="1047" y="1175"/>
                  </a:cubicBezTo>
                  <a:cubicBezTo>
                    <a:pt x="1032" y="1183"/>
                    <a:pt x="1018" y="1187"/>
                    <a:pt x="1003" y="1188"/>
                  </a:cubicBezTo>
                  <a:cubicBezTo>
                    <a:pt x="989" y="1189"/>
                    <a:pt x="974" y="1187"/>
                    <a:pt x="959" y="1181"/>
                  </a:cubicBezTo>
                  <a:cubicBezTo>
                    <a:pt x="945" y="1175"/>
                    <a:pt x="931" y="1166"/>
                    <a:pt x="917" y="1152"/>
                  </a:cubicBezTo>
                  <a:cubicBezTo>
                    <a:pt x="904" y="1139"/>
                    <a:pt x="895" y="1126"/>
                    <a:pt x="889" y="1112"/>
                  </a:cubicBezTo>
                  <a:cubicBezTo>
                    <a:pt x="883" y="1099"/>
                    <a:pt x="881" y="1085"/>
                    <a:pt x="881" y="1071"/>
                  </a:cubicBezTo>
                  <a:cubicBezTo>
                    <a:pt x="882" y="1057"/>
                    <a:pt x="887" y="1043"/>
                    <a:pt x="894" y="1029"/>
                  </a:cubicBezTo>
                  <a:cubicBezTo>
                    <a:pt x="901" y="1016"/>
                    <a:pt x="912" y="1002"/>
                    <a:pt x="925" y="989"/>
                  </a:cubicBezTo>
                  <a:cubicBezTo>
                    <a:pt x="938" y="976"/>
                    <a:pt x="952" y="965"/>
                    <a:pt x="966" y="958"/>
                  </a:cubicBezTo>
                  <a:cubicBezTo>
                    <a:pt x="980" y="950"/>
                    <a:pt x="995" y="946"/>
                    <a:pt x="1010" y="945"/>
                  </a:cubicBezTo>
                  <a:cubicBezTo>
                    <a:pt x="1024" y="944"/>
                    <a:pt x="1039" y="946"/>
                    <a:pt x="1053" y="952"/>
                  </a:cubicBezTo>
                  <a:cubicBezTo>
                    <a:pt x="1068" y="958"/>
                    <a:pt x="1082" y="967"/>
                    <a:pt x="1095" y="981"/>
                  </a:cubicBezTo>
                  <a:cubicBezTo>
                    <a:pt x="1108" y="994"/>
                    <a:pt x="1118" y="1007"/>
                    <a:pt x="1124" y="1021"/>
                  </a:cubicBezTo>
                  <a:cubicBezTo>
                    <a:pt x="1130" y="1035"/>
                    <a:pt x="1132" y="1048"/>
                    <a:pt x="1131" y="1062"/>
                  </a:cubicBezTo>
                  <a:cubicBezTo>
                    <a:pt x="1130" y="1076"/>
                    <a:pt x="1126" y="1090"/>
                    <a:pt x="1119" y="1104"/>
                  </a:cubicBezTo>
                  <a:cubicBezTo>
                    <a:pt x="1111" y="1118"/>
                    <a:pt x="1101" y="1131"/>
                    <a:pt x="1088" y="1145"/>
                  </a:cubicBezTo>
                  <a:close/>
                  <a:moveTo>
                    <a:pt x="1055" y="1116"/>
                  </a:moveTo>
                  <a:cubicBezTo>
                    <a:pt x="1064" y="1108"/>
                    <a:pt x="1071" y="1099"/>
                    <a:pt x="1077" y="1089"/>
                  </a:cubicBezTo>
                  <a:cubicBezTo>
                    <a:pt x="1083" y="1080"/>
                    <a:pt x="1088" y="1071"/>
                    <a:pt x="1090" y="1061"/>
                  </a:cubicBezTo>
                  <a:cubicBezTo>
                    <a:pt x="1092" y="1052"/>
                    <a:pt x="1091" y="1042"/>
                    <a:pt x="1088" y="1033"/>
                  </a:cubicBezTo>
                  <a:cubicBezTo>
                    <a:pt x="1085" y="1023"/>
                    <a:pt x="1079" y="1013"/>
                    <a:pt x="1070" y="1004"/>
                  </a:cubicBezTo>
                  <a:cubicBezTo>
                    <a:pt x="1061" y="995"/>
                    <a:pt x="1052" y="989"/>
                    <a:pt x="1043" y="986"/>
                  </a:cubicBezTo>
                  <a:cubicBezTo>
                    <a:pt x="1034" y="983"/>
                    <a:pt x="1024" y="982"/>
                    <a:pt x="1014" y="984"/>
                  </a:cubicBezTo>
                  <a:cubicBezTo>
                    <a:pt x="1005" y="985"/>
                    <a:pt x="995" y="989"/>
                    <a:pt x="986" y="995"/>
                  </a:cubicBezTo>
                  <a:cubicBezTo>
                    <a:pt x="976" y="1000"/>
                    <a:pt x="967" y="1008"/>
                    <a:pt x="957" y="1017"/>
                  </a:cubicBezTo>
                  <a:cubicBezTo>
                    <a:pt x="949" y="1026"/>
                    <a:pt x="941" y="1035"/>
                    <a:pt x="935" y="1044"/>
                  </a:cubicBezTo>
                  <a:cubicBezTo>
                    <a:pt x="929" y="1053"/>
                    <a:pt x="925" y="1063"/>
                    <a:pt x="923" y="1072"/>
                  </a:cubicBezTo>
                  <a:cubicBezTo>
                    <a:pt x="921" y="1081"/>
                    <a:pt x="922" y="1091"/>
                    <a:pt x="925" y="1101"/>
                  </a:cubicBezTo>
                  <a:cubicBezTo>
                    <a:pt x="928" y="1110"/>
                    <a:pt x="934" y="1120"/>
                    <a:pt x="943" y="1129"/>
                  </a:cubicBezTo>
                  <a:cubicBezTo>
                    <a:pt x="952" y="1138"/>
                    <a:pt x="961" y="1144"/>
                    <a:pt x="970" y="1147"/>
                  </a:cubicBezTo>
                  <a:cubicBezTo>
                    <a:pt x="980" y="1150"/>
                    <a:pt x="989" y="1151"/>
                    <a:pt x="999" y="1150"/>
                  </a:cubicBezTo>
                  <a:cubicBezTo>
                    <a:pt x="1008" y="1148"/>
                    <a:pt x="1018" y="1144"/>
                    <a:pt x="1027" y="1139"/>
                  </a:cubicBezTo>
                  <a:cubicBezTo>
                    <a:pt x="1037" y="1133"/>
                    <a:pt x="1046" y="1125"/>
                    <a:pt x="1055" y="1116"/>
                  </a:cubicBezTo>
                  <a:close/>
                  <a:moveTo>
                    <a:pt x="1189" y="1360"/>
                  </a:moveTo>
                  <a:cubicBezTo>
                    <a:pt x="1187" y="1362"/>
                    <a:pt x="1185" y="1364"/>
                    <a:pt x="1184" y="1365"/>
                  </a:cubicBezTo>
                  <a:cubicBezTo>
                    <a:pt x="1182" y="1367"/>
                    <a:pt x="1181" y="1368"/>
                    <a:pt x="1180" y="1369"/>
                  </a:cubicBezTo>
                  <a:cubicBezTo>
                    <a:pt x="1178" y="1369"/>
                    <a:pt x="1177" y="1370"/>
                    <a:pt x="1176" y="1370"/>
                  </a:cubicBezTo>
                  <a:cubicBezTo>
                    <a:pt x="1175" y="1370"/>
                    <a:pt x="1173" y="1371"/>
                    <a:pt x="1170" y="1371"/>
                  </a:cubicBezTo>
                  <a:cubicBezTo>
                    <a:pt x="1167" y="1371"/>
                    <a:pt x="1162" y="1370"/>
                    <a:pt x="1157" y="1369"/>
                  </a:cubicBezTo>
                  <a:cubicBezTo>
                    <a:pt x="1151" y="1367"/>
                    <a:pt x="1145" y="1365"/>
                    <a:pt x="1139" y="1363"/>
                  </a:cubicBezTo>
                  <a:cubicBezTo>
                    <a:pt x="1133" y="1360"/>
                    <a:pt x="1127" y="1356"/>
                    <a:pt x="1120" y="1352"/>
                  </a:cubicBezTo>
                  <a:cubicBezTo>
                    <a:pt x="1114" y="1348"/>
                    <a:pt x="1108" y="1343"/>
                    <a:pt x="1103" y="1338"/>
                  </a:cubicBezTo>
                  <a:cubicBezTo>
                    <a:pt x="1091" y="1326"/>
                    <a:pt x="1083" y="1314"/>
                    <a:pt x="1078" y="1302"/>
                  </a:cubicBezTo>
                  <a:cubicBezTo>
                    <a:pt x="1073" y="1289"/>
                    <a:pt x="1071" y="1276"/>
                    <a:pt x="1072" y="1263"/>
                  </a:cubicBezTo>
                  <a:cubicBezTo>
                    <a:pt x="1074" y="1250"/>
                    <a:pt x="1078" y="1236"/>
                    <a:pt x="1085" y="1223"/>
                  </a:cubicBezTo>
                  <a:cubicBezTo>
                    <a:pt x="1093" y="1209"/>
                    <a:pt x="1103" y="1195"/>
                    <a:pt x="1117" y="1181"/>
                  </a:cubicBezTo>
                  <a:cubicBezTo>
                    <a:pt x="1133" y="1166"/>
                    <a:pt x="1148" y="1154"/>
                    <a:pt x="1163" y="1147"/>
                  </a:cubicBezTo>
                  <a:cubicBezTo>
                    <a:pt x="1178" y="1139"/>
                    <a:pt x="1193" y="1135"/>
                    <a:pt x="1207" y="1135"/>
                  </a:cubicBezTo>
                  <a:cubicBezTo>
                    <a:pt x="1221" y="1134"/>
                    <a:pt x="1234" y="1137"/>
                    <a:pt x="1246" y="1142"/>
                  </a:cubicBezTo>
                  <a:cubicBezTo>
                    <a:pt x="1259" y="1148"/>
                    <a:pt x="1270" y="1156"/>
                    <a:pt x="1281" y="1166"/>
                  </a:cubicBezTo>
                  <a:cubicBezTo>
                    <a:pt x="1286" y="1172"/>
                    <a:pt x="1290" y="1177"/>
                    <a:pt x="1294" y="1183"/>
                  </a:cubicBezTo>
                  <a:cubicBezTo>
                    <a:pt x="1298" y="1188"/>
                    <a:pt x="1301" y="1194"/>
                    <a:pt x="1303" y="1200"/>
                  </a:cubicBezTo>
                  <a:cubicBezTo>
                    <a:pt x="1306" y="1205"/>
                    <a:pt x="1308" y="1210"/>
                    <a:pt x="1309" y="1216"/>
                  </a:cubicBezTo>
                  <a:cubicBezTo>
                    <a:pt x="1310" y="1221"/>
                    <a:pt x="1311" y="1225"/>
                    <a:pt x="1311" y="1227"/>
                  </a:cubicBezTo>
                  <a:cubicBezTo>
                    <a:pt x="1311" y="1230"/>
                    <a:pt x="1310" y="1232"/>
                    <a:pt x="1310" y="1234"/>
                  </a:cubicBezTo>
                  <a:cubicBezTo>
                    <a:pt x="1310" y="1235"/>
                    <a:pt x="1309" y="1236"/>
                    <a:pt x="1308" y="1238"/>
                  </a:cubicBezTo>
                  <a:cubicBezTo>
                    <a:pt x="1308" y="1239"/>
                    <a:pt x="1307" y="1241"/>
                    <a:pt x="1305" y="1242"/>
                  </a:cubicBezTo>
                  <a:cubicBezTo>
                    <a:pt x="1304" y="1244"/>
                    <a:pt x="1302" y="1246"/>
                    <a:pt x="1300" y="1248"/>
                  </a:cubicBezTo>
                  <a:cubicBezTo>
                    <a:pt x="1296" y="1253"/>
                    <a:pt x="1292" y="1255"/>
                    <a:pt x="1289" y="1256"/>
                  </a:cubicBezTo>
                  <a:cubicBezTo>
                    <a:pt x="1286" y="1257"/>
                    <a:pt x="1284" y="1256"/>
                    <a:pt x="1282" y="1255"/>
                  </a:cubicBezTo>
                  <a:cubicBezTo>
                    <a:pt x="1281" y="1253"/>
                    <a:pt x="1280" y="1250"/>
                    <a:pt x="1279" y="1246"/>
                  </a:cubicBezTo>
                  <a:cubicBezTo>
                    <a:pt x="1279" y="1242"/>
                    <a:pt x="1278" y="1237"/>
                    <a:pt x="1277" y="1231"/>
                  </a:cubicBezTo>
                  <a:cubicBezTo>
                    <a:pt x="1276" y="1225"/>
                    <a:pt x="1274" y="1218"/>
                    <a:pt x="1271" y="1211"/>
                  </a:cubicBezTo>
                  <a:cubicBezTo>
                    <a:pt x="1267" y="1204"/>
                    <a:pt x="1263" y="1198"/>
                    <a:pt x="1256" y="1191"/>
                  </a:cubicBezTo>
                  <a:cubicBezTo>
                    <a:pt x="1242" y="1177"/>
                    <a:pt x="1226" y="1171"/>
                    <a:pt x="1207" y="1175"/>
                  </a:cubicBezTo>
                  <a:cubicBezTo>
                    <a:pt x="1189" y="1178"/>
                    <a:pt x="1170" y="1190"/>
                    <a:pt x="1149" y="1210"/>
                  </a:cubicBezTo>
                  <a:cubicBezTo>
                    <a:pt x="1139" y="1221"/>
                    <a:pt x="1131" y="1231"/>
                    <a:pt x="1125" y="1240"/>
                  </a:cubicBezTo>
                  <a:cubicBezTo>
                    <a:pt x="1119" y="1250"/>
                    <a:pt x="1116" y="1259"/>
                    <a:pt x="1114" y="1268"/>
                  </a:cubicBezTo>
                  <a:cubicBezTo>
                    <a:pt x="1113" y="1277"/>
                    <a:pt x="1114" y="1286"/>
                    <a:pt x="1117" y="1294"/>
                  </a:cubicBezTo>
                  <a:cubicBezTo>
                    <a:pt x="1120" y="1302"/>
                    <a:pt x="1125" y="1309"/>
                    <a:pt x="1132" y="1316"/>
                  </a:cubicBezTo>
                  <a:cubicBezTo>
                    <a:pt x="1138" y="1323"/>
                    <a:pt x="1145" y="1328"/>
                    <a:pt x="1152" y="1331"/>
                  </a:cubicBezTo>
                  <a:cubicBezTo>
                    <a:pt x="1160" y="1334"/>
                    <a:pt x="1166" y="1336"/>
                    <a:pt x="1173" y="1337"/>
                  </a:cubicBezTo>
                  <a:cubicBezTo>
                    <a:pt x="1179" y="1338"/>
                    <a:pt x="1184" y="1339"/>
                    <a:pt x="1189" y="1339"/>
                  </a:cubicBezTo>
                  <a:cubicBezTo>
                    <a:pt x="1193" y="1340"/>
                    <a:pt x="1196" y="1341"/>
                    <a:pt x="1198" y="1342"/>
                  </a:cubicBezTo>
                  <a:cubicBezTo>
                    <a:pt x="1199" y="1343"/>
                    <a:pt x="1199" y="1344"/>
                    <a:pt x="1199" y="1345"/>
                  </a:cubicBezTo>
                  <a:cubicBezTo>
                    <a:pt x="1199" y="1346"/>
                    <a:pt x="1199" y="1347"/>
                    <a:pt x="1198" y="1349"/>
                  </a:cubicBezTo>
                  <a:cubicBezTo>
                    <a:pt x="1198" y="1350"/>
                    <a:pt x="1197" y="1352"/>
                    <a:pt x="1195" y="1354"/>
                  </a:cubicBezTo>
                  <a:cubicBezTo>
                    <a:pt x="1194" y="1356"/>
                    <a:pt x="1192" y="1358"/>
                    <a:pt x="1189" y="1360"/>
                  </a:cubicBezTo>
                  <a:close/>
                  <a:moveTo>
                    <a:pt x="1227" y="1446"/>
                  </a:moveTo>
                  <a:cubicBezTo>
                    <a:pt x="1226" y="1447"/>
                    <a:pt x="1225" y="1448"/>
                    <a:pt x="1224" y="1448"/>
                  </a:cubicBezTo>
                  <a:cubicBezTo>
                    <a:pt x="1223" y="1448"/>
                    <a:pt x="1221" y="1448"/>
                    <a:pt x="1220" y="1448"/>
                  </a:cubicBezTo>
                  <a:cubicBezTo>
                    <a:pt x="1218" y="1447"/>
                    <a:pt x="1216" y="1446"/>
                    <a:pt x="1214" y="1444"/>
                  </a:cubicBezTo>
                  <a:cubicBezTo>
                    <a:pt x="1212" y="1443"/>
                    <a:pt x="1210" y="1440"/>
                    <a:pt x="1207" y="1437"/>
                  </a:cubicBezTo>
                  <a:cubicBezTo>
                    <a:pt x="1204" y="1434"/>
                    <a:pt x="1202" y="1432"/>
                    <a:pt x="1200" y="1430"/>
                  </a:cubicBezTo>
                  <a:cubicBezTo>
                    <a:pt x="1198" y="1428"/>
                    <a:pt x="1197" y="1426"/>
                    <a:pt x="1197" y="1424"/>
                  </a:cubicBezTo>
                  <a:cubicBezTo>
                    <a:pt x="1196" y="1423"/>
                    <a:pt x="1196" y="1421"/>
                    <a:pt x="1196" y="1420"/>
                  </a:cubicBezTo>
                  <a:cubicBezTo>
                    <a:pt x="1196" y="1419"/>
                    <a:pt x="1197" y="1418"/>
                    <a:pt x="1198" y="1417"/>
                  </a:cubicBezTo>
                  <a:lnTo>
                    <a:pt x="1434" y="1181"/>
                  </a:lnTo>
                  <a:cubicBezTo>
                    <a:pt x="1435" y="1180"/>
                    <a:pt x="1436" y="1180"/>
                    <a:pt x="1437" y="1179"/>
                  </a:cubicBezTo>
                  <a:cubicBezTo>
                    <a:pt x="1438" y="1179"/>
                    <a:pt x="1439" y="1179"/>
                    <a:pt x="1441" y="1180"/>
                  </a:cubicBezTo>
                  <a:cubicBezTo>
                    <a:pt x="1443" y="1180"/>
                    <a:pt x="1445" y="1182"/>
                    <a:pt x="1447" y="1183"/>
                  </a:cubicBezTo>
                  <a:cubicBezTo>
                    <a:pt x="1449" y="1185"/>
                    <a:pt x="1451" y="1187"/>
                    <a:pt x="1454" y="1190"/>
                  </a:cubicBezTo>
                  <a:cubicBezTo>
                    <a:pt x="1457" y="1193"/>
                    <a:pt x="1459" y="1195"/>
                    <a:pt x="1461" y="1198"/>
                  </a:cubicBezTo>
                  <a:cubicBezTo>
                    <a:pt x="1463" y="1200"/>
                    <a:pt x="1464" y="1202"/>
                    <a:pt x="1464" y="1203"/>
                  </a:cubicBezTo>
                  <a:cubicBezTo>
                    <a:pt x="1465" y="1205"/>
                    <a:pt x="1465" y="1206"/>
                    <a:pt x="1465" y="1207"/>
                  </a:cubicBezTo>
                  <a:cubicBezTo>
                    <a:pt x="1465" y="1208"/>
                    <a:pt x="1464" y="1209"/>
                    <a:pt x="1463" y="1210"/>
                  </a:cubicBezTo>
                  <a:lnTo>
                    <a:pt x="1227" y="1446"/>
                  </a:lnTo>
                  <a:close/>
                  <a:moveTo>
                    <a:pt x="1408" y="1628"/>
                  </a:moveTo>
                  <a:cubicBezTo>
                    <a:pt x="1406" y="1629"/>
                    <a:pt x="1405" y="1630"/>
                    <a:pt x="1403" y="1630"/>
                  </a:cubicBezTo>
                  <a:cubicBezTo>
                    <a:pt x="1402" y="1629"/>
                    <a:pt x="1400" y="1629"/>
                    <a:pt x="1398" y="1627"/>
                  </a:cubicBezTo>
                  <a:cubicBezTo>
                    <a:pt x="1396" y="1626"/>
                    <a:pt x="1393" y="1624"/>
                    <a:pt x="1390" y="1621"/>
                  </a:cubicBezTo>
                  <a:cubicBezTo>
                    <a:pt x="1387" y="1618"/>
                    <a:pt x="1385" y="1615"/>
                    <a:pt x="1383" y="1613"/>
                  </a:cubicBezTo>
                  <a:cubicBezTo>
                    <a:pt x="1382" y="1611"/>
                    <a:pt x="1381" y="1609"/>
                    <a:pt x="1381" y="1607"/>
                  </a:cubicBezTo>
                  <a:cubicBezTo>
                    <a:pt x="1381" y="1606"/>
                    <a:pt x="1381" y="1604"/>
                    <a:pt x="1383" y="1603"/>
                  </a:cubicBezTo>
                  <a:lnTo>
                    <a:pt x="1399" y="1587"/>
                  </a:lnTo>
                  <a:cubicBezTo>
                    <a:pt x="1384" y="1587"/>
                    <a:pt x="1371" y="1585"/>
                    <a:pt x="1358" y="1581"/>
                  </a:cubicBezTo>
                  <a:cubicBezTo>
                    <a:pt x="1345" y="1576"/>
                    <a:pt x="1334" y="1570"/>
                    <a:pt x="1325" y="1560"/>
                  </a:cubicBezTo>
                  <a:cubicBezTo>
                    <a:pt x="1316" y="1552"/>
                    <a:pt x="1310" y="1543"/>
                    <a:pt x="1305" y="1534"/>
                  </a:cubicBezTo>
                  <a:cubicBezTo>
                    <a:pt x="1301" y="1525"/>
                    <a:pt x="1298" y="1516"/>
                    <a:pt x="1298" y="1507"/>
                  </a:cubicBezTo>
                  <a:cubicBezTo>
                    <a:pt x="1297" y="1498"/>
                    <a:pt x="1298" y="1490"/>
                    <a:pt x="1302" y="1481"/>
                  </a:cubicBezTo>
                  <a:cubicBezTo>
                    <a:pt x="1305" y="1472"/>
                    <a:pt x="1310" y="1464"/>
                    <a:pt x="1318" y="1456"/>
                  </a:cubicBezTo>
                  <a:cubicBezTo>
                    <a:pt x="1327" y="1447"/>
                    <a:pt x="1337" y="1441"/>
                    <a:pt x="1347" y="1439"/>
                  </a:cubicBezTo>
                  <a:cubicBezTo>
                    <a:pt x="1357" y="1436"/>
                    <a:pt x="1368" y="1435"/>
                    <a:pt x="1379" y="1438"/>
                  </a:cubicBezTo>
                  <a:cubicBezTo>
                    <a:pt x="1390" y="1440"/>
                    <a:pt x="1402" y="1445"/>
                    <a:pt x="1414" y="1453"/>
                  </a:cubicBezTo>
                  <a:cubicBezTo>
                    <a:pt x="1426" y="1461"/>
                    <a:pt x="1438" y="1471"/>
                    <a:pt x="1451" y="1483"/>
                  </a:cubicBezTo>
                  <a:lnTo>
                    <a:pt x="1473" y="1505"/>
                  </a:lnTo>
                  <a:lnTo>
                    <a:pt x="1485" y="1493"/>
                  </a:lnTo>
                  <a:cubicBezTo>
                    <a:pt x="1491" y="1487"/>
                    <a:pt x="1496" y="1481"/>
                    <a:pt x="1499" y="1475"/>
                  </a:cubicBezTo>
                  <a:cubicBezTo>
                    <a:pt x="1503" y="1469"/>
                    <a:pt x="1505" y="1463"/>
                    <a:pt x="1505" y="1457"/>
                  </a:cubicBezTo>
                  <a:cubicBezTo>
                    <a:pt x="1505" y="1451"/>
                    <a:pt x="1504" y="1444"/>
                    <a:pt x="1501" y="1438"/>
                  </a:cubicBezTo>
                  <a:cubicBezTo>
                    <a:pt x="1498" y="1432"/>
                    <a:pt x="1493" y="1426"/>
                    <a:pt x="1486" y="1419"/>
                  </a:cubicBezTo>
                  <a:cubicBezTo>
                    <a:pt x="1479" y="1412"/>
                    <a:pt x="1472" y="1406"/>
                    <a:pt x="1464" y="1402"/>
                  </a:cubicBezTo>
                  <a:cubicBezTo>
                    <a:pt x="1457" y="1398"/>
                    <a:pt x="1450" y="1395"/>
                    <a:pt x="1443" y="1393"/>
                  </a:cubicBezTo>
                  <a:cubicBezTo>
                    <a:pt x="1437" y="1391"/>
                    <a:pt x="1432" y="1389"/>
                    <a:pt x="1427" y="1388"/>
                  </a:cubicBezTo>
                  <a:cubicBezTo>
                    <a:pt x="1422" y="1386"/>
                    <a:pt x="1419" y="1385"/>
                    <a:pt x="1418" y="1384"/>
                  </a:cubicBezTo>
                  <a:cubicBezTo>
                    <a:pt x="1417" y="1383"/>
                    <a:pt x="1416" y="1382"/>
                    <a:pt x="1416" y="1381"/>
                  </a:cubicBezTo>
                  <a:cubicBezTo>
                    <a:pt x="1416" y="1379"/>
                    <a:pt x="1416" y="1378"/>
                    <a:pt x="1416" y="1377"/>
                  </a:cubicBezTo>
                  <a:cubicBezTo>
                    <a:pt x="1417" y="1375"/>
                    <a:pt x="1418" y="1374"/>
                    <a:pt x="1419" y="1372"/>
                  </a:cubicBezTo>
                  <a:cubicBezTo>
                    <a:pt x="1420" y="1370"/>
                    <a:pt x="1422" y="1368"/>
                    <a:pt x="1423" y="1367"/>
                  </a:cubicBezTo>
                  <a:cubicBezTo>
                    <a:pt x="1426" y="1364"/>
                    <a:pt x="1429" y="1362"/>
                    <a:pt x="1431" y="1360"/>
                  </a:cubicBezTo>
                  <a:cubicBezTo>
                    <a:pt x="1433" y="1359"/>
                    <a:pt x="1436" y="1358"/>
                    <a:pt x="1439" y="1358"/>
                  </a:cubicBezTo>
                  <a:cubicBezTo>
                    <a:pt x="1442" y="1358"/>
                    <a:pt x="1447" y="1359"/>
                    <a:pt x="1453" y="1361"/>
                  </a:cubicBezTo>
                  <a:cubicBezTo>
                    <a:pt x="1459" y="1363"/>
                    <a:pt x="1465" y="1366"/>
                    <a:pt x="1472" y="1369"/>
                  </a:cubicBezTo>
                  <a:cubicBezTo>
                    <a:pt x="1478" y="1372"/>
                    <a:pt x="1485" y="1376"/>
                    <a:pt x="1493" y="1381"/>
                  </a:cubicBezTo>
                  <a:cubicBezTo>
                    <a:pt x="1500" y="1386"/>
                    <a:pt x="1506" y="1392"/>
                    <a:pt x="1512" y="1398"/>
                  </a:cubicBezTo>
                  <a:cubicBezTo>
                    <a:pt x="1524" y="1409"/>
                    <a:pt x="1532" y="1420"/>
                    <a:pt x="1538" y="1431"/>
                  </a:cubicBezTo>
                  <a:cubicBezTo>
                    <a:pt x="1543" y="1442"/>
                    <a:pt x="1546" y="1452"/>
                    <a:pt x="1546" y="1462"/>
                  </a:cubicBezTo>
                  <a:cubicBezTo>
                    <a:pt x="1546" y="1472"/>
                    <a:pt x="1543" y="1482"/>
                    <a:pt x="1538" y="1491"/>
                  </a:cubicBezTo>
                  <a:cubicBezTo>
                    <a:pt x="1533" y="1501"/>
                    <a:pt x="1525" y="1511"/>
                    <a:pt x="1515" y="1521"/>
                  </a:cubicBezTo>
                  <a:lnTo>
                    <a:pt x="1408" y="1628"/>
                  </a:lnTo>
                  <a:close/>
                  <a:moveTo>
                    <a:pt x="1452" y="1526"/>
                  </a:moveTo>
                  <a:lnTo>
                    <a:pt x="1427" y="1501"/>
                  </a:lnTo>
                  <a:cubicBezTo>
                    <a:pt x="1419" y="1493"/>
                    <a:pt x="1411" y="1487"/>
                    <a:pt x="1404" y="1482"/>
                  </a:cubicBezTo>
                  <a:cubicBezTo>
                    <a:pt x="1397" y="1478"/>
                    <a:pt x="1390" y="1475"/>
                    <a:pt x="1383" y="1474"/>
                  </a:cubicBezTo>
                  <a:cubicBezTo>
                    <a:pt x="1377" y="1473"/>
                    <a:pt x="1370" y="1473"/>
                    <a:pt x="1365" y="1475"/>
                  </a:cubicBezTo>
                  <a:cubicBezTo>
                    <a:pt x="1359" y="1477"/>
                    <a:pt x="1354" y="1480"/>
                    <a:pt x="1349" y="1485"/>
                  </a:cubicBezTo>
                  <a:cubicBezTo>
                    <a:pt x="1341" y="1493"/>
                    <a:pt x="1337" y="1502"/>
                    <a:pt x="1338" y="1512"/>
                  </a:cubicBezTo>
                  <a:cubicBezTo>
                    <a:pt x="1338" y="1523"/>
                    <a:pt x="1343" y="1532"/>
                    <a:pt x="1352" y="1542"/>
                  </a:cubicBezTo>
                  <a:cubicBezTo>
                    <a:pt x="1360" y="1549"/>
                    <a:pt x="1369" y="1555"/>
                    <a:pt x="1379" y="1557"/>
                  </a:cubicBezTo>
                  <a:cubicBezTo>
                    <a:pt x="1390" y="1560"/>
                    <a:pt x="1403" y="1561"/>
                    <a:pt x="1418" y="1560"/>
                  </a:cubicBezTo>
                  <a:lnTo>
                    <a:pt x="1452" y="1526"/>
                  </a:lnTo>
                  <a:close/>
                  <a:moveTo>
                    <a:pt x="1840" y="1741"/>
                  </a:moveTo>
                  <a:cubicBezTo>
                    <a:pt x="1839" y="1741"/>
                    <a:pt x="1838" y="1742"/>
                    <a:pt x="1837" y="1743"/>
                  </a:cubicBezTo>
                  <a:cubicBezTo>
                    <a:pt x="1835" y="1744"/>
                    <a:pt x="1833" y="1745"/>
                    <a:pt x="1831" y="1746"/>
                  </a:cubicBezTo>
                  <a:lnTo>
                    <a:pt x="1633" y="1851"/>
                  </a:lnTo>
                  <a:cubicBezTo>
                    <a:pt x="1631" y="1852"/>
                    <a:pt x="1630" y="1852"/>
                    <a:pt x="1628" y="1852"/>
                  </a:cubicBezTo>
                  <a:cubicBezTo>
                    <a:pt x="1626" y="1852"/>
                    <a:pt x="1625" y="1852"/>
                    <a:pt x="1623" y="1851"/>
                  </a:cubicBezTo>
                  <a:cubicBezTo>
                    <a:pt x="1621" y="1850"/>
                    <a:pt x="1619" y="1849"/>
                    <a:pt x="1616" y="1846"/>
                  </a:cubicBezTo>
                  <a:cubicBezTo>
                    <a:pt x="1614" y="1844"/>
                    <a:pt x="1611" y="1841"/>
                    <a:pt x="1607" y="1838"/>
                  </a:cubicBezTo>
                  <a:cubicBezTo>
                    <a:pt x="1604" y="1834"/>
                    <a:pt x="1601" y="1831"/>
                    <a:pt x="1598" y="1828"/>
                  </a:cubicBezTo>
                  <a:cubicBezTo>
                    <a:pt x="1596" y="1826"/>
                    <a:pt x="1595" y="1823"/>
                    <a:pt x="1594" y="1821"/>
                  </a:cubicBezTo>
                  <a:cubicBezTo>
                    <a:pt x="1593" y="1819"/>
                    <a:pt x="1592" y="1818"/>
                    <a:pt x="1592" y="1816"/>
                  </a:cubicBezTo>
                  <a:cubicBezTo>
                    <a:pt x="1592" y="1815"/>
                    <a:pt x="1593" y="1813"/>
                    <a:pt x="1594" y="1812"/>
                  </a:cubicBezTo>
                  <a:lnTo>
                    <a:pt x="1676" y="1663"/>
                  </a:lnTo>
                  <a:lnTo>
                    <a:pt x="1677" y="1661"/>
                  </a:lnTo>
                  <a:lnTo>
                    <a:pt x="1675" y="1662"/>
                  </a:lnTo>
                  <a:lnTo>
                    <a:pt x="1529" y="1746"/>
                  </a:lnTo>
                  <a:cubicBezTo>
                    <a:pt x="1527" y="1747"/>
                    <a:pt x="1525" y="1748"/>
                    <a:pt x="1524" y="1748"/>
                  </a:cubicBezTo>
                  <a:cubicBezTo>
                    <a:pt x="1522" y="1748"/>
                    <a:pt x="1520" y="1748"/>
                    <a:pt x="1518" y="1746"/>
                  </a:cubicBezTo>
                  <a:cubicBezTo>
                    <a:pt x="1516" y="1745"/>
                    <a:pt x="1514" y="1744"/>
                    <a:pt x="1512" y="1742"/>
                  </a:cubicBezTo>
                  <a:cubicBezTo>
                    <a:pt x="1509" y="1739"/>
                    <a:pt x="1506" y="1736"/>
                    <a:pt x="1502" y="1733"/>
                  </a:cubicBezTo>
                  <a:cubicBezTo>
                    <a:pt x="1499" y="1729"/>
                    <a:pt x="1496" y="1726"/>
                    <a:pt x="1494" y="1724"/>
                  </a:cubicBezTo>
                  <a:cubicBezTo>
                    <a:pt x="1492" y="1721"/>
                    <a:pt x="1490" y="1719"/>
                    <a:pt x="1489" y="1717"/>
                  </a:cubicBezTo>
                  <a:cubicBezTo>
                    <a:pt x="1488" y="1715"/>
                    <a:pt x="1488" y="1713"/>
                    <a:pt x="1488" y="1712"/>
                  </a:cubicBezTo>
                  <a:cubicBezTo>
                    <a:pt x="1488" y="1710"/>
                    <a:pt x="1488" y="1709"/>
                    <a:pt x="1489" y="1707"/>
                  </a:cubicBezTo>
                  <a:lnTo>
                    <a:pt x="1594" y="1509"/>
                  </a:lnTo>
                  <a:cubicBezTo>
                    <a:pt x="1595" y="1507"/>
                    <a:pt x="1596" y="1505"/>
                    <a:pt x="1597" y="1504"/>
                  </a:cubicBezTo>
                  <a:cubicBezTo>
                    <a:pt x="1598" y="1502"/>
                    <a:pt x="1599" y="1501"/>
                    <a:pt x="1600" y="1500"/>
                  </a:cubicBezTo>
                  <a:cubicBezTo>
                    <a:pt x="1601" y="1499"/>
                    <a:pt x="1602" y="1499"/>
                    <a:pt x="1603" y="1499"/>
                  </a:cubicBezTo>
                  <a:cubicBezTo>
                    <a:pt x="1604" y="1498"/>
                    <a:pt x="1605" y="1499"/>
                    <a:pt x="1607" y="1499"/>
                  </a:cubicBezTo>
                  <a:cubicBezTo>
                    <a:pt x="1608" y="1500"/>
                    <a:pt x="1610" y="1501"/>
                    <a:pt x="1612" y="1503"/>
                  </a:cubicBezTo>
                  <a:cubicBezTo>
                    <a:pt x="1614" y="1505"/>
                    <a:pt x="1617" y="1507"/>
                    <a:pt x="1619" y="1510"/>
                  </a:cubicBezTo>
                  <a:cubicBezTo>
                    <a:pt x="1623" y="1513"/>
                    <a:pt x="1625" y="1516"/>
                    <a:pt x="1627" y="1518"/>
                  </a:cubicBezTo>
                  <a:cubicBezTo>
                    <a:pt x="1629" y="1520"/>
                    <a:pt x="1630" y="1522"/>
                    <a:pt x="1631" y="1523"/>
                  </a:cubicBezTo>
                  <a:cubicBezTo>
                    <a:pt x="1631" y="1525"/>
                    <a:pt x="1632" y="1526"/>
                    <a:pt x="1631" y="1528"/>
                  </a:cubicBezTo>
                  <a:cubicBezTo>
                    <a:pt x="1631" y="1529"/>
                    <a:pt x="1630" y="1530"/>
                    <a:pt x="1630" y="1532"/>
                  </a:cubicBezTo>
                  <a:lnTo>
                    <a:pt x="1537" y="1701"/>
                  </a:lnTo>
                  <a:lnTo>
                    <a:pt x="1536" y="1703"/>
                  </a:lnTo>
                  <a:lnTo>
                    <a:pt x="1538" y="1702"/>
                  </a:lnTo>
                  <a:lnTo>
                    <a:pt x="1704" y="1606"/>
                  </a:lnTo>
                  <a:cubicBezTo>
                    <a:pt x="1705" y="1605"/>
                    <a:pt x="1707" y="1604"/>
                    <a:pt x="1708" y="1604"/>
                  </a:cubicBezTo>
                  <a:cubicBezTo>
                    <a:pt x="1709" y="1604"/>
                    <a:pt x="1711" y="1604"/>
                    <a:pt x="1712" y="1605"/>
                  </a:cubicBezTo>
                  <a:cubicBezTo>
                    <a:pt x="1714" y="1605"/>
                    <a:pt x="1715" y="1607"/>
                    <a:pt x="1717" y="1608"/>
                  </a:cubicBezTo>
                  <a:cubicBezTo>
                    <a:pt x="1719" y="1610"/>
                    <a:pt x="1722" y="1612"/>
                    <a:pt x="1725" y="1615"/>
                  </a:cubicBezTo>
                  <a:cubicBezTo>
                    <a:pt x="1728" y="1618"/>
                    <a:pt x="1730" y="1620"/>
                    <a:pt x="1731" y="1622"/>
                  </a:cubicBezTo>
                  <a:cubicBezTo>
                    <a:pt x="1733" y="1624"/>
                    <a:pt x="1734" y="1626"/>
                    <a:pt x="1735" y="1628"/>
                  </a:cubicBezTo>
                  <a:cubicBezTo>
                    <a:pt x="1736" y="1629"/>
                    <a:pt x="1736" y="1630"/>
                    <a:pt x="1735" y="1632"/>
                  </a:cubicBezTo>
                  <a:cubicBezTo>
                    <a:pt x="1735" y="1633"/>
                    <a:pt x="1735" y="1634"/>
                    <a:pt x="1734" y="1635"/>
                  </a:cubicBezTo>
                  <a:lnTo>
                    <a:pt x="1641" y="1805"/>
                  </a:lnTo>
                  <a:lnTo>
                    <a:pt x="1639" y="1807"/>
                  </a:lnTo>
                  <a:lnTo>
                    <a:pt x="1641" y="1805"/>
                  </a:lnTo>
                  <a:lnTo>
                    <a:pt x="1810" y="1712"/>
                  </a:lnTo>
                  <a:cubicBezTo>
                    <a:pt x="1811" y="1711"/>
                    <a:pt x="1813" y="1710"/>
                    <a:pt x="1814" y="1710"/>
                  </a:cubicBezTo>
                  <a:cubicBezTo>
                    <a:pt x="1815" y="1710"/>
                    <a:pt x="1817" y="1710"/>
                    <a:pt x="1818" y="1711"/>
                  </a:cubicBezTo>
                  <a:cubicBezTo>
                    <a:pt x="1820" y="1712"/>
                    <a:pt x="1822" y="1713"/>
                    <a:pt x="1824" y="1715"/>
                  </a:cubicBezTo>
                  <a:cubicBezTo>
                    <a:pt x="1826" y="1716"/>
                    <a:pt x="1828" y="1719"/>
                    <a:pt x="1831" y="1722"/>
                  </a:cubicBezTo>
                  <a:cubicBezTo>
                    <a:pt x="1834" y="1725"/>
                    <a:pt x="1837" y="1727"/>
                    <a:pt x="1838" y="1729"/>
                  </a:cubicBezTo>
                  <a:cubicBezTo>
                    <a:pt x="1840" y="1731"/>
                    <a:pt x="1841" y="1732"/>
                    <a:pt x="1841" y="1734"/>
                  </a:cubicBezTo>
                  <a:cubicBezTo>
                    <a:pt x="1842" y="1735"/>
                    <a:pt x="1842" y="1737"/>
                    <a:pt x="1842" y="1738"/>
                  </a:cubicBezTo>
                  <a:cubicBezTo>
                    <a:pt x="1842" y="1739"/>
                    <a:pt x="1841" y="1740"/>
                    <a:pt x="1840" y="1741"/>
                  </a:cubicBezTo>
                  <a:close/>
                  <a:moveTo>
                    <a:pt x="2155" y="1952"/>
                  </a:moveTo>
                  <a:cubicBezTo>
                    <a:pt x="2153" y="1955"/>
                    <a:pt x="2151" y="1956"/>
                    <a:pt x="2149" y="1958"/>
                  </a:cubicBezTo>
                  <a:cubicBezTo>
                    <a:pt x="2147" y="1959"/>
                    <a:pt x="2146" y="1960"/>
                    <a:pt x="2144" y="1961"/>
                  </a:cubicBezTo>
                  <a:cubicBezTo>
                    <a:pt x="2142" y="1961"/>
                    <a:pt x="2141" y="1961"/>
                    <a:pt x="2140" y="1961"/>
                  </a:cubicBezTo>
                  <a:cubicBezTo>
                    <a:pt x="2139" y="1961"/>
                    <a:pt x="2138" y="1960"/>
                    <a:pt x="2137" y="1959"/>
                  </a:cubicBezTo>
                  <a:lnTo>
                    <a:pt x="2072" y="1895"/>
                  </a:lnTo>
                  <a:lnTo>
                    <a:pt x="1874" y="2093"/>
                  </a:lnTo>
                  <a:cubicBezTo>
                    <a:pt x="1873" y="2094"/>
                    <a:pt x="1872" y="2095"/>
                    <a:pt x="1871" y="2095"/>
                  </a:cubicBezTo>
                  <a:cubicBezTo>
                    <a:pt x="1870" y="2095"/>
                    <a:pt x="1868" y="2095"/>
                    <a:pt x="1867" y="2094"/>
                  </a:cubicBezTo>
                  <a:cubicBezTo>
                    <a:pt x="1865" y="2093"/>
                    <a:pt x="1863" y="2092"/>
                    <a:pt x="1861" y="2090"/>
                  </a:cubicBezTo>
                  <a:cubicBezTo>
                    <a:pt x="1859" y="2089"/>
                    <a:pt x="1856" y="2087"/>
                    <a:pt x="1853" y="2084"/>
                  </a:cubicBezTo>
                  <a:cubicBezTo>
                    <a:pt x="1850" y="2081"/>
                    <a:pt x="1848" y="2078"/>
                    <a:pt x="1846" y="2076"/>
                  </a:cubicBezTo>
                  <a:cubicBezTo>
                    <a:pt x="1845" y="2074"/>
                    <a:pt x="1843" y="2072"/>
                    <a:pt x="1843" y="2070"/>
                  </a:cubicBezTo>
                  <a:cubicBezTo>
                    <a:pt x="1842" y="2068"/>
                    <a:pt x="1841" y="2067"/>
                    <a:pt x="1842" y="2066"/>
                  </a:cubicBezTo>
                  <a:cubicBezTo>
                    <a:pt x="1842" y="2065"/>
                    <a:pt x="1843" y="2064"/>
                    <a:pt x="1843" y="2063"/>
                  </a:cubicBezTo>
                  <a:lnTo>
                    <a:pt x="2042" y="1864"/>
                  </a:lnTo>
                  <a:lnTo>
                    <a:pt x="1977" y="1800"/>
                  </a:lnTo>
                  <a:cubicBezTo>
                    <a:pt x="1977" y="1799"/>
                    <a:pt x="1976" y="1798"/>
                    <a:pt x="1976" y="1797"/>
                  </a:cubicBezTo>
                  <a:cubicBezTo>
                    <a:pt x="1975" y="1796"/>
                    <a:pt x="1975" y="1794"/>
                    <a:pt x="1976" y="1793"/>
                  </a:cubicBezTo>
                  <a:cubicBezTo>
                    <a:pt x="1977" y="1791"/>
                    <a:pt x="1977" y="1790"/>
                    <a:pt x="1979" y="1788"/>
                  </a:cubicBezTo>
                  <a:cubicBezTo>
                    <a:pt x="1980" y="1786"/>
                    <a:pt x="1982" y="1784"/>
                    <a:pt x="1984" y="1781"/>
                  </a:cubicBezTo>
                  <a:cubicBezTo>
                    <a:pt x="1986" y="1779"/>
                    <a:pt x="1989" y="1777"/>
                    <a:pt x="1991" y="1776"/>
                  </a:cubicBezTo>
                  <a:cubicBezTo>
                    <a:pt x="1993" y="1774"/>
                    <a:pt x="1994" y="1773"/>
                    <a:pt x="1996" y="1773"/>
                  </a:cubicBezTo>
                  <a:cubicBezTo>
                    <a:pt x="1997" y="1772"/>
                    <a:pt x="1999" y="1772"/>
                    <a:pt x="2000" y="1772"/>
                  </a:cubicBezTo>
                  <a:cubicBezTo>
                    <a:pt x="2001" y="1773"/>
                    <a:pt x="2002" y="1773"/>
                    <a:pt x="2003" y="1774"/>
                  </a:cubicBezTo>
                  <a:lnTo>
                    <a:pt x="2162" y="1933"/>
                  </a:lnTo>
                  <a:cubicBezTo>
                    <a:pt x="2163" y="1934"/>
                    <a:pt x="2164" y="1935"/>
                    <a:pt x="2164" y="1937"/>
                  </a:cubicBezTo>
                  <a:cubicBezTo>
                    <a:pt x="2165" y="1938"/>
                    <a:pt x="2164" y="1939"/>
                    <a:pt x="2164" y="1941"/>
                  </a:cubicBezTo>
                  <a:cubicBezTo>
                    <a:pt x="2163" y="1942"/>
                    <a:pt x="2162" y="1944"/>
                    <a:pt x="2161" y="1946"/>
                  </a:cubicBezTo>
                  <a:cubicBezTo>
                    <a:pt x="2159" y="1948"/>
                    <a:pt x="2158" y="1950"/>
                    <a:pt x="2155" y="1952"/>
                  </a:cubicBezTo>
                  <a:close/>
                  <a:moveTo>
                    <a:pt x="2208" y="2265"/>
                  </a:moveTo>
                  <a:cubicBezTo>
                    <a:pt x="2195" y="2278"/>
                    <a:pt x="2181" y="2288"/>
                    <a:pt x="2167" y="2295"/>
                  </a:cubicBezTo>
                  <a:cubicBezTo>
                    <a:pt x="2152" y="2303"/>
                    <a:pt x="2138" y="2307"/>
                    <a:pt x="2123" y="2308"/>
                  </a:cubicBezTo>
                  <a:cubicBezTo>
                    <a:pt x="2109" y="2309"/>
                    <a:pt x="2094" y="2307"/>
                    <a:pt x="2079" y="2301"/>
                  </a:cubicBezTo>
                  <a:cubicBezTo>
                    <a:pt x="2065" y="2295"/>
                    <a:pt x="2051" y="2286"/>
                    <a:pt x="2037" y="2272"/>
                  </a:cubicBezTo>
                  <a:cubicBezTo>
                    <a:pt x="2024" y="2259"/>
                    <a:pt x="2015" y="2246"/>
                    <a:pt x="2009" y="2232"/>
                  </a:cubicBezTo>
                  <a:cubicBezTo>
                    <a:pt x="2003" y="2219"/>
                    <a:pt x="2001" y="2205"/>
                    <a:pt x="2002" y="2191"/>
                  </a:cubicBezTo>
                  <a:cubicBezTo>
                    <a:pt x="2002" y="2177"/>
                    <a:pt x="2007" y="2163"/>
                    <a:pt x="2014" y="2150"/>
                  </a:cubicBezTo>
                  <a:cubicBezTo>
                    <a:pt x="2022" y="2136"/>
                    <a:pt x="2032" y="2122"/>
                    <a:pt x="2045" y="2109"/>
                  </a:cubicBezTo>
                  <a:cubicBezTo>
                    <a:pt x="2058" y="2096"/>
                    <a:pt x="2072" y="2085"/>
                    <a:pt x="2086" y="2078"/>
                  </a:cubicBezTo>
                  <a:cubicBezTo>
                    <a:pt x="2100" y="2070"/>
                    <a:pt x="2115" y="2066"/>
                    <a:pt x="2130" y="2065"/>
                  </a:cubicBezTo>
                  <a:cubicBezTo>
                    <a:pt x="2144" y="2064"/>
                    <a:pt x="2159" y="2066"/>
                    <a:pt x="2173" y="2072"/>
                  </a:cubicBezTo>
                  <a:cubicBezTo>
                    <a:pt x="2188" y="2078"/>
                    <a:pt x="2202" y="2087"/>
                    <a:pt x="2215" y="2101"/>
                  </a:cubicBezTo>
                  <a:cubicBezTo>
                    <a:pt x="2229" y="2114"/>
                    <a:pt x="2238" y="2127"/>
                    <a:pt x="2244" y="2141"/>
                  </a:cubicBezTo>
                  <a:cubicBezTo>
                    <a:pt x="2250" y="2155"/>
                    <a:pt x="2252" y="2168"/>
                    <a:pt x="2251" y="2182"/>
                  </a:cubicBezTo>
                  <a:cubicBezTo>
                    <a:pt x="2250" y="2196"/>
                    <a:pt x="2246" y="2210"/>
                    <a:pt x="2239" y="2224"/>
                  </a:cubicBezTo>
                  <a:cubicBezTo>
                    <a:pt x="2231" y="2238"/>
                    <a:pt x="2221" y="2251"/>
                    <a:pt x="2208" y="2265"/>
                  </a:cubicBezTo>
                  <a:close/>
                  <a:moveTo>
                    <a:pt x="2175" y="2236"/>
                  </a:moveTo>
                  <a:cubicBezTo>
                    <a:pt x="2184" y="2228"/>
                    <a:pt x="2191" y="2219"/>
                    <a:pt x="2197" y="2210"/>
                  </a:cubicBezTo>
                  <a:cubicBezTo>
                    <a:pt x="2204" y="2200"/>
                    <a:pt x="2208" y="2191"/>
                    <a:pt x="2210" y="2181"/>
                  </a:cubicBezTo>
                  <a:cubicBezTo>
                    <a:pt x="2212" y="2172"/>
                    <a:pt x="2211" y="2162"/>
                    <a:pt x="2208" y="2153"/>
                  </a:cubicBezTo>
                  <a:cubicBezTo>
                    <a:pt x="2205" y="2143"/>
                    <a:pt x="2199" y="2134"/>
                    <a:pt x="2190" y="2124"/>
                  </a:cubicBezTo>
                  <a:cubicBezTo>
                    <a:pt x="2181" y="2115"/>
                    <a:pt x="2172" y="2110"/>
                    <a:pt x="2163" y="2106"/>
                  </a:cubicBezTo>
                  <a:cubicBezTo>
                    <a:pt x="2154" y="2103"/>
                    <a:pt x="2144" y="2102"/>
                    <a:pt x="2134" y="2104"/>
                  </a:cubicBezTo>
                  <a:cubicBezTo>
                    <a:pt x="2125" y="2105"/>
                    <a:pt x="2115" y="2109"/>
                    <a:pt x="2106" y="2115"/>
                  </a:cubicBezTo>
                  <a:cubicBezTo>
                    <a:pt x="2096" y="2121"/>
                    <a:pt x="2087" y="2128"/>
                    <a:pt x="2078" y="2137"/>
                  </a:cubicBezTo>
                  <a:cubicBezTo>
                    <a:pt x="2069" y="2146"/>
                    <a:pt x="2061" y="2155"/>
                    <a:pt x="2055" y="2164"/>
                  </a:cubicBezTo>
                  <a:cubicBezTo>
                    <a:pt x="2049" y="2173"/>
                    <a:pt x="2045" y="2183"/>
                    <a:pt x="2043" y="2192"/>
                  </a:cubicBezTo>
                  <a:cubicBezTo>
                    <a:pt x="2041" y="2202"/>
                    <a:pt x="2042" y="2211"/>
                    <a:pt x="2045" y="2221"/>
                  </a:cubicBezTo>
                  <a:cubicBezTo>
                    <a:pt x="2048" y="2230"/>
                    <a:pt x="2054" y="2240"/>
                    <a:pt x="2063" y="2249"/>
                  </a:cubicBezTo>
                  <a:cubicBezTo>
                    <a:pt x="2072" y="2258"/>
                    <a:pt x="2081" y="2264"/>
                    <a:pt x="2090" y="2267"/>
                  </a:cubicBezTo>
                  <a:cubicBezTo>
                    <a:pt x="2100" y="2270"/>
                    <a:pt x="2109" y="2271"/>
                    <a:pt x="2119" y="2270"/>
                  </a:cubicBezTo>
                  <a:cubicBezTo>
                    <a:pt x="2128" y="2268"/>
                    <a:pt x="2138" y="2265"/>
                    <a:pt x="2147" y="2259"/>
                  </a:cubicBezTo>
                  <a:cubicBezTo>
                    <a:pt x="2157" y="2253"/>
                    <a:pt x="2166" y="2246"/>
                    <a:pt x="2175" y="2236"/>
                  </a:cubicBezTo>
                  <a:close/>
                  <a:moveTo>
                    <a:pt x="2541" y="2442"/>
                  </a:moveTo>
                  <a:cubicBezTo>
                    <a:pt x="2541" y="2443"/>
                    <a:pt x="2539" y="2444"/>
                    <a:pt x="2538" y="2445"/>
                  </a:cubicBezTo>
                  <a:cubicBezTo>
                    <a:pt x="2537" y="2446"/>
                    <a:pt x="2535" y="2447"/>
                    <a:pt x="2532" y="2448"/>
                  </a:cubicBezTo>
                  <a:lnTo>
                    <a:pt x="2334" y="2552"/>
                  </a:lnTo>
                  <a:cubicBezTo>
                    <a:pt x="2333" y="2553"/>
                    <a:pt x="2331" y="2554"/>
                    <a:pt x="2330" y="2554"/>
                  </a:cubicBezTo>
                  <a:cubicBezTo>
                    <a:pt x="2328" y="2554"/>
                    <a:pt x="2326" y="2553"/>
                    <a:pt x="2324" y="2552"/>
                  </a:cubicBezTo>
                  <a:cubicBezTo>
                    <a:pt x="2323" y="2552"/>
                    <a:pt x="2320" y="2550"/>
                    <a:pt x="2318" y="2548"/>
                  </a:cubicBezTo>
                  <a:cubicBezTo>
                    <a:pt x="2315" y="2546"/>
                    <a:pt x="2312" y="2543"/>
                    <a:pt x="2309" y="2539"/>
                  </a:cubicBezTo>
                  <a:cubicBezTo>
                    <a:pt x="2305" y="2536"/>
                    <a:pt x="2302" y="2532"/>
                    <a:pt x="2300" y="2530"/>
                  </a:cubicBezTo>
                  <a:cubicBezTo>
                    <a:pt x="2298" y="2527"/>
                    <a:pt x="2296" y="2525"/>
                    <a:pt x="2295" y="2523"/>
                  </a:cubicBezTo>
                  <a:cubicBezTo>
                    <a:pt x="2294" y="2521"/>
                    <a:pt x="2294" y="2519"/>
                    <a:pt x="2294" y="2518"/>
                  </a:cubicBezTo>
                  <a:cubicBezTo>
                    <a:pt x="2294" y="2516"/>
                    <a:pt x="2294" y="2515"/>
                    <a:pt x="2295" y="2513"/>
                  </a:cubicBezTo>
                  <a:lnTo>
                    <a:pt x="2377" y="2364"/>
                  </a:lnTo>
                  <a:lnTo>
                    <a:pt x="2378" y="2362"/>
                  </a:lnTo>
                  <a:lnTo>
                    <a:pt x="2376" y="2363"/>
                  </a:lnTo>
                  <a:lnTo>
                    <a:pt x="2230" y="2448"/>
                  </a:lnTo>
                  <a:cubicBezTo>
                    <a:pt x="2228" y="2449"/>
                    <a:pt x="2227" y="2449"/>
                    <a:pt x="2225" y="2449"/>
                  </a:cubicBezTo>
                  <a:cubicBezTo>
                    <a:pt x="2224" y="2449"/>
                    <a:pt x="2222" y="2449"/>
                    <a:pt x="2220" y="2448"/>
                  </a:cubicBezTo>
                  <a:cubicBezTo>
                    <a:pt x="2218" y="2447"/>
                    <a:pt x="2216" y="2445"/>
                    <a:pt x="2213" y="2443"/>
                  </a:cubicBezTo>
                  <a:cubicBezTo>
                    <a:pt x="2210" y="2441"/>
                    <a:pt x="2207" y="2438"/>
                    <a:pt x="2204" y="2434"/>
                  </a:cubicBezTo>
                  <a:cubicBezTo>
                    <a:pt x="2200" y="2431"/>
                    <a:pt x="2197" y="2428"/>
                    <a:pt x="2195" y="2425"/>
                  </a:cubicBezTo>
                  <a:cubicBezTo>
                    <a:pt x="2193" y="2422"/>
                    <a:pt x="2192" y="2420"/>
                    <a:pt x="2191" y="2418"/>
                  </a:cubicBezTo>
                  <a:cubicBezTo>
                    <a:pt x="2190" y="2416"/>
                    <a:pt x="2189" y="2415"/>
                    <a:pt x="2189" y="2413"/>
                  </a:cubicBezTo>
                  <a:cubicBezTo>
                    <a:pt x="2189" y="2412"/>
                    <a:pt x="2190" y="2410"/>
                    <a:pt x="2191" y="2408"/>
                  </a:cubicBezTo>
                  <a:lnTo>
                    <a:pt x="2295" y="2211"/>
                  </a:lnTo>
                  <a:cubicBezTo>
                    <a:pt x="2297" y="2209"/>
                    <a:pt x="2298" y="2207"/>
                    <a:pt x="2299" y="2205"/>
                  </a:cubicBezTo>
                  <a:cubicBezTo>
                    <a:pt x="2299" y="2204"/>
                    <a:pt x="2300" y="2203"/>
                    <a:pt x="2301" y="2202"/>
                  </a:cubicBezTo>
                  <a:cubicBezTo>
                    <a:pt x="2302" y="2201"/>
                    <a:pt x="2303" y="2200"/>
                    <a:pt x="2304" y="2200"/>
                  </a:cubicBezTo>
                  <a:cubicBezTo>
                    <a:pt x="2306" y="2200"/>
                    <a:pt x="2307" y="2200"/>
                    <a:pt x="2308" y="2201"/>
                  </a:cubicBezTo>
                  <a:cubicBezTo>
                    <a:pt x="2310" y="2201"/>
                    <a:pt x="2312" y="2203"/>
                    <a:pt x="2314" y="2205"/>
                  </a:cubicBezTo>
                  <a:cubicBezTo>
                    <a:pt x="2316" y="2206"/>
                    <a:pt x="2318" y="2209"/>
                    <a:pt x="2321" y="2211"/>
                  </a:cubicBezTo>
                  <a:cubicBezTo>
                    <a:pt x="2324" y="2215"/>
                    <a:pt x="2327" y="2217"/>
                    <a:pt x="2328" y="2219"/>
                  </a:cubicBezTo>
                  <a:cubicBezTo>
                    <a:pt x="2330" y="2222"/>
                    <a:pt x="2332" y="2223"/>
                    <a:pt x="2332" y="2225"/>
                  </a:cubicBezTo>
                  <a:cubicBezTo>
                    <a:pt x="2333" y="2226"/>
                    <a:pt x="2333" y="2228"/>
                    <a:pt x="2333" y="2229"/>
                  </a:cubicBezTo>
                  <a:cubicBezTo>
                    <a:pt x="2332" y="2230"/>
                    <a:pt x="2332" y="2232"/>
                    <a:pt x="2331" y="2233"/>
                  </a:cubicBezTo>
                  <a:lnTo>
                    <a:pt x="2238" y="2402"/>
                  </a:lnTo>
                  <a:lnTo>
                    <a:pt x="2237" y="2404"/>
                  </a:lnTo>
                  <a:lnTo>
                    <a:pt x="2239" y="2403"/>
                  </a:lnTo>
                  <a:lnTo>
                    <a:pt x="2405" y="2307"/>
                  </a:lnTo>
                  <a:cubicBezTo>
                    <a:pt x="2407" y="2306"/>
                    <a:pt x="2408" y="2306"/>
                    <a:pt x="2409" y="2306"/>
                  </a:cubicBezTo>
                  <a:cubicBezTo>
                    <a:pt x="2411" y="2305"/>
                    <a:pt x="2412" y="2306"/>
                    <a:pt x="2414" y="2306"/>
                  </a:cubicBezTo>
                  <a:cubicBezTo>
                    <a:pt x="2415" y="2307"/>
                    <a:pt x="2417" y="2308"/>
                    <a:pt x="2419" y="2310"/>
                  </a:cubicBezTo>
                  <a:cubicBezTo>
                    <a:pt x="2421" y="2311"/>
                    <a:pt x="2423" y="2314"/>
                    <a:pt x="2426" y="2317"/>
                  </a:cubicBezTo>
                  <a:cubicBezTo>
                    <a:pt x="2429" y="2319"/>
                    <a:pt x="2431" y="2322"/>
                    <a:pt x="2433" y="2324"/>
                  </a:cubicBezTo>
                  <a:cubicBezTo>
                    <a:pt x="2435" y="2326"/>
                    <a:pt x="2436" y="2328"/>
                    <a:pt x="2436" y="2329"/>
                  </a:cubicBezTo>
                  <a:cubicBezTo>
                    <a:pt x="2437" y="2331"/>
                    <a:pt x="2437" y="2332"/>
                    <a:pt x="2437" y="2333"/>
                  </a:cubicBezTo>
                  <a:cubicBezTo>
                    <a:pt x="2437" y="2334"/>
                    <a:pt x="2436" y="2335"/>
                    <a:pt x="2436" y="2337"/>
                  </a:cubicBezTo>
                  <a:lnTo>
                    <a:pt x="2342" y="2506"/>
                  </a:lnTo>
                  <a:lnTo>
                    <a:pt x="2341" y="2508"/>
                  </a:lnTo>
                  <a:lnTo>
                    <a:pt x="2343" y="2507"/>
                  </a:lnTo>
                  <a:lnTo>
                    <a:pt x="2512" y="2413"/>
                  </a:lnTo>
                  <a:cubicBezTo>
                    <a:pt x="2513" y="2412"/>
                    <a:pt x="2514" y="2412"/>
                    <a:pt x="2515" y="2412"/>
                  </a:cubicBezTo>
                  <a:cubicBezTo>
                    <a:pt x="2517" y="2411"/>
                    <a:pt x="2518" y="2412"/>
                    <a:pt x="2520" y="2412"/>
                  </a:cubicBezTo>
                  <a:cubicBezTo>
                    <a:pt x="2521" y="2413"/>
                    <a:pt x="2523" y="2414"/>
                    <a:pt x="2525" y="2416"/>
                  </a:cubicBezTo>
                  <a:cubicBezTo>
                    <a:pt x="2527" y="2418"/>
                    <a:pt x="2530" y="2420"/>
                    <a:pt x="2533" y="2423"/>
                  </a:cubicBezTo>
                  <a:cubicBezTo>
                    <a:pt x="2536" y="2426"/>
                    <a:pt x="2538" y="2429"/>
                    <a:pt x="2540" y="2430"/>
                  </a:cubicBezTo>
                  <a:cubicBezTo>
                    <a:pt x="2541" y="2432"/>
                    <a:pt x="2542" y="2434"/>
                    <a:pt x="2543" y="2435"/>
                  </a:cubicBezTo>
                  <a:cubicBezTo>
                    <a:pt x="2543" y="2437"/>
                    <a:pt x="2543" y="2438"/>
                    <a:pt x="2543" y="2439"/>
                  </a:cubicBezTo>
                  <a:cubicBezTo>
                    <a:pt x="2543" y="2440"/>
                    <a:pt x="2542" y="2441"/>
                    <a:pt x="2541" y="2442"/>
                  </a:cubicBezTo>
                  <a:close/>
                  <a:moveTo>
                    <a:pt x="2472" y="2662"/>
                  </a:moveTo>
                  <a:cubicBezTo>
                    <a:pt x="2464" y="2670"/>
                    <a:pt x="2457" y="2675"/>
                    <a:pt x="2451" y="2675"/>
                  </a:cubicBezTo>
                  <a:cubicBezTo>
                    <a:pt x="2446" y="2675"/>
                    <a:pt x="2439" y="2671"/>
                    <a:pt x="2432" y="2664"/>
                  </a:cubicBezTo>
                  <a:cubicBezTo>
                    <a:pt x="2425" y="2657"/>
                    <a:pt x="2421" y="2650"/>
                    <a:pt x="2421" y="2645"/>
                  </a:cubicBezTo>
                  <a:cubicBezTo>
                    <a:pt x="2421" y="2639"/>
                    <a:pt x="2425" y="2633"/>
                    <a:pt x="2434" y="2625"/>
                  </a:cubicBezTo>
                  <a:cubicBezTo>
                    <a:pt x="2442" y="2616"/>
                    <a:pt x="2449" y="2612"/>
                    <a:pt x="2454" y="2612"/>
                  </a:cubicBezTo>
                  <a:cubicBezTo>
                    <a:pt x="2460" y="2612"/>
                    <a:pt x="2466" y="2616"/>
                    <a:pt x="2474" y="2623"/>
                  </a:cubicBezTo>
                  <a:cubicBezTo>
                    <a:pt x="2481" y="2630"/>
                    <a:pt x="2484" y="2636"/>
                    <a:pt x="2484" y="2642"/>
                  </a:cubicBezTo>
                  <a:cubicBezTo>
                    <a:pt x="2484" y="2647"/>
                    <a:pt x="2480" y="2654"/>
                    <a:pt x="2472" y="2662"/>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86" name="Freeform 133"/>
            <p:cNvSpPr>
              <a:spLocks noEditPoints="1"/>
            </p:cNvSpPr>
            <p:nvPr/>
          </p:nvSpPr>
          <p:spPr bwMode="auto">
            <a:xfrm>
              <a:off x="1972" y="2366"/>
              <a:ext cx="332" cy="336"/>
            </a:xfrm>
            <a:custGeom>
              <a:avLst/>
              <a:gdLst>
                <a:gd name="T0" fmla="*/ 5 w 3141"/>
                <a:gd name="T1" fmla="*/ 159 h 3178"/>
                <a:gd name="T2" fmla="*/ 86 w 3141"/>
                <a:gd name="T3" fmla="*/ 183 h 3178"/>
                <a:gd name="T4" fmla="*/ 254 w 3141"/>
                <a:gd name="T5" fmla="*/ 427 h 3178"/>
                <a:gd name="T6" fmla="*/ 148 w 3141"/>
                <a:gd name="T7" fmla="*/ 280 h 3178"/>
                <a:gd name="T8" fmla="*/ 310 w 3141"/>
                <a:gd name="T9" fmla="*/ 201 h 3178"/>
                <a:gd name="T10" fmla="*/ 339 w 3141"/>
                <a:gd name="T11" fmla="*/ 180 h 3178"/>
                <a:gd name="T12" fmla="*/ 196 w 3141"/>
                <a:gd name="T13" fmla="*/ 284 h 3178"/>
                <a:gd name="T14" fmla="*/ 474 w 3141"/>
                <a:gd name="T15" fmla="*/ 657 h 3178"/>
                <a:gd name="T16" fmla="*/ 369 w 3141"/>
                <a:gd name="T17" fmla="*/ 552 h 3178"/>
                <a:gd name="T18" fmla="*/ 477 w 3141"/>
                <a:gd name="T19" fmla="*/ 320 h 3178"/>
                <a:gd name="T20" fmla="*/ 582 w 3141"/>
                <a:gd name="T21" fmla="*/ 425 h 3178"/>
                <a:gd name="T22" fmla="*/ 689 w 3141"/>
                <a:gd name="T23" fmla="*/ 532 h 3178"/>
                <a:gd name="T24" fmla="*/ 600 w 3141"/>
                <a:gd name="T25" fmla="*/ 688 h 3178"/>
                <a:gd name="T26" fmla="*/ 796 w 3141"/>
                <a:gd name="T27" fmla="*/ 720 h 3178"/>
                <a:gd name="T28" fmla="*/ 705 w 3141"/>
                <a:gd name="T29" fmla="*/ 808 h 3178"/>
                <a:gd name="T30" fmla="*/ 954 w 3141"/>
                <a:gd name="T31" fmla="*/ 850 h 3178"/>
                <a:gd name="T32" fmla="*/ 757 w 3141"/>
                <a:gd name="T33" fmla="*/ 929 h 3178"/>
                <a:gd name="T34" fmla="*/ 967 w 3141"/>
                <a:gd name="T35" fmla="*/ 817 h 3178"/>
                <a:gd name="T36" fmla="*/ 984 w 3141"/>
                <a:gd name="T37" fmla="*/ 1152 h 3178"/>
                <a:gd name="T38" fmla="*/ 1086 w 3141"/>
                <a:gd name="T39" fmla="*/ 979 h 3178"/>
                <a:gd name="T40" fmla="*/ 1131 w 3141"/>
                <a:gd name="T41" fmla="*/ 997 h 3178"/>
                <a:gd name="T42" fmla="*/ 1165 w 3141"/>
                <a:gd name="T43" fmla="*/ 1337 h 3178"/>
                <a:gd name="T44" fmla="*/ 1256 w 3141"/>
                <a:gd name="T45" fmla="*/ 1151 h 3178"/>
                <a:gd name="T46" fmla="*/ 1028 w 3141"/>
                <a:gd name="T47" fmla="*/ 1200 h 3178"/>
                <a:gd name="T48" fmla="*/ 1275 w 3141"/>
                <a:gd name="T49" fmla="*/ 1113 h 3178"/>
                <a:gd name="T50" fmla="*/ 1244 w 3141"/>
                <a:gd name="T51" fmla="*/ 1386 h 3178"/>
                <a:gd name="T52" fmla="*/ 1440 w 3141"/>
                <a:gd name="T53" fmla="*/ 1404 h 3178"/>
                <a:gd name="T54" fmla="*/ 1332 w 3141"/>
                <a:gd name="T55" fmla="*/ 1462 h 3178"/>
                <a:gd name="T56" fmla="*/ 1492 w 3141"/>
                <a:gd name="T57" fmla="*/ 1644 h 3178"/>
                <a:gd name="T58" fmla="*/ 1603 w 3141"/>
                <a:gd name="T59" fmla="*/ 1718 h 3178"/>
                <a:gd name="T60" fmla="*/ 1715 w 3141"/>
                <a:gd name="T61" fmla="*/ 1463 h 3178"/>
                <a:gd name="T62" fmla="*/ 1794 w 3141"/>
                <a:gd name="T63" fmla="*/ 1587 h 3178"/>
                <a:gd name="T64" fmla="*/ 1672 w 3141"/>
                <a:gd name="T65" fmla="*/ 1561 h 3178"/>
                <a:gd name="T66" fmla="*/ 1655 w 3141"/>
                <a:gd name="T67" fmla="*/ 1836 h 3178"/>
                <a:gd name="T68" fmla="*/ 1810 w 3141"/>
                <a:gd name="T69" fmla="*/ 1668 h 3178"/>
                <a:gd name="T70" fmla="*/ 1890 w 3141"/>
                <a:gd name="T71" fmla="*/ 1793 h 3178"/>
                <a:gd name="T72" fmla="*/ 1917 w 3141"/>
                <a:gd name="T73" fmla="*/ 2070 h 3178"/>
                <a:gd name="T74" fmla="*/ 2028 w 3141"/>
                <a:gd name="T75" fmla="*/ 1866 h 3178"/>
                <a:gd name="T76" fmla="*/ 2024 w 3141"/>
                <a:gd name="T77" fmla="*/ 1930 h 3178"/>
                <a:gd name="T78" fmla="*/ 1945 w 3141"/>
                <a:gd name="T79" fmla="*/ 2042 h 3178"/>
                <a:gd name="T80" fmla="*/ 1951 w 3141"/>
                <a:gd name="T81" fmla="*/ 2110 h 3178"/>
                <a:gd name="T82" fmla="*/ 2113 w 3141"/>
                <a:gd name="T83" fmla="*/ 1959 h 3178"/>
                <a:gd name="T84" fmla="*/ 1997 w 3141"/>
                <a:gd name="T85" fmla="*/ 2128 h 3178"/>
                <a:gd name="T86" fmla="*/ 2198 w 3141"/>
                <a:gd name="T87" fmla="*/ 2370 h 3178"/>
                <a:gd name="T88" fmla="*/ 2287 w 3141"/>
                <a:gd name="T89" fmla="*/ 2273 h 3178"/>
                <a:gd name="T90" fmla="*/ 2234 w 3141"/>
                <a:gd name="T91" fmla="*/ 2139 h 3178"/>
                <a:gd name="T92" fmla="*/ 2223 w 3141"/>
                <a:gd name="T93" fmla="*/ 2395 h 3178"/>
                <a:gd name="T94" fmla="*/ 2404 w 3141"/>
                <a:gd name="T95" fmla="*/ 2575 h 3178"/>
                <a:gd name="T96" fmla="*/ 2295 w 3141"/>
                <a:gd name="T97" fmla="*/ 2475 h 3178"/>
                <a:gd name="T98" fmla="*/ 2536 w 3141"/>
                <a:gd name="T99" fmla="*/ 2225 h 3178"/>
                <a:gd name="T100" fmla="*/ 2558 w 3141"/>
                <a:gd name="T101" fmla="*/ 2407 h 3178"/>
                <a:gd name="T102" fmla="*/ 2490 w 3141"/>
                <a:gd name="T103" fmla="*/ 2678 h 3178"/>
                <a:gd name="T104" fmla="*/ 2660 w 3141"/>
                <a:gd name="T105" fmla="*/ 2670 h 3178"/>
                <a:gd name="T106" fmla="*/ 2498 w 3141"/>
                <a:gd name="T107" fmla="*/ 2626 h 3178"/>
                <a:gd name="T108" fmla="*/ 2782 w 3141"/>
                <a:gd name="T109" fmla="*/ 2965 h 3178"/>
                <a:gd name="T110" fmla="*/ 2677 w 3141"/>
                <a:gd name="T111" fmla="*/ 2860 h 3178"/>
                <a:gd name="T112" fmla="*/ 2785 w 3141"/>
                <a:gd name="T113" fmla="*/ 2628 h 3178"/>
                <a:gd name="T114" fmla="*/ 2890 w 3141"/>
                <a:gd name="T115" fmla="*/ 2733 h 3178"/>
                <a:gd name="T116" fmla="*/ 2997 w 3141"/>
                <a:gd name="T117" fmla="*/ 2840 h 3178"/>
                <a:gd name="T118" fmla="*/ 2994 w 3141"/>
                <a:gd name="T119" fmla="*/ 3135 h 3178"/>
                <a:gd name="T120" fmla="*/ 3080 w 3141"/>
                <a:gd name="T121" fmla="*/ 3041 h 3178"/>
                <a:gd name="T122" fmla="*/ 3019 w 3141"/>
                <a:gd name="T123" fmla="*/ 2915 h 3178"/>
                <a:gd name="T124" fmla="*/ 3047 w 3141"/>
                <a:gd name="T125" fmla="*/ 3074 h 3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41" h="3178">
                  <a:moveTo>
                    <a:pt x="133" y="199"/>
                  </a:moveTo>
                  <a:cubicBezTo>
                    <a:pt x="124" y="208"/>
                    <a:pt x="115" y="215"/>
                    <a:pt x="106" y="221"/>
                  </a:cubicBezTo>
                  <a:cubicBezTo>
                    <a:pt x="96" y="227"/>
                    <a:pt x="87" y="231"/>
                    <a:pt x="78" y="232"/>
                  </a:cubicBezTo>
                  <a:cubicBezTo>
                    <a:pt x="69" y="233"/>
                    <a:pt x="59" y="232"/>
                    <a:pt x="50" y="228"/>
                  </a:cubicBezTo>
                  <a:cubicBezTo>
                    <a:pt x="40" y="225"/>
                    <a:pt x="31" y="218"/>
                    <a:pt x="21" y="208"/>
                  </a:cubicBezTo>
                  <a:cubicBezTo>
                    <a:pt x="18" y="205"/>
                    <a:pt x="15" y="202"/>
                    <a:pt x="12" y="198"/>
                  </a:cubicBezTo>
                  <a:cubicBezTo>
                    <a:pt x="9" y="194"/>
                    <a:pt x="7" y="190"/>
                    <a:pt x="5" y="187"/>
                  </a:cubicBezTo>
                  <a:cubicBezTo>
                    <a:pt x="4" y="183"/>
                    <a:pt x="2" y="180"/>
                    <a:pt x="1" y="177"/>
                  </a:cubicBezTo>
                  <a:cubicBezTo>
                    <a:pt x="0" y="174"/>
                    <a:pt x="0" y="172"/>
                    <a:pt x="0" y="170"/>
                  </a:cubicBezTo>
                  <a:cubicBezTo>
                    <a:pt x="0" y="169"/>
                    <a:pt x="0" y="168"/>
                    <a:pt x="0" y="167"/>
                  </a:cubicBezTo>
                  <a:cubicBezTo>
                    <a:pt x="1" y="166"/>
                    <a:pt x="1" y="164"/>
                    <a:pt x="2" y="163"/>
                  </a:cubicBezTo>
                  <a:cubicBezTo>
                    <a:pt x="2" y="162"/>
                    <a:pt x="3" y="160"/>
                    <a:pt x="5" y="159"/>
                  </a:cubicBezTo>
                  <a:cubicBezTo>
                    <a:pt x="6" y="157"/>
                    <a:pt x="8" y="155"/>
                    <a:pt x="10" y="153"/>
                  </a:cubicBezTo>
                  <a:cubicBezTo>
                    <a:pt x="13" y="151"/>
                    <a:pt x="15" y="149"/>
                    <a:pt x="17" y="147"/>
                  </a:cubicBezTo>
                  <a:cubicBezTo>
                    <a:pt x="19" y="145"/>
                    <a:pt x="20" y="144"/>
                    <a:pt x="22" y="144"/>
                  </a:cubicBezTo>
                  <a:cubicBezTo>
                    <a:pt x="23" y="143"/>
                    <a:pt x="25" y="143"/>
                    <a:pt x="26" y="143"/>
                  </a:cubicBezTo>
                  <a:cubicBezTo>
                    <a:pt x="27" y="144"/>
                    <a:pt x="28" y="144"/>
                    <a:pt x="29" y="145"/>
                  </a:cubicBezTo>
                  <a:cubicBezTo>
                    <a:pt x="30" y="146"/>
                    <a:pt x="30" y="148"/>
                    <a:pt x="31" y="150"/>
                  </a:cubicBezTo>
                  <a:cubicBezTo>
                    <a:pt x="31" y="153"/>
                    <a:pt x="32" y="155"/>
                    <a:pt x="33" y="158"/>
                  </a:cubicBezTo>
                  <a:cubicBezTo>
                    <a:pt x="34" y="162"/>
                    <a:pt x="36" y="165"/>
                    <a:pt x="38" y="168"/>
                  </a:cubicBezTo>
                  <a:cubicBezTo>
                    <a:pt x="39" y="172"/>
                    <a:pt x="42" y="176"/>
                    <a:pt x="46" y="179"/>
                  </a:cubicBezTo>
                  <a:cubicBezTo>
                    <a:pt x="50" y="183"/>
                    <a:pt x="54" y="186"/>
                    <a:pt x="57" y="188"/>
                  </a:cubicBezTo>
                  <a:cubicBezTo>
                    <a:pt x="61" y="190"/>
                    <a:pt x="66" y="190"/>
                    <a:pt x="70" y="190"/>
                  </a:cubicBezTo>
                  <a:cubicBezTo>
                    <a:pt x="75" y="189"/>
                    <a:pt x="80" y="186"/>
                    <a:pt x="86" y="183"/>
                  </a:cubicBezTo>
                  <a:cubicBezTo>
                    <a:pt x="91" y="179"/>
                    <a:pt x="98" y="173"/>
                    <a:pt x="106" y="165"/>
                  </a:cubicBezTo>
                  <a:lnTo>
                    <a:pt x="269" y="2"/>
                  </a:lnTo>
                  <a:cubicBezTo>
                    <a:pt x="270" y="1"/>
                    <a:pt x="271" y="0"/>
                    <a:pt x="272" y="0"/>
                  </a:cubicBezTo>
                  <a:cubicBezTo>
                    <a:pt x="274" y="0"/>
                    <a:pt x="275" y="0"/>
                    <a:pt x="277" y="1"/>
                  </a:cubicBezTo>
                  <a:cubicBezTo>
                    <a:pt x="278" y="1"/>
                    <a:pt x="280" y="3"/>
                    <a:pt x="282" y="4"/>
                  </a:cubicBezTo>
                  <a:cubicBezTo>
                    <a:pt x="285" y="6"/>
                    <a:pt x="287" y="8"/>
                    <a:pt x="290" y="11"/>
                  </a:cubicBezTo>
                  <a:cubicBezTo>
                    <a:pt x="293" y="14"/>
                    <a:pt x="295" y="17"/>
                    <a:pt x="297" y="19"/>
                  </a:cubicBezTo>
                  <a:cubicBezTo>
                    <a:pt x="299" y="21"/>
                    <a:pt x="300" y="23"/>
                    <a:pt x="301" y="25"/>
                  </a:cubicBezTo>
                  <a:cubicBezTo>
                    <a:pt x="301" y="26"/>
                    <a:pt x="301" y="28"/>
                    <a:pt x="301" y="29"/>
                  </a:cubicBezTo>
                  <a:cubicBezTo>
                    <a:pt x="301" y="30"/>
                    <a:pt x="301" y="31"/>
                    <a:pt x="300" y="32"/>
                  </a:cubicBezTo>
                  <a:lnTo>
                    <a:pt x="133" y="199"/>
                  </a:lnTo>
                  <a:close/>
                  <a:moveTo>
                    <a:pt x="254" y="427"/>
                  </a:moveTo>
                  <a:cubicBezTo>
                    <a:pt x="253" y="428"/>
                    <a:pt x="251" y="429"/>
                    <a:pt x="250" y="428"/>
                  </a:cubicBezTo>
                  <a:cubicBezTo>
                    <a:pt x="248" y="428"/>
                    <a:pt x="246" y="427"/>
                    <a:pt x="244" y="426"/>
                  </a:cubicBezTo>
                  <a:cubicBezTo>
                    <a:pt x="242" y="425"/>
                    <a:pt x="239" y="423"/>
                    <a:pt x="236" y="419"/>
                  </a:cubicBezTo>
                  <a:cubicBezTo>
                    <a:pt x="233" y="416"/>
                    <a:pt x="231" y="414"/>
                    <a:pt x="229" y="412"/>
                  </a:cubicBezTo>
                  <a:cubicBezTo>
                    <a:pt x="228" y="409"/>
                    <a:pt x="227" y="407"/>
                    <a:pt x="227" y="406"/>
                  </a:cubicBezTo>
                  <a:cubicBezTo>
                    <a:pt x="227" y="404"/>
                    <a:pt x="228" y="403"/>
                    <a:pt x="229" y="402"/>
                  </a:cubicBezTo>
                  <a:lnTo>
                    <a:pt x="245" y="386"/>
                  </a:lnTo>
                  <a:cubicBezTo>
                    <a:pt x="231" y="386"/>
                    <a:pt x="217" y="384"/>
                    <a:pt x="204" y="380"/>
                  </a:cubicBezTo>
                  <a:cubicBezTo>
                    <a:pt x="192" y="375"/>
                    <a:pt x="181" y="368"/>
                    <a:pt x="171" y="359"/>
                  </a:cubicBezTo>
                  <a:cubicBezTo>
                    <a:pt x="163" y="350"/>
                    <a:pt x="156" y="342"/>
                    <a:pt x="152" y="333"/>
                  </a:cubicBezTo>
                  <a:cubicBezTo>
                    <a:pt x="147" y="324"/>
                    <a:pt x="144" y="315"/>
                    <a:pt x="144" y="306"/>
                  </a:cubicBezTo>
                  <a:cubicBezTo>
                    <a:pt x="143" y="297"/>
                    <a:pt x="144" y="288"/>
                    <a:pt x="148" y="280"/>
                  </a:cubicBezTo>
                  <a:cubicBezTo>
                    <a:pt x="151" y="271"/>
                    <a:pt x="157" y="263"/>
                    <a:pt x="164" y="255"/>
                  </a:cubicBezTo>
                  <a:cubicBezTo>
                    <a:pt x="173" y="246"/>
                    <a:pt x="183" y="240"/>
                    <a:pt x="193" y="237"/>
                  </a:cubicBezTo>
                  <a:cubicBezTo>
                    <a:pt x="203" y="234"/>
                    <a:pt x="214" y="234"/>
                    <a:pt x="225" y="237"/>
                  </a:cubicBezTo>
                  <a:cubicBezTo>
                    <a:pt x="237" y="239"/>
                    <a:pt x="248" y="244"/>
                    <a:pt x="260" y="252"/>
                  </a:cubicBezTo>
                  <a:cubicBezTo>
                    <a:pt x="272" y="260"/>
                    <a:pt x="285" y="270"/>
                    <a:pt x="297" y="282"/>
                  </a:cubicBezTo>
                  <a:lnTo>
                    <a:pt x="319" y="304"/>
                  </a:lnTo>
                  <a:lnTo>
                    <a:pt x="331" y="292"/>
                  </a:lnTo>
                  <a:cubicBezTo>
                    <a:pt x="337" y="285"/>
                    <a:pt x="342" y="279"/>
                    <a:pt x="346" y="273"/>
                  </a:cubicBezTo>
                  <a:cubicBezTo>
                    <a:pt x="349" y="267"/>
                    <a:pt x="351" y="261"/>
                    <a:pt x="351" y="255"/>
                  </a:cubicBezTo>
                  <a:cubicBezTo>
                    <a:pt x="351" y="249"/>
                    <a:pt x="350" y="243"/>
                    <a:pt x="347" y="237"/>
                  </a:cubicBezTo>
                  <a:cubicBezTo>
                    <a:pt x="344" y="231"/>
                    <a:pt x="339" y="224"/>
                    <a:pt x="332" y="218"/>
                  </a:cubicBezTo>
                  <a:cubicBezTo>
                    <a:pt x="325" y="210"/>
                    <a:pt x="318" y="205"/>
                    <a:pt x="310" y="201"/>
                  </a:cubicBezTo>
                  <a:cubicBezTo>
                    <a:pt x="303" y="197"/>
                    <a:pt x="296" y="194"/>
                    <a:pt x="290" y="192"/>
                  </a:cubicBezTo>
                  <a:cubicBezTo>
                    <a:pt x="283" y="189"/>
                    <a:pt x="278" y="188"/>
                    <a:pt x="273" y="186"/>
                  </a:cubicBezTo>
                  <a:cubicBezTo>
                    <a:pt x="269" y="185"/>
                    <a:pt x="266" y="184"/>
                    <a:pt x="264" y="183"/>
                  </a:cubicBezTo>
                  <a:cubicBezTo>
                    <a:pt x="263" y="182"/>
                    <a:pt x="263" y="181"/>
                    <a:pt x="262" y="179"/>
                  </a:cubicBezTo>
                  <a:cubicBezTo>
                    <a:pt x="262" y="178"/>
                    <a:pt x="262" y="177"/>
                    <a:pt x="263" y="175"/>
                  </a:cubicBezTo>
                  <a:cubicBezTo>
                    <a:pt x="263" y="174"/>
                    <a:pt x="264" y="172"/>
                    <a:pt x="265" y="171"/>
                  </a:cubicBezTo>
                  <a:cubicBezTo>
                    <a:pt x="266" y="169"/>
                    <a:pt x="268" y="167"/>
                    <a:pt x="270" y="165"/>
                  </a:cubicBezTo>
                  <a:cubicBezTo>
                    <a:pt x="273" y="162"/>
                    <a:pt x="275" y="160"/>
                    <a:pt x="277" y="159"/>
                  </a:cubicBezTo>
                  <a:cubicBezTo>
                    <a:pt x="279" y="158"/>
                    <a:pt x="282" y="157"/>
                    <a:pt x="285" y="157"/>
                  </a:cubicBezTo>
                  <a:cubicBezTo>
                    <a:pt x="288" y="157"/>
                    <a:pt x="293" y="158"/>
                    <a:pt x="299" y="160"/>
                  </a:cubicBezTo>
                  <a:cubicBezTo>
                    <a:pt x="305" y="162"/>
                    <a:pt x="311" y="164"/>
                    <a:pt x="318" y="168"/>
                  </a:cubicBezTo>
                  <a:cubicBezTo>
                    <a:pt x="325" y="171"/>
                    <a:pt x="332" y="175"/>
                    <a:pt x="339" y="180"/>
                  </a:cubicBezTo>
                  <a:cubicBezTo>
                    <a:pt x="346" y="185"/>
                    <a:pt x="352" y="191"/>
                    <a:pt x="359" y="197"/>
                  </a:cubicBezTo>
                  <a:cubicBezTo>
                    <a:pt x="370" y="208"/>
                    <a:pt x="378" y="219"/>
                    <a:pt x="384" y="230"/>
                  </a:cubicBezTo>
                  <a:cubicBezTo>
                    <a:pt x="389" y="240"/>
                    <a:pt x="392" y="251"/>
                    <a:pt x="392" y="261"/>
                  </a:cubicBezTo>
                  <a:cubicBezTo>
                    <a:pt x="392" y="271"/>
                    <a:pt x="389" y="280"/>
                    <a:pt x="384" y="290"/>
                  </a:cubicBezTo>
                  <a:cubicBezTo>
                    <a:pt x="379" y="300"/>
                    <a:pt x="371" y="309"/>
                    <a:pt x="361" y="319"/>
                  </a:cubicBezTo>
                  <a:lnTo>
                    <a:pt x="254" y="427"/>
                  </a:lnTo>
                  <a:close/>
                  <a:moveTo>
                    <a:pt x="298" y="325"/>
                  </a:moveTo>
                  <a:lnTo>
                    <a:pt x="273" y="300"/>
                  </a:lnTo>
                  <a:cubicBezTo>
                    <a:pt x="265" y="292"/>
                    <a:pt x="257" y="286"/>
                    <a:pt x="250" y="281"/>
                  </a:cubicBezTo>
                  <a:cubicBezTo>
                    <a:pt x="243" y="277"/>
                    <a:pt x="236" y="274"/>
                    <a:pt x="229" y="273"/>
                  </a:cubicBezTo>
                  <a:cubicBezTo>
                    <a:pt x="223" y="271"/>
                    <a:pt x="217" y="272"/>
                    <a:pt x="211" y="274"/>
                  </a:cubicBezTo>
                  <a:cubicBezTo>
                    <a:pt x="206" y="275"/>
                    <a:pt x="200" y="279"/>
                    <a:pt x="196" y="284"/>
                  </a:cubicBezTo>
                  <a:cubicBezTo>
                    <a:pt x="187" y="292"/>
                    <a:pt x="183" y="301"/>
                    <a:pt x="184" y="311"/>
                  </a:cubicBezTo>
                  <a:cubicBezTo>
                    <a:pt x="184" y="321"/>
                    <a:pt x="189" y="331"/>
                    <a:pt x="198" y="341"/>
                  </a:cubicBezTo>
                  <a:cubicBezTo>
                    <a:pt x="206" y="348"/>
                    <a:pt x="215" y="353"/>
                    <a:pt x="226" y="356"/>
                  </a:cubicBezTo>
                  <a:cubicBezTo>
                    <a:pt x="236" y="359"/>
                    <a:pt x="249" y="360"/>
                    <a:pt x="264" y="359"/>
                  </a:cubicBezTo>
                  <a:lnTo>
                    <a:pt x="298" y="325"/>
                  </a:lnTo>
                  <a:close/>
                  <a:moveTo>
                    <a:pt x="698" y="551"/>
                  </a:moveTo>
                  <a:cubicBezTo>
                    <a:pt x="697" y="552"/>
                    <a:pt x="696" y="552"/>
                    <a:pt x="694" y="553"/>
                  </a:cubicBezTo>
                  <a:cubicBezTo>
                    <a:pt x="693" y="554"/>
                    <a:pt x="691" y="555"/>
                    <a:pt x="688" y="557"/>
                  </a:cubicBezTo>
                  <a:lnTo>
                    <a:pt x="491" y="661"/>
                  </a:lnTo>
                  <a:cubicBezTo>
                    <a:pt x="489" y="662"/>
                    <a:pt x="487" y="662"/>
                    <a:pt x="486" y="662"/>
                  </a:cubicBezTo>
                  <a:cubicBezTo>
                    <a:pt x="484" y="662"/>
                    <a:pt x="482" y="662"/>
                    <a:pt x="481" y="661"/>
                  </a:cubicBezTo>
                  <a:cubicBezTo>
                    <a:pt x="479" y="660"/>
                    <a:pt x="477" y="659"/>
                    <a:pt x="474" y="657"/>
                  </a:cubicBezTo>
                  <a:cubicBezTo>
                    <a:pt x="471" y="654"/>
                    <a:pt x="468" y="651"/>
                    <a:pt x="465" y="648"/>
                  </a:cubicBezTo>
                  <a:cubicBezTo>
                    <a:pt x="461" y="644"/>
                    <a:pt x="458" y="641"/>
                    <a:pt x="456" y="638"/>
                  </a:cubicBezTo>
                  <a:cubicBezTo>
                    <a:pt x="454" y="636"/>
                    <a:pt x="452" y="633"/>
                    <a:pt x="451" y="631"/>
                  </a:cubicBezTo>
                  <a:cubicBezTo>
                    <a:pt x="450" y="629"/>
                    <a:pt x="450" y="628"/>
                    <a:pt x="450" y="626"/>
                  </a:cubicBezTo>
                  <a:cubicBezTo>
                    <a:pt x="450" y="625"/>
                    <a:pt x="450" y="623"/>
                    <a:pt x="451" y="622"/>
                  </a:cubicBezTo>
                  <a:lnTo>
                    <a:pt x="533" y="473"/>
                  </a:lnTo>
                  <a:lnTo>
                    <a:pt x="535" y="471"/>
                  </a:lnTo>
                  <a:lnTo>
                    <a:pt x="533" y="472"/>
                  </a:lnTo>
                  <a:lnTo>
                    <a:pt x="386" y="557"/>
                  </a:lnTo>
                  <a:cubicBezTo>
                    <a:pt x="385" y="558"/>
                    <a:pt x="383" y="558"/>
                    <a:pt x="381" y="558"/>
                  </a:cubicBezTo>
                  <a:cubicBezTo>
                    <a:pt x="380" y="558"/>
                    <a:pt x="378" y="558"/>
                    <a:pt x="376" y="557"/>
                  </a:cubicBezTo>
                  <a:cubicBezTo>
                    <a:pt x="374" y="556"/>
                    <a:pt x="372" y="554"/>
                    <a:pt x="369" y="552"/>
                  </a:cubicBezTo>
                  <a:cubicBezTo>
                    <a:pt x="366" y="549"/>
                    <a:pt x="363" y="546"/>
                    <a:pt x="360" y="543"/>
                  </a:cubicBezTo>
                  <a:cubicBezTo>
                    <a:pt x="356" y="539"/>
                    <a:pt x="353" y="536"/>
                    <a:pt x="351" y="534"/>
                  </a:cubicBezTo>
                  <a:cubicBezTo>
                    <a:pt x="349" y="531"/>
                    <a:pt x="348" y="529"/>
                    <a:pt x="347" y="527"/>
                  </a:cubicBezTo>
                  <a:cubicBezTo>
                    <a:pt x="346" y="525"/>
                    <a:pt x="345" y="523"/>
                    <a:pt x="345" y="522"/>
                  </a:cubicBezTo>
                  <a:cubicBezTo>
                    <a:pt x="345" y="520"/>
                    <a:pt x="346" y="519"/>
                    <a:pt x="347" y="517"/>
                  </a:cubicBezTo>
                  <a:lnTo>
                    <a:pt x="451" y="320"/>
                  </a:lnTo>
                  <a:cubicBezTo>
                    <a:pt x="453" y="317"/>
                    <a:pt x="454" y="315"/>
                    <a:pt x="455" y="314"/>
                  </a:cubicBezTo>
                  <a:cubicBezTo>
                    <a:pt x="456" y="312"/>
                    <a:pt x="456" y="311"/>
                    <a:pt x="457" y="310"/>
                  </a:cubicBezTo>
                  <a:cubicBezTo>
                    <a:pt x="458" y="309"/>
                    <a:pt x="459" y="309"/>
                    <a:pt x="461" y="309"/>
                  </a:cubicBezTo>
                  <a:cubicBezTo>
                    <a:pt x="462" y="308"/>
                    <a:pt x="463" y="309"/>
                    <a:pt x="465" y="309"/>
                  </a:cubicBezTo>
                  <a:cubicBezTo>
                    <a:pt x="466" y="310"/>
                    <a:pt x="468" y="311"/>
                    <a:pt x="470" y="313"/>
                  </a:cubicBezTo>
                  <a:cubicBezTo>
                    <a:pt x="472" y="315"/>
                    <a:pt x="474" y="317"/>
                    <a:pt x="477" y="320"/>
                  </a:cubicBezTo>
                  <a:cubicBezTo>
                    <a:pt x="480" y="323"/>
                    <a:pt x="483" y="326"/>
                    <a:pt x="485" y="328"/>
                  </a:cubicBezTo>
                  <a:cubicBezTo>
                    <a:pt x="486" y="330"/>
                    <a:pt x="488" y="332"/>
                    <a:pt x="488" y="334"/>
                  </a:cubicBezTo>
                  <a:cubicBezTo>
                    <a:pt x="489" y="335"/>
                    <a:pt x="489" y="336"/>
                    <a:pt x="489" y="338"/>
                  </a:cubicBezTo>
                  <a:cubicBezTo>
                    <a:pt x="489" y="339"/>
                    <a:pt x="488" y="340"/>
                    <a:pt x="487" y="342"/>
                  </a:cubicBezTo>
                  <a:lnTo>
                    <a:pt x="395" y="511"/>
                  </a:lnTo>
                  <a:lnTo>
                    <a:pt x="393" y="513"/>
                  </a:lnTo>
                  <a:lnTo>
                    <a:pt x="395" y="512"/>
                  </a:lnTo>
                  <a:lnTo>
                    <a:pt x="562" y="416"/>
                  </a:lnTo>
                  <a:cubicBezTo>
                    <a:pt x="563" y="415"/>
                    <a:pt x="564" y="415"/>
                    <a:pt x="565" y="414"/>
                  </a:cubicBezTo>
                  <a:cubicBezTo>
                    <a:pt x="567" y="414"/>
                    <a:pt x="568" y="414"/>
                    <a:pt x="570" y="415"/>
                  </a:cubicBezTo>
                  <a:cubicBezTo>
                    <a:pt x="571" y="416"/>
                    <a:pt x="573" y="417"/>
                    <a:pt x="575" y="418"/>
                  </a:cubicBezTo>
                  <a:cubicBezTo>
                    <a:pt x="577" y="420"/>
                    <a:pt x="579" y="422"/>
                    <a:pt x="582" y="425"/>
                  </a:cubicBezTo>
                  <a:cubicBezTo>
                    <a:pt x="585" y="428"/>
                    <a:pt x="587" y="430"/>
                    <a:pt x="589" y="432"/>
                  </a:cubicBezTo>
                  <a:cubicBezTo>
                    <a:pt x="591" y="434"/>
                    <a:pt x="592" y="436"/>
                    <a:pt x="592" y="438"/>
                  </a:cubicBezTo>
                  <a:cubicBezTo>
                    <a:pt x="593" y="439"/>
                    <a:pt x="593" y="440"/>
                    <a:pt x="593" y="442"/>
                  </a:cubicBezTo>
                  <a:cubicBezTo>
                    <a:pt x="593" y="443"/>
                    <a:pt x="592" y="444"/>
                    <a:pt x="592" y="445"/>
                  </a:cubicBezTo>
                  <a:lnTo>
                    <a:pt x="498" y="615"/>
                  </a:lnTo>
                  <a:lnTo>
                    <a:pt x="497" y="617"/>
                  </a:lnTo>
                  <a:lnTo>
                    <a:pt x="499" y="615"/>
                  </a:lnTo>
                  <a:lnTo>
                    <a:pt x="668" y="522"/>
                  </a:lnTo>
                  <a:cubicBezTo>
                    <a:pt x="669" y="521"/>
                    <a:pt x="670" y="521"/>
                    <a:pt x="672" y="520"/>
                  </a:cubicBezTo>
                  <a:cubicBezTo>
                    <a:pt x="673" y="520"/>
                    <a:pt x="674" y="520"/>
                    <a:pt x="676" y="521"/>
                  </a:cubicBezTo>
                  <a:cubicBezTo>
                    <a:pt x="677" y="522"/>
                    <a:pt x="679" y="523"/>
                    <a:pt x="681" y="525"/>
                  </a:cubicBezTo>
                  <a:cubicBezTo>
                    <a:pt x="683" y="527"/>
                    <a:pt x="686" y="529"/>
                    <a:pt x="689" y="532"/>
                  </a:cubicBezTo>
                  <a:cubicBezTo>
                    <a:pt x="692" y="535"/>
                    <a:pt x="694" y="537"/>
                    <a:pt x="696" y="539"/>
                  </a:cubicBezTo>
                  <a:cubicBezTo>
                    <a:pt x="697" y="541"/>
                    <a:pt x="698" y="542"/>
                    <a:pt x="699" y="544"/>
                  </a:cubicBezTo>
                  <a:cubicBezTo>
                    <a:pt x="699" y="545"/>
                    <a:pt x="700" y="547"/>
                    <a:pt x="699" y="548"/>
                  </a:cubicBezTo>
                  <a:cubicBezTo>
                    <a:pt x="699" y="549"/>
                    <a:pt x="699" y="550"/>
                    <a:pt x="698" y="551"/>
                  </a:cubicBezTo>
                  <a:close/>
                  <a:moveTo>
                    <a:pt x="794" y="803"/>
                  </a:moveTo>
                  <a:cubicBezTo>
                    <a:pt x="781" y="816"/>
                    <a:pt x="767" y="826"/>
                    <a:pt x="753" y="834"/>
                  </a:cubicBezTo>
                  <a:cubicBezTo>
                    <a:pt x="738" y="841"/>
                    <a:pt x="724" y="846"/>
                    <a:pt x="709" y="847"/>
                  </a:cubicBezTo>
                  <a:cubicBezTo>
                    <a:pt x="695" y="848"/>
                    <a:pt x="680" y="846"/>
                    <a:pt x="665" y="840"/>
                  </a:cubicBezTo>
                  <a:cubicBezTo>
                    <a:pt x="651" y="834"/>
                    <a:pt x="637" y="824"/>
                    <a:pt x="623" y="811"/>
                  </a:cubicBezTo>
                  <a:cubicBezTo>
                    <a:pt x="610" y="798"/>
                    <a:pt x="601" y="785"/>
                    <a:pt x="595" y="771"/>
                  </a:cubicBezTo>
                  <a:cubicBezTo>
                    <a:pt x="589" y="757"/>
                    <a:pt x="587" y="744"/>
                    <a:pt x="588" y="730"/>
                  </a:cubicBezTo>
                  <a:cubicBezTo>
                    <a:pt x="588" y="716"/>
                    <a:pt x="593" y="702"/>
                    <a:pt x="600" y="688"/>
                  </a:cubicBezTo>
                  <a:cubicBezTo>
                    <a:pt x="608" y="674"/>
                    <a:pt x="618" y="661"/>
                    <a:pt x="631" y="647"/>
                  </a:cubicBezTo>
                  <a:cubicBezTo>
                    <a:pt x="644" y="634"/>
                    <a:pt x="658" y="624"/>
                    <a:pt x="672" y="616"/>
                  </a:cubicBezTo>
                  <a:cubicBezTo>
                    <a:pt x="686" y="609"/>
                    <a:pt x="701" y="605"/>
                    <a:pt x="716" y="604"/>
                  </a:cubicBezTo>
                  <a:cubicBezTo>
                    <a:pt x="730" y="602"/>
                    <a:pt x="745" y="605"/>
                    <a:pt x="759" y="610"/>
                  </a:cubicBezTo>
                  <a:cubicBezTo>
                    <a:pt x="774" y="616"/>
                    <a:pt x="788" y="626"/>
                    <a:pt x="801" y="639"/>
                  </a:cubicBezTo>
                  <a:cubicBezTo>
                    <a:pt x="815" y="653"/>
                    <a:pt x="824" y="666"/>
                    <a:pt x="830" y="680"/>
                  </a:cubicBezTo>
                  <a:cubicBezTo>
                    <a:pt x="836" y="693"/>
                    <a:pt x="838" y="707"/>
                    <a:pt x="837" y="721"/>
                  </a:cubicBezTo>
                  <a:cubicBezTo>
                    <a:pt x="836" y="735"/>
                    <a:pt x="832" y="749"/>
                    <a:pt x="825" y="762"/>
                  </a:cubicBezTo>
                  <a:cubicBezTo>
                    <a:pt x="817" y="776"/>
                    <a:pt x="807" y="790"/>
                    <a:pt x="794" y="803"/>
                  </a:cubicBezTo>
                  <a:close/>
                  <a:moveTo>
                    <a:pt x="762" y="775"/>
                  </a:moveTo>
                  <a:cubicBezTo>
                    <a:pt x="770" y="766"/>
                    <a:pt x="777" y="757"/>
                    <a:pt x="783" y="748"/>
                  </a:cubicBezTo>
                  <a:cubicBezTo>
                    <a:pt x="790" y="739"/>
                    <a:pt x="794" y="729"/>
                    <a:pt x="796" y="720"/>
                  </a:cubicBezTo>
                  <a:cubicBezTo>
                    <a:pt x="798" y="711"/>
                    <a:pt x="797" y="701"/>
                    <a:pt x="794" y="691"/>
                  </a:cubicBezTo>
                  <a:cubicBezTo>
                    <a:pt x="791" y="682"/>
                    <a:pt x="785" y="672"/>
                    <a:pt x="776" y="663"/>
                  </a:cubicBezTo>
                  <a:cubicBezTo>
                    <a:pt x="767" y="654"/>
                    <a:pt x="758" y="648"/>
                    <a:pt x="749" y="645"/>
                  </a:cubicBezTo>
                  <a:cubicBezTo>
                    <a:pt x="740" y="642"/>
                    <a:pt x="730" y="641"/>
                    <a:pt x="721" y="643"/>
                  </a:cubicBezTo>
                  <a:cubicBezTo>
                    <a:pt x="711" y="644"/>
                    <a:pt x="701" y="648"/>
                    <a:pt x="692" y="653"/>
                  </a:cubicBezTo>
                  <a:cubicBezTo>
                    <a:pt x="682" y="659"/>
                    <a:pt x="673" y="666"/>
                    <a:pt x="664" y="676"/>
                  </a:cubicBezTo>
                  <a:cubicBezTo>
                    <a:pt x="655" y="684"/>
                    <a:pt x="647" y="693"/>
                    <a:pt x="641" y="703"/>
                  </a:cubicBezTo>
                  <a:cubicBezTo>
                    <a:pt x="635" y="712"/>
                    <a:pt x="631" y="721"/>
                    <a:pt x="629" y="731"/>
                  </a:cubicBezTo>
                  <a:cubicBezTo>
                    <a:pt x="627" y="740"/>
                    <a:pt x="628" y="750"/>
                    <a:pt x="631" y="759"/>
                  </a:cubicBezTo>
                  <a:cubicBezTo>
                    <a:pt x="634" y="769"/>
                    <a:pt x="640" y="778"/>
                    <a:pt x="649" y="788"/>
                  </a:cubicBezTo>
                  <a:cubicBezTo>
                    <a:pt x="658" y="796"/>
                    <a:pt x="667" y="802"/>
                    <a:pt x="676" y="806"/>
                  </a:cubicBezTo>
                  <a:cubicBezTo>
                    <a:pt x="686" y="809"/>
                    <a:pt x="695" y="810"/>
                    <a:pt x="705" y="808"/>
                  </a:cubicBezTo>
                  <a:cubicBezTo>
                    <a:pt x="714" y="807"/>
                    <a:pt x="724" y="803"/>
                    <a:pt x="733" y="797"/>
                  </a:cubicBezTo>
                  <a:cubicBezTo>
                    <a:pt x="743" y="792"/>
                    <a:pt x="752" y="784"/>
                    <a:pt x="762" y="775"/>
                  </a:cubicBezTo>
                  <a:close/>
                  <a:moveTo>
                    <a:pt x="998" y="873"/>
                  </a:moveTo>
                  <a:cubicBezTo>
                    <a:pt x="996" y="876"/>
                    <a:pt x="994" y="878"/>
                    <a:pt x="992" y="880"/>
                  </a:cubicBezTo>
                  <a:cubicBezTo>
                    <a:pt x="990" y="881"/>
                    <a:pt x="988" y="882"/>
                    <a:pt x="987" y="883"/>
                  </a:cubicBezTo>
                  <a:cubicBezTo>
                    <a:pt x="985" y="884"/>
                    <a:pt x="984" y="884"/>
                    <a:pt x="983" y="884"/>
                  </a:cubicBezTo>
                  <a:cubicBezTo>
                    <a:pt x="982" y="884"/>
                    <a:pt x="981" y="883"/>
                    <a:pt x="980" y="883"/>
                  </a:cubicBezTo>
                  <a:cubicBezTo>
                    <a:pt x="979" y="882"/>
                    <a:pt x="978" y="880"/>
                    <a:pt x="978" y="878"/>
                  </a:cubicBezTo>
                  <a:cubicBezTo>
                    <a:pt x="977" y="876"/>
                    <a:pt x="976" y="874"/>
                    <a:pt x="975" y="872"/>
                  </a:cubicBezTo>
                  <a:cubicBezTo>
                    <a:pt x="973" y="870"/>
                    <a:pt x="972" y="867"/>
                    <a:pt x="970" y="865"/>
                  </a:cubicBezTo>
                  <a:cubicBezTo>
                    <a:pt x="969" y="862"/>
                    <a:pt x="967" y="860"/>
                    <a:pt x="964" y="857"/>
                  </a:cubicBezTo>
                  <a:cubicBezTo>
                    <a:pt x="961" y="854"/>
                    <a:pt x="958" y="852"/>
                    <a:pt x="954" y="850"/>
                  </a:cubicBezTo>
                  <a:cubicBezTo>
                    <a:pt x="950" y="849"/>
                    <a:pt x="945" y="848"/>
                    <a:pt x="939" y="847"/>
                  </a:cubicBezTo>
                  <a:cubicBezTo>
                    <a:pt x="933" y="847"/>
                    <a:pt x="926" y="847"/>
                    <a:pt x="918" y="848"/>
                  </a:cubicBezTo>
                  <a:cubicBezTo>
                    <a:pt x="910" y="849"/>
                    <a:pt x="901" y="851"/>
                    <a:pt x="891" y="853"/>
                  </a:cubicBezTo>
                  <a:lnTo>
                    <a:pt x="786" y="958"/>
                  </a:lnTo>
                  <a:cubicBezTo>
                    <a:pt x="785" y="959"/>
                    <a:pt x="784" y="960"/>
                    <a:pt x="783" y="960"/>
                  </a:cubicBezTo>
                  <a:cubicBezTo>
                    <a:pt x="782" y="960"/>
                    <a:pt x="780" y="960"/>
                    <a:pt x="779" y="959"/>
                  </a:cubicBezTo>
                  <a:cubicBezTo>
                    <a:pt x="777" y="959"/>
                    <a:pt x="775" y="957"/>
                    <a:pt x="773" y="956"/>
                  </a:cubicBezTo>
                  <a:cubicBezTo>
                    <a:pt x="771" y="954"/>
                    <a:pt x="769" y="952"/>
                    <a:pt x="766" y="949"/>
                  </a:cubicBezTo>
                  <a:cubicBezTo>
                    <a:pt x="763" y="946"/>
                    <a:pt x="761" y="944"/>
                    <a:pt x="759" y="941"/>
                  </a:cubicBezTo>
                  <a:cubicBezTo>
                    <a:pt x="757" y="939"/>
                    <a:pt x="756" y="937"/>
                    <a:pt x="756" y="936"/>
                  </a:cubicBezTo>
                  <a:cubicBezTo>
                    <a:pt x="755" y="934"/>
                    <a:pt x="755" y="933"/>
                    <a:pt x="755" y="932"/>
                  </a:cubicBezTo>
                  <a:cubicBezTo>
                    <a:pt x="755" y="931"/>
                    <a:pt x="756" y="930"/>
                    <a:pt x="757" y="929"/>
                  </a:cubicBezTo>
                  <a:lnTo>
                    <a:pt x="916" y="770"/>
                  </a:lnTo>
                  <a:cubicBezTo>
                    <a:pt x="917" y="769"/>
                    <a:pt x="918" y="768"/>
                    <a:pt x="919" y="768"/>
                  </a:cubicBezTo>
                  <a:cubicBezTo>
                    <a:pt x="920" y="768"/>
                    <a:pt x="921" y="768"/>
                    <a:pt x="923" y="768"/>
                  </a:cubicBezTo>
                  <a:cubicBezTo>
                    <a:pt x="924" y="769"/>
                    <a:pt x="926" y="770"/>
                    <a:pt x="928" y="771"/>
                  </a:cubicBezTo>
                  <a:cubicBezTo>
                    <a:pt x="930" y="773"/>
                    <a:pt x="932" y="775"/>
                    <a:pt x="935" y="778"/>
                  </a:cubicBezTo>
                  <a:cubicBezTo>
                    <a:pt x="937" y="780"/>
                    <a:pt x="939" y="782"/>
                    <a:pt x="941" y="784"/>
                  </a:cubicBezTo>
                  <a:cubicBezTo>
                    <a:pt x="942" y="786"/>
                    <a:pt x="943" y="788"/>
                    <a:pt x="944" y="789"/>
                  </a:cubicBezTo>
                  <a:cubicBezTo>
                    <a:pt x="944" y="791"/>
                    <a:pt x="944" y="792"/>
                    <a:pt x="944" y="793"/>
                  </a:cubicBezTo>
                  <a:cubicBezTo>
                    <a:pt x="944" y="794"/>
                    <a:pt x="943" y="795"/>
                    <a:pt x="942" y="796"/>
                  </a:cubicBezTo>
                  <a:lnTo>
                    <a:pt x="919" y="819"/>
                  </a:lnTo>
                  <a:cubicBezTo>
                    <a:pt x="930" y="817"/>
                    <a:pt x="939" y="816"/>
                    <a:pt x="947" y="816"/>
                  </a:cubicBezTo>
                  <a:cubicBezTo>
                    <a:pt x="955" y="816"/>
                    <a:pt x="961" y="816"/>
                    <a:pt x="967" y="817"/>
                  </a:cubicBezTo>
                  <a:cubicBezTo>
                    <a:pt x="973" y="819"/>
                    <a:pt x="978" y="820"/>
                    <a:pt x="982" y="823"/>
                  </a:cubicBezTo>
                  <a:cubicBezTo>
                    <a:pt x="986" y="825"/>
                    <a:pt x="990" y="828"/>
                    <a:pt x="994" y="832"/>
                  </a:cubicBezTo>
                  <a:cubicBezTo>
                    <a:pt x="995" y="833"/>
                    <a:pt x="997" y="835"/>
                    <a:pt x="999" y="837"/>
                  </a:cubicBezTo>
                  <a:cubicBezTo>
                    <a:pt x="1000" y="839"/>
                    <a:pt x="1002" y="842"/>
                    <a:pt x="1004" y="844"/>
                  </a:cubicBezTo>
                  <a:cubicBezTo>
                    <a:pt x="1005" y="847"/>
                    <a:pt x="1007" y="849"/>
                    <a:pt x="1008" y="852"/>
                  </a:cubicBezTo>
                  <a:cubicBezTo>
                    <a:pt x="1009" y="854"/>
                    <a:pt x="1010" y="856"/>
                    <a:pt x="1010" y="857"/>
                  </a:cubicBezTo>
                  <a:cubicBezTo>
                    <a:pt x="1010" y="858"/>
                    <a:pt x="1010" y="859"/>
                    <a:pt x="1009" y="860"/>
                  </a:cubicBezTo>
                  <a:cubicBezTo>
                    <a:pt x="1009" y="861"/>
                    <a:pt x="1009" y="862"/>
                    <a:pt x="1008" y="863"/>
                  </a:cubicBezTo>
                  <a:cubicBezTo>
                    <a:pt x="1007" y="864"/>
                    <a:pt x="1006" y="865"/>
                    <a:pt x="1005" y="867"/>
                  </a:cubicBezTo>
                  <a:cubicBezTo>
                    <a:pt x="1003" y="868"/>
                    <a:pt x="1001" y="870"/>
                    <a:pt x="998" y="873"/>
                  </a:cubicBezTo>
                  <a:close/>
                  <a:moveTo>
                    <a:pt x="991" y="1147"/>
                  </a:moveTo>
                  <a:cubicBezTo>
                    <a:pt x="988" y="1149"/>
                    <a:pt x="986" y="1151"/>
                    <a:pt x="984" y="1152"/>
                  </a:cubicBezTo>
                  <a:cubicBezTo>
                    <a:pt x="982" y="1153"/>
                    <a:pt x="981" y="1154"/>
                    <a:pt x="979" y="1155"/>
                  </a:cubicBezTo>
                  <a:cubicBezTo>
                    <a:pt x="978" y="1155"/>
                    <a:pt x="976" y="1155"/>
                    <a:pt x="975" y="1155"/>
                  </a:cubicBezTo>
                  <a:cubicBezTo>
                    <a:pt x="974" y="1154"/>
                    <a:pt x="973" y="1154"/>
                    <a:pt x="972" y="1153"/>
                  </a:cubicBezTo>
                  <a:lnTo>
                    <a:pt x="874" y="1055"/>
                  </a:lnTo>
                  <a:cubicBezTo>
                    <a:pt x="871" y="1052"/>
                    <a:pt x="870" y="1050"/>
                    <a:pt x="870" y="1046"/>
                  </a:cubicBezTo>
                  <a:cubicBezTo>
                    <a:pt x="870" y="1043"/>
                    <a:pt x="872" y="1040"/>
                    <a:pt x="876" y="1036"/>
                  </a:cubicBezTo>
                  <a:lnTo>
                    <a:pt x="882" y="1030"/>
                  </a:lnTo>
                  <a:cubicBezTo>
                    <a:pt x="884" y="1028"/>
                    <a:pt x="885" y="1027"/>
                    <a:pt x="887" y="1026"/>
                  </a:cubicBezTo>
                  <a:cubicBezTo>
                    <a:pt x="889" y="1024"/>
                    <a:pt x="890" y="1024"/>
                    <a:pt x="892" y="1023"/>
                  </a:cubicBezTo>
                  <a:cubicBezTo>
                    <a:pt x="894" y="1022"/>
                    <a:pt x="896" y="1021"/>
                    <a:pt x="898" y="1021"/>
                  </a:cubicBezTo>
                  <a:cubicBezTo>
                    <a:pt x="900" y="1020"/>
                    <a:pt x="903" y="1019"/>
                    <a:pt x="906" y="1018"/>
                  </a:cubicBezTo>
                  <a:lnTo>
                    <a:pt x="1086" y="979"/>
                  </a:lnTo>
                  <a:lnTo>
                    <a:pt x="1017" y="911"/>
                  </a:lnTo>
                  <a:cubicBezTo>
                    <a:pt x="1016" y="909"/>
                    <a:pt x="1015" y="907"/>
                    <a:pt x="1016" y="904"/>
                  </a:cubicBezTo>
                  <a:cubicBezTo>
                    <a:pt x="1017" y="901"/>
                    <a:pt x="1019" y="897"/>
                    <a:pt x="1024" y="893"/>
                  </a:cubicBezTo>
                  <a:cubicBezTo>
                    <a:pt x="1026" y="891"/>
                    <a:pt x="1028" y="889"/>
                    <a:pt x="1030" y="888"/>
                  </a:cubicBezTo>
                  <a:cubicBezTo>
                    <a:pt x="1031" y="886"/>
                    <a:pt x="1033" y="885"/>
                    <a:pt x="1035" y="885"/>
                  </a:cubicBezTo>
                  <a:cubicBezTo>
                    <a:pt x="1036" y="884"/>
                    <a:pt x="1038" y="884"/>
                    <a:pt x="1039" y="885"/>
                  </a:cubicBezTo>
                  <a:cubicBezTo>
                    <a:pt x="1040" y="885"/>
                    <a:pt x="1041" y="886"/>
                    <a:pt x="1042" y="887"/>
                  </a:cubicBezTo>
                  <a:lnTo>
                    <a:pt x="1133" y="978"/>
                  </a:lnTo>
                  <a:cubicBezTo>
                    <a:pt x="1135" y="979"/>
                    <a:pt x="1136" y="981"/>
                    <a:pt x="1136" y="982"/>
                  </a:cubicBezTo>
                  <a:cubicBezTo>
                    <a:pt x="1137" y="983"/>
                    <a:pt x="1137" y="985"/>
                    <a:pt x="1137" y="986"/>
                  </a:cubicBezTo>
                  <a:cubicBezTo>
                    <a:pt x="1137" y="988"/>
                    <a:pt x="1136" y="989"/>
                    <a:pt x="1135" y="991"/>
                  </a:cubicBezTo>
                  <a:cubicBezTo>
                    <a:pt x="1135" y="993"/>
                    <a:pt x="1133" y="995"/>
                    <a:pt x="1131" y="997"/>
                  </a:cubicBezTo>
                  <a:lnTo>
                    <a:pt x="1125" y="1002"/>
                  </a:lnTo>
                  <a:cubicBezTo>
                    <a:pt x="1124" y="1004"/>
                    <a:pt x="1122" y="1005"/>
                    <a:pt x="1121" y="1007"/>
                  </a:cubicBezTo>
                  <a:cubicBezTo>
                    <a:pt x="1119" y="1008"/>
                    <a:pt x="1117" y="1009"/>
                    <a:pt x="1115" y="1010"/>
                  </a:cubicBezTo>
                  <a:cubicBezTo>
                    <a:pt x="1113" y="1011"/>
                    <a:pt x="1111" y="1011"/>
                    <a:pt x="1109" y="1012"/>
                  </a:cubicBezTo>
                  <a:cubicBezTo>
                    <a:pt x="1107" y="1013"/>
                    <a:pt x="1104" y="1014"/>
                    <a:pt x="1101" y="1014"/>
                  </a:cubicBezTo>
                  <a:lnTo>
                    <a:pt x="922" y="1054"/>
                  </a:lnTo>
                  <a:lnTo>
                    <a:pt x="996" y="1128"/>
                  </a:lnTo>
                  <a:cubicBezTo>
                    <a:pt x="997" y="1129"/>
                    <a:pt x="998" y="1130"/>
                    <a:pt x="998" y="1131"/>
                  </a:cubicBezTo>
                  <a:cubicBezTo>
                    <a:pt x="999" y="1133"/>
                    <a:pt x="999" y="1134"/>
                    <a:pt x="998" y="1135"/>
                  </a:cubicBezTo>
                  <a:cubicBezTo>
                    <a:pt x="998" y="1137"/>
                    <a:pt x="997" y="1139"/>
                    <a:pt x="996" y="1141"/>
                  </a:cubicBezTo>
                  <a:cubicBezTo>
                    <a:pt x="995" y="1142"/>
                    <a:pt x="993" y="1145"/>
                    <a:pt x="991" y="1147"/>
                  </a:cubicBezTo>
                  <a:close/>
                  <a:moveTo>
                    <a:pt x="1165" y="1337"/>
                  </a:moveTo>
                  <a:cubicBezTo>
                    <a:pt x="1164" y="1338"/>
                    <a:pt x="1163" y="1339"/>
                    <a:pt x="1162" y="1339"/>
                  </a:cubicBezTo>
                  <a:cubicBezTo>
                    <a:pt x="1161" y="1339"/>
                    <a:pt x="1160" y="1339"/>
                    <a:pt x="1158" y="1338"/>
                  </a:cubicBezTo>
                  <a:cubicBezTo>
                    <a:pt x="1157" y="1338"/>
                    <a:pt x="1155" y="1337"/>
                    <a:pt x="1153" y="1335"/>
                  </a:cubicBezTo>
                  <a:cubicBezTo>
                    <a:pt x="1151" y="1333"/>
                    <a:pt x="1148" y="1331"/>
                    <a:pt x="1145" y="1328"/>
                  </a:cubicBezTo>
                  <a:cubicBezTo>
                    <a:pt x="1142" y="1325"/>
                    <a:pt x="1140" y="1323"/>
                    <a:pt x="1138" y="1321"/>
                  </a:cubicBezTo>
                  <a:cubicBezTo>
                    <a:pt x="1137" y="1319"/>
                    <a:pt x="1136" y="1317"/>
                    <a:pt x="1135" y="1315"/>
                  </a:cubicBezTo>
                  <a:cubicBezTo>
                    <a:pt x="1134" y="1314"/>
                    <a:pt x="1134" y="1312"/>
                    <a:pt x="1134" y="1311"/>
                  </a:cubicBezTo>
                  <a:cubicBezTo>
                    <a:pt x="1135" y="1310"/>
                    <a:pt x="1135" y="1309"/>
                    <a:pt x="1136" y="1308"/>
                  </a:cubicBezTo>
                  <a:lnTo>
                    <a:pt x="1229" y="1215"/>
                  </a:lnTo>
                  <a:cubicBezTo>
                    <a:pt x="1238" y="1206"/>
                    <a:pt x="1245" y="1198"/>
                    <a:pt x="1249" y="1191"/>
                  </a:cubicBezTo>
                  <a:cubicBezTo>
                    <a:pt x="1253" y="1184"/>
                    <a:pt x="1256" y="1177"/>
                    <a:pt x="1257" y="1171"/>
                  </a:cubicBezTo>
                  <a:cubicBezTo>
                    <a:pt x="1258" y="1164"/>
                    <a:pt x="1258" y="1157"/>
                    <a:pt x="1256" y="1151"/>
                  </a:cubicBezTo>
                  <a:cubicBezTo>
                    <a:pt x="1254" y="1144"/>
                    <a:pt x="1250" y="1138"/>
                    <a:pt x="1244" y="1133"/>
                  </a:cubicBezTo>
                  <a:cubicBezTo>
                    <a:pt x="1237" y="1125"/>
                    <a:pt x="1227" y="1121"/>
                    <a:pt x="1214" y="1119"/>
                  </a:cubicBezTo>
                  <a:cubicBezTo>
                    <a:pt x="1202" y="1116"/>
                    <a:pt x="1187" y="1116"/>
                    <a:pt x="1169" y="1118"/>
                  </a:cubicBezTo>
                  <a:lnTo>
                    <a:pt x="1057" y="1230"/>
                  </a:lnTo>
                  <a:cubicBezTo>
                    <a:pt x="1056" y="1231"/>
                    <a:pt x="1055" y="1231"/>
                    <a:pt x="1054" y="1231"/>
                  </a:cubicBezTo>
                  <a:cubicBezTo>
                    <a:pt x="1053" y="1231"/>
                    <a:pt x="1052" y="1231"/>
                    <a:pt x="1050" y="1231"/>
                  </a:cubicBezTo>
                  <a:cubicBezTo>
                    <a:pt x="1049" y="1230"/>
                    <a:pt x="1047" y="1229"/>
                    <a:pt x="1045" y="1227"/>
                  </a:cubicBezTo>
                  <a:cubicBezTo>
                    <a:pt x="1043" y="1226"/>
                    <a:pt x="1040" y="1223"/>
                    <a:pt x="1037" y="1220"/>
                  </a:cubicBezTo>
                  <a:cubicBezTo>
                    <a:pt x="1034" y="1218"/>
                    <a:pt x="1032" y="1215"/>
                    <a:pt x="1031" y="1213"/>
                  </a:cubicBezTo>
                  <a:cubicBezTo>
                    <a:pt x="1029" y="1211"/>
                    <a:pt x="1028" y="1209"/>
                    <a:pt x="1027" y="1207"/>
                  </a:cubicBezTo>
                  <a:cubicBezTo>
                    <a:pt x="1026" y="1206"/>
                    <a:pt x="1026" y="1204"/>
                    <a:pt x="1026" y="1203"/>
                  </a:cubicBezTo>
                  <a:cubicBezTo>
                    <a:pt x="1027" y="1202"/>
                    <a:pt x="1027" y="1201"/>
                    <a:pt x="1028" y="1200"/>
                  </a:cubicBezTo>
                  <a:lnTo>
                    <a:pt x="1187" y="1041"/>
                  </a:lnTo>
                  <a:cubicBezTo>
                    <a:pt x="1188" y="1040"/>
                    <a:pt x="1189" y="1040"/>
                    <a:pt x="1190" y="1039"/>
                  </a:cubicBezTo>
                  <a:cubicBezTo>
                    <a:pt x="1191" y="1039"/>
                    <a:pt x="1193" y="1039"/>
                    <a:pt x="1194" y="1040"/>
                  </a:cubicBezTo>
                  <a:cubicBezTo>
                    <a:pt x="1196" y="1040"/>
                    <a:pt x="1197" y="1041"/>
                    <a:pt x="1199" y="1043"/>
                  </a:cubicBezTo>
                  <a:cubicBezTo>
                    <a:pt x="1201" y="1044"/>
                    <a:pt x="1203" y="1046"/>
                    <a:pt x="1206" y="1049"/>
                  </a:cubicBezTo>
                  <a:cubicBezTo>
                    <a:pt x="1209" y="1052"/>
                    <a:pt x="1211" y="1054"/>
                    <a:pt x="1212" y="1056"/>
                  </a:cubicBezTo>
                  <a:cubicBezTo>
                    <a:pt x="1214" y="1058"/>
                    <a:pt x="1215" y="1059"/>
                    <a:pt x="1215" y="1061"/>
                  </a:cubicBezTo>
                  <a:cubicBezTo>
                    <a:pt x="1216" y="1062"/>
                    <a:pt x="1216" y="1064"/>
                    <a:pt x="1215" y="1065"/>
                  </a:cubicBezTo>
                  <a:cubicBezTo>
                    <a:pt x="1215" y="1066"/>
                    <a:pt x="1215" y="1067"/>
                    <a:pt x="1214" y="1068"/>
                  </a:cubicBezTo>
                  <a:lnTo>
                    <a:pt x="1193" y="1089"/>
                  </a:lnTo>
                  <a:cubicBezTo>
                    <a:pt x="1212" y="1088"/>
                    <a:pt x="1228" y="1089"/>
                    <a:pt x="1241" y="1093"/>
                  </a:cubicBezTo>
                  <a:cubicBezTo>
                    <a:pt x="1255" y="1098"/>
                    <a:pt x="1266" y="1104"/>
                    <a:pt x="1275" y="1113"/>
                  </a:cubicBezTo>
                  <a:cubicBezTo>
                    <a:pt x="1286" y="1124"/>
                    <a:pt x="1293" y="1135"/>
                    <a:pt x="1297" y="1146"/>
                  </a:cubicBezTo>
                  <a:cubicBezTo>
                    <a:pt x="1300" y="1156"/>
                    <a:pt x="1301" y="1167"/>
                    <a:pt x="1300" y="1178"/>
                  </a:cubicBezTo>
                  <a:cubicBezTo>
                    <a:pt x="1298" y="1188"/>
                    <a:pt x="1295" y="1198"/>
                    <a:pt x="1288" y="1208"/>
                  </a:cubicBezTo>
                  <a:cubicBezTo>
                    <a:pt x="1282" y="1218"/>
                    <a:pt x="1274" y="1229"/>
                    <a:pt x="1262" y="1240"/>
                  </a:cubicBezTo>
                  <a:lnTo>
                    <a:pt x="1165" y="1337"/>
                  </a:lnTo>
                  <a:close/>
                  <a:moveTo>
                    <a:pt x="1450" y="1459"/>
                  </a:moveTo>
                  <a:cubicBezTo>
                    <a:pt x="1437" y="1472"/>
                    <a:pt x="1423" y="1483"/>
                    <a:pt x="1409" y="1490"/>
                  </a:cubicBezTo>
                  <a:cubicBezTo>
                    <a:pt x="1395" y="1498"/>
                    <a:pt x="1380" y="1502"/>
                    <a:pt x="1365" y="1503"/>
                  </a:cubicBezTo>
                  <a:cubicBezTo>
                    <a:pt x="1351" y="1504"/>
                    <a:pt x="1336" y="1502"/>
                    <a:pt x="1322" y="1496"/>
                  </a:cubicBezTo>
                  <a:cubicBezTo>
                    <a:pt x="1307" y="1490"/>
                    <a:pt x="1293" y="1481"/>
                    <a:pt x="1279" y="1467"/>
                  </a:cubicBezTo>
                  <a:cubicBezTo>
                    <a:pt x="1266" y="1454"/>
                    <a:pt x="1257" y="1441"/>
                    <a:pt x="1251" y="1427"/>
                  </a:cubicBezTo>
                  <a:cubicBezTo>
                    <a:pt x="1245" y="1413"/>
                    <a:pt x="1243" y="1400"/>
                    <a:pt x="1244" y="1386"/>
                  </a:cubicBezTo>
                  <a:cubicBezTo>
                    <a:pt x="1245" y="1372"/>
                    <a:pt x="1249" y="1358"/>
                    <a:pt x="1256" y="1344"/>
                  </a:cubicBezTo>
                  <a:cubicBezTo>
                    <a:pt x="1264" y="1330"/>
                    <a:pt x="1274" y="1317"/>
                    <a:pt x="1288" y="1303"/>
                  </a:cubicBezTo>
                  <a:cubicBezTo>
                    <a:pt x="1301" y="1290"/>
                    <a:pt x="1314" y="1280"/>
                    <a:pt x="1328" y="1273"/>
                  </a:cubicBezTo>
                  <a:cubicBezTo>
                    <a:pt x="1343" y="1265"/>
                    <a:pt x="1357" y="1261"/>
                    <a:pt x="1372" y="1260"/>
                  </a:cubicBezTo>
                  <a:cubicBezTo>
                    <a:pt x="1386" y="1259"/>
                    <a:pt x="1401" y="1261"/>
                    <a:pt x="1416" y="1267"/>
                  </a:cubicBezTo>
                  <a:cubicBezTo>
                    <a:pt x="1430" y="1272"/>
                    <a:pt x="1444" y="1282"/>
                    <a:pt x="1458" y="1296"/>
                  </a:cubicBezTo>
                  <a:cubicBezTo>
                    <a:pt x="1471" y="1309"/>
                    <a:pt x="1480" y="1322"/>
                    <a:pt x="1486" y="1336"/>
                  </a:cubicBezTo>
                  <a:cubicBezTo>
                    <a:pt x="1492" y="1349"/>
                    <a:pt x="1494" y="1363"/>
                    <a:pt x="1493" y="1377"/>
                  </a:cubicBezTo>
                  <a:cubicBezTo>
                    <a:pt x="1492" y="1391"/>
                    <a:pt x="1488" y="1405"/>
                    <a:pt x="1481" y="1419"/>
                  </a:cubicBezTo>
                  <a:cubicBezTo>
                    <a:pt x="1474" y="1432"/>
                    <a:pt x="1463" y="1446"/>
                    <a:pt x="1450" y="1459"/>
                  </a:cubicBezTo>
                  <a:close/>
                  <a:moveTo>
                    <a:pt x="1418" y="1431"/>
                  </a:moveTo>
                  <a:cubicBezTo>
                    <a:pt x="1426" y="1422"/>
                    <a:pt x="1434" y="1414"/>
                    <a:pt x="1440" y="1404"/>
                  </a:cubicBezTo>
                  <a:cubicBezTo>
                    <a:pt x="1446" y="1395"/>
                    <a:pt x="1450" y="1386"/>
                    <a:pt x="1452" y="1376"/>
                  </a:cubicBezTo>
                  <a:cubicBezTo>
                    <a:pt x="1454" y="1367"/>
                    <a:pt x="1454" y="1357"/>
                    <a:pt x="1451" y="1348"/>
                  </a:cubicBezTo>
                  <a:cubicBezTo>
                    <a:pt x="1448" y="1338"/>
                    <a:pt x="1442" y="1328"/>
                    <a:pt x="1432" y="1319"/>
                  </a:cubicBezTo>
                  <a:cubicBezTo>
                    <a:pt x="1423" y="1310"/>
                    <a:pt x="1414" y="1304"/>
                    <a:pt x="1405" y="1301"/>
                  </a:cubicBezTo>
                  <a:cubicBezTo>
                    <a:pt x="1396" y="1298"/>
                    <a:pt x="1386" y="1297"/>
                    <a:pt x="1377" y="1299"/>
                  </a:cubicBezTo>
                  <a:cubicBezTo>
                    <a:pt x="1367" y="1300"/>
                    <a:pt x="1357" y="1304"/>
                    <a:pt x="1348" y="1310"/>
                  </a:cubicBezTo>
                  <a:cubicBezTo>
                    <a:pt x="1338" y="1315"/>
                    <a:pt x="1329" y="1323"/>
                    <a:pt x="1320" y="1332"/>
                  </a:cubicBezTo>
                  <a:cubicBezTo>
                    <a:pt x="1311" y="1340"/>
                    <a:pt x="1304" y="1349"/>
                    <a:pt x="1298" y="1359"/>
                  </a:cubicBezTo>
                  <a:cubicBezTo>
                    <a:pt x="1292" y="1368"/>
                    <a:pt x="1288" y="1377"/>
                    <a:pt x="1286" y="1387"/>
                  </a:cubicBezTo>
                  <a:cubicBezTo>
                    <a:pt x="1284" y="1396"/>
                    <a:pt x="1284" y="1406"/>
                    <a:pt x="1287" y="1415"/>
                  </a:cubicBezTo>
                  <a:cubicBezTo>
                    <a:pt x="1290" y="1425"/>
                    <a:pt x="1296" y="1435"/>
                    <a:pt x="1306" y="1444"/>
                  </a:cubicBezTo>
                  <a:cubicBezTo>
                    <a:pt x="1314" y="1453"/>
                    <a:pt x="1323" y="1459"/>
                    <a:pt x="1332" y="1462"/>
                  </a:cubicBezTo>
                  <a:cubicBezTo>
                    <a:pt x="1342" y="1465"/>
                    <a:pt x="1351" y="1466"/>
                    <a:pt x="1361" y="1464"/>
                  </a:cubicBezTo>
                  <a:cubicBezTo>
                    <a:pt x="1370" y="1463"/>
                    <a:pt x="1380" y="1459"/>
                    <a:pt x="1390" y="1454"/>
                  </a:cubicBezTo>
                  <a:cubicBezTo>
                    <a:pt x="1399" y="1448"/>
                    <a:pt x="1409" y="1440"/>
                    <a:pt x="1418" y="1431"/>
                  </a:cubicBezTo>
                  <a:close/>
                  <a:moveTo>
                    <a:pt x="1678" y="1731"/>
                  </a:moveTo>
                  <a:cubicBezTo>
                    <a:pt x="1667" y="1741"/>
                    <a:pt x="1656" y="1749"/>
                    <a:pt x="1644" y="1753"/>
                  </a:cubicBezTo>
                  <a:cubicBezTo>
                    <a:pt x="1631" y="1758"/>
                    <a:pt x="1619" y="1759"/>
                    <a:pt x="1606" y="1758"/>
                  </a:cubicBezTo>
                  <a:cubicBezTo>
                    <a:pt x="1593" y="1757"/>
                    <a:pt x="1580" y="1753"/>
                    <a:pt x="1568" y="1747"/>
                  </a:cubicBezTo>
                  <a:cubicBezTo>
                    <a:pt x="1555" y="1740"/>
                    <a:pt x="1544" y="1731"/>
                    <a:pt x="1533" y="1720"/>
                  </a:cubicBezTo>
                  <a:cubicBezTo>
                    <a:pt x="1525" y="1713"/>
                    <a:pt x="1519" y="1705"/>
                    <a:pt x="1513" y="1697"/>
                  </a:cubicBezTo>
                  <a:cubicBezTo>
                    <a:pt x="1508" y="1689"/>
                    <a:pt x="1504" y="1682"/>
                    <a:pt x="1501" y="1675"/>
                  </a:cubicBezTo>
                  <a:cubicBezTo>
                    <a:pt x="1497" y="1668"/>
                    <a:pt x="1495" y="1662"/>
                    <a:pt x="1494" y="1656"/>
                  </a:cubicBezTo>
                  <a:cubicBezTo>
                    <a:pt x="1492" y="1651"/>
                    <a:pt x="1491" y="1647"/>
                    <a:pt x="1492" y="1644"/>
                  </a:cubicBezTo>
                  <a:cubicBezTo>
                    <a:pt x="1492" y="1641"/>
                    <a:pt x="1492" y="1638"/>
                    <a:pt x="1494" y="1635"/>
                  </a:cubicBezTo>
                  <a:cubicBezTo>
                    <a:pt x="1495" y="1633"/>
                    <a:pt x="1498" y="1629"/>
                    <a:pt x="1502" y="1626"/>
                  </a:cubicBezTo>
                  <a:cubicBezTo>
                    <a:pt x="1504" y="1623"/>
                    <a:pt x="1507" y="1621"/>
                    <a:pt x="1508" y="1620"/>
                  </a:cubicBezTo>
                  <a:cubicBezTo>
                    <a:pt x="1510" y="1618"/>
                    <a:pt x="1512" y="1617"/>
                    <a:pt x="1514" y="1617"/>
                  </a:cubicBezTo>
                  <a:cubicBezTo>
                    <a:pt x="1515" y="1616"/>
                    <a:pt x="1517" y="1616"/>
                    <a:pt x="1518" y="1616"/>
                  </a:cubicBezTo>
                  <a:cubicBezTo>
                    <a:pt x="1519" y="1616"/>
                    <a:pt x="1520" y="1617"/>
                    <a:pt x="1521" y="1618"/>
                  </a:cubicBezTo>
                  <a:cubicBezTo>
                    <a:pt x="1522" y="1620"/>
                    <a:pt x="1524" y="1623"/>
                    <a:pt x="1525" y="1628"/>
                  </a:cubicBezTo>
                  <a:cubicBezTo>
                    <a:pt x="1526" y="1633"/>
                    <a:pt x="1527" y="1639"/>
                    <a:pt x="1530" y="1646"/>
                  </a:cubicBezTo>
                  <a:cubicBezTo>
                    <a:pt x="1532" y="1653"/>
                    <a:pt x="1536" y="1661"/>
                    <a:pt x="1540" y="1670"/>
                  </a:cubicBezTo>
                  <a:cubicBezTo>
                    <a:pt x="1545" y="1678"/>
                    <a:pt x="1551" y="1687"/>
                    <a:pt x="1560" y="1696"/>
                  </a:cubicBezTo>
                  <a:cubicBezTo>
                    <a:pt x="1567" y="1702"/>
                    <a:pt x="1574" y="1708"/>
                    <a:pt x="1581" y="1711"/>
                  </a:cubicBezTo>
                  <a:cubicBezTo>
                    <a:pt x="1588" y="1715"/>
                    <a:pt x="1595" y="1717"/>
                    <a:pt x="1603" y="1718"/>
                  </a:cubicBezTo>
                  <a:cubicBezTo>
                    <a:pt x="1610" y="1719"/>
                    <a:pt x="1617" y="1718"/>
                    <a:pt x="1624" y="1715"/>
                  </a:cubicBezTo>
                  <a:cubicBezTo>
                    <a:pt x="1630" y="1713"/>
                    <a:pt x="1637" y="1708"/>
                    <a:pt x="1643" y="1702"/>
                  </a:cubicBezTo>
                  <a:cubicBezTo>
                    <a:pt x="1649" y="1696"/>
                    <a:pt x="1653" y="1689"/>
                    <a:pt x="1655" y="1681"/>
                  </a:cubicBezTo>
                  <a:cubicBezTo>
                    <a:pt x="1657" y="1674"/>
                    <a:pt x="1657" y="1666"/>
                    <a:pt x="1656" y="1657"/>
                  </a:cubicBezTo>
                  <a:cubicBezTo>
                    <a:pt x="1654" y="1649"/>
                    <a:pt x="1652" y="1640"/>
                    <a:pt x="1649" y="1631"/>
                  </a:cubicBezTo>
                  <a:cubicBezTo>
                    <a:pt x="1645" y="1622"/>
                    <a:pt x="1642" y="1613"/>
                    <a:pt x="1638" y="1604"/>
                  </a:cubicBezTo>
                  <a:cubicBezTo>
                    <a:pt x="1635" y="1594"/>
                    <a:pt x="1632" y="1584"/>
                    <a:pt x="1629" y="1575"/>
                  </a:cubicBezTo>
                  <a:cubicBezTo>
                    <a:pt x="1627" y="1565"/>
                    <a:pt x="1626" y="1555"/>
                    <a:pt x="1626" y="1545"/>
                  </a:cubicBezTo>
                  <a:cubicBezTo>
                    <a:pt x="1626" y="1536"/>
                    <a:pt x="1628" y="1526"/>
                    <a:pt x="1632" y="1516"/>
                  </a:cubicBezTo>
                  <a:cubicBezTo>
                    <a:pt x="1635" y="1506"/>
                    <a:pt x="1642" y="1497"/>
                    <a:pt x="1651" y="1488"/>
                  </a:cubicBezTo>
                  <a:cubicBezTo>
                    <a:pt x="1661" y="1478"/>
                    <a:pt x="1671" y="1471"/>
                    <a:pt x="1682" y="1467"/>
                  </a:cubicBezTo>
                  <a:cubicBezTo>
                    <a:pt x="1693" y="1463"/>
                    <a:pt x="1704" y="1462"/>
                    <a:pt x="1715" y="1463"/>
                  </a:cubicBezTo>
                  <a:cubicBezTo>
                    <a:pt x="1726" y="1464"/>
                    <a:pt x="1738" y="1468"/>
                    <a:pt x="1749" y="1474"/>
                  </a:cubicBezTo>
                  <a:cubicBezTo>
                    <a:pt x="1760" y="1479"/>
                    <a:pt x="1771" y="1487"/>
                    <a:pt x="1780" y="1497"/>
                  </a:cubicBezTo>
                  <a:cubicBezTo>
                    <a:pt x="1786" y="1502"/>
                    <a:pt x="1790" y="1508"/>
                    <a:pt x="1794" y="1514"/>
                  </a:cubicBezTo>
                  <a:cubicBezTo>
                    <a:pt x="1799" y="1520"/>
                    <a:pt x="1802" y="1526"/>
                    <a:pt x="1805" y="1532"/>
                  </a:cubicBezTo>
                  <a:cubicBezTo>
                    <a:pt x="1808" y="1538"/>
                    <a:pt x="1811" y="1544"/>
                    <a:pt x="1813" y="1549"/>
                  </a:cubicBezTo>
                  <a:cubicBezTo>
                    <a:pt x="1814" y="1554"/>
                    <a:pt x="1815" y="1558"/>
                    <a:pt x="1815" y="1560"/>
                  </a:cubicBezTo>
                  <a:cubicBezTo>
                    <a:pt x="1815" y="1563"/>
                    <a:pt x="1815" y="1564"/>
                    <a:pt x="1815" y="1565"/>
                  </a:cubicBezTo>
                  <a:cubicBezTo>
                    <a:pt x="1814" y="1566"/>
                    <a:pt x="1814" y="1567"/>
                    <a:pt x="1813" y="1569"/>
                  </a:cubicBezTo>
                  <a:cubicBezTo>
                    <a:pt x="1812" y="1570"/>
                    <a:pt x="1811" y="1571"/>
                    <a:pt x="1810" y="1573"/>
                  </a:cubicBezTo>
                  <a:cubicBezTo>
                    <a:pt x="1809" y="1574"/>
                    <a:pt x="1807" y="1576"/>
                    <a:pt x="1805" y="1578"/>
                  </a:cubicBezTo>
                  <a:cubicBezTo>
                    <a:pt x="1803" y="1580"/>
                    <a:pt x="1801" y="1582"/>
                    <a:pt x="1799" y="1584"/>
                  </a:cubicBezTo>
                  <a:cubicBezTo>
                    <a:pt x="1797" y="1585"/>
                    <a:pt x="1795" y="1586"/>
                    <a:pt x="1794" y="1587"/>
                  </a:cubicBezTo>
                  <a:cubicBezTo>
                    <a:pt x="1792" y="1588"/>
                    <a:pt x="1791" y="1588"/>
                    <a:pt x="1790" y="1588"/>
                  </a:cubicBezTo>
                  <a:cubicBezTo>
                    <a:pt x="1789" y="1588"/>
                    <a:pt x="1788" y="1587"/>
                    <a:pt x="1787" y="1587"/>
                  </a:cubicBezTo>
                  <a:cubicBezTo>
                    <a:pt x="1786" y="1585"/>
                    <a:pt x="1784" y="1582"/>
                    <a:pt x="1783" y="1578"/>
                  </a:cubicBezTo>
                  <a:cubicBezTo>
                    <a:pt x="1782" y="1574"/>
                    <a:pt x="1781" y="1568"/>
                    <a:pt x="1779" y="1562"/>
                  </a:cubicBezTo>
                  <a:cubicBezTo>
                    <a:pt x="1777" y="1556"/>
                    <a:pt x="1774" y="1550"/>
                    <a:pt x="1770" y="1542"/>
                  </a:cubicBezTo>
                  <a:cubicBezTo>
                    <a:pt x="1766" y="1535"/>
                    <a:pt x="1761" y="1528"/>
                    <a:pt x="1754" y="1521"/>
                  </a:cubicBezTo>
                  <a:cubicBezTo>
                    <a:pt x="1748" y="1515"/>
                    <a:pt x="1741" y="1510"/>
                    <a:pt x="1735" y="1507"/>
                  </a:cubicBezTo>
                  <a:cubicBezTo>
                    <a:pt x="1728" y="1504"/>
                    <a:pt x="1722" y="1503"/>
                    <a:pt x="1716" y="1503"/>
                  </a:cubicBezTo>
                  <a:cubicBezTo>
                    <a:pt x="1711" y="1502"/>
                    <a:pt x="1705" y="1503"/>
                    <a:pt x="1699" y="1506"/>
                  </a:cubicBezTo>
                  <a:cubicBezTo>
                    <a:pt x="1694" y="1508"/>
                    <a:pt x="1689" y="1511"/>
                    <a:pt x="1685" y="1516"/>
                  </a:cubicBezTo>
                  <a:cubicBezTo>
                    <a:pt x="1678" y="1522"/>
                    <a:pt x="1674" y="1529"/>
                    <a:pt x="1673" y="1537"/>
                  </a:cubicBezTo>
                  <a:cubicBezTo>
                    <a:pt x="1671" y="1544"/>
                    <a:pt x="1671" y="1552"/>
                    <a:pt x="1672" y="1561"/>
                  </a:cubicBezTo>
                  <a:cubicBezTo>
                    <a:pt x="1674" y="1569"/>
                    <a:pt x="1676" y="1578"/>
                    <a:pt x="1679" y="1587"/>
                  </a:cubicBezTo>
                  <a:cubicBezTo>
                    <a:pt x="1683" y="1596"/>
                    <a:pt x="1686" y="1606"/>
                    <a:pt x="1689" y="1615"/>
                  </a:cubicBezTo>
                  <a:cubicBezTo>
                    <a:pt x="1693" y="1625"/>
                    <a:pt x="1696" y="1634"/>
                    <a:pt x="1699" y="1644"/>
                  </a:cubicBezTo>
                  <a:cubicBezTo>
                    <a:pt x="1701" y="1654"/>
                    <a:pt x="1703" y="1664"/>
                    <a:pt x="1703" y="1673"/>
                  </a:cubicBezTo>
                  <a:cubicBezTo>
                    <a:pt x="1703" y="1683"/>
                    <a:pt x="1701" y="1693"/>
                    <a:pt x="1697" y="1703"/>
                  </a:cubicBezTo>
                  <a:cubicBezTo>
                    <a:pt x="1694" y="1712"/>
                    <a:pt x="1687" y="1722"/>
                    <a:pt x="1678" y="1731"/>
                  </a:cubicBezTo>
                  <a:close/>
                  <a:moveTo>
                    <a:pt x="1771" y="1927"/>
                  </a:moveTo>
                  <a:cubicBezTo>
                    <a:pt x="1769" y="1930"/>
                    <a:pt x="1767" y="1931"/>
                    <a:pt x="1765" y="1933"/>
                  </a:cubicBezTo>
                  <a:cubicBezTo>
                    <a:pt x="1763" y="1934"/>
                    <a:pt x="1761" y="1935"/>
                    <a:pt x="1760" y="1935"/>
                  </a:cubicBezTo>
                  <a:cubicBezTo>
                    <a:pt x="1758" y="1936"/>
                    <a:pt x="1757" y="1936"/>
                    <a:pt x="1756" y="1936"/>
                  </a:cubicBezTo>
                  <a:cubicBezTo>
                    <a:pt x="1755" y="1935"/>
                    <a:pt x="1753" y="1934"/>
                    <a:pt x="1753" y="1933"/>
                  </a:cubicBezTo>
                  <a:lnTo>
                    <a:pt x="1655" y="1836"/>
                  </a:lnTo>
                  <a:cubicBezTo>
                    <a:pt x="1652" y="1833"/>
                    <a:pt x="1651" y="1830"/>
                    <a:pt x="1651" y="1827"/>
                  </a:cubicBezTo>
                  <a:cubicBezTo>
                    <a:pt x="1651" y="1824"/>
                    <a:pt x="1653" y="1820"/>
                    <a:pt x="1657" y="1816"/>
                  </a:cubicBezTo>
                  <a:lnTo>
                    <a:pt x="1663" y="1810"/>
                  </a:lnTo>
                  <a:cubicBezTo>
                    <a:pt x="1665" y="1809"/>
                    <a:pt x="1666" y="1807"/>
                    <a:pt x="1668" y="1806"/>
                  </a:cubicBezTo>
                  <a:cubicBezTo>
                    <a:pt x="1669" y="1805"/>
                    <a:pt x="1671" y="1804"/>
                    <a:pt x="1673" y="1803"/>
                  </a:cubicBezTo>
                  <a:cubicBezTo>
                    <a:pt x="1674" y="1803"/>
                    <a:pt x="1676" y="1802"/>
                    <a:pt x="1679" y="1801"/>
                  </a:cubicBezTo>
                  <a:cubicBezTo>
                    <a:pt x="1681" y="1801"/>
                    <a:pt x="1684" y="1800"/>
                    <a:pt x="1687" y="1799"/>
                  </a:cubicBezTo>
                  <a:lnTo>
                    <a:pt x="1866" y="1760"/>
                  </a:lnTo>
                  <a:lnTo>
                    <a:pt x="1798" y="1692"/>
                  </a:lnTo>
                  <a:cubicBezTo>
                    <a:pt x="1796" y="1690"/>
                    <a:pt x="1796" y="1688"/>
                    <a:pt x="1797" y="1685"/>
                  </a:cubicBezTo>
                  <a:cubicBezTo>
                    <a:pt x="1797" y="1682"/>
                    <a:pt x="1800" y="1678"/>
                    <a:pt x="1804" y="1673"/>
                  </a:cubicBezTo>
                  <a:cubicBezTo>
                    <a:pt x="1806" y="1671"/>
                    <a:pt x="1808" y="1670"/>
                    <a:pt x="1810" y="1668"/>
                  </a:cubicBezTo>
                  <a:cubicBezTo>
                    <a:pt x="1812" y="1667"/>
                    <a:pt x="1814" y="1666"/>
                    <a:pt x="1815" y="1665"/>
                  </a:cubicBezTo>
                  <a:cubicBezTo>
                    <a:pt x="1817" y="1665"/>
                    <a:pt x="1818" y="1665"/>
                    <a:pt x="1819" y="1665"/>
                  </a:cubicBezTo>
                  <a:cubicBezTo>
                    <a:pt x="1821" y="1666"/>
                    <a:pt x="1822" y="1666"/>
                    <a:pt x="1823" y="1667"/>
                  </a:cubicBezTo>
                  <a:lnTo>
                    <a:pt x="1914" y="1759"/>
                  </a:lnTo>
                  <a:cubicBezTo>
                    <a:pt x="1915" y="1760"/>
                    <a:pt x="1916" y="1761"/>
                    <a:pt x="1917" y="1763"/>
                  </a:cubicBezTo>
                  <a:cubicBezTo>
                    <a:pt x="1917" y="1764"/>
                    <a:pt x="1918" y="1765"/>
                    <a:pt x="1918" y="1767"/>
                  </a:cubicBezTo>
                  <a:cubicBezTo>
                    <a:pt x="1918" y="1768"/>
                    <a:pt x="1917" y="1770"/>
                    <a:pt x="1916" y="1772"/>
                  </a:cubicBezTo>
                  <a:cubicBezTo>
                    <a:pt x="1915" y="1774"/>
                    <a:pt x="1914" y="1775"/>
                    <a:pt x="1912" y="1777"/>
                  </a:cubicBezTo>
                  <a:lnTo>
                    <a:pt x="1906" y="1783"/>
                  </a:lnTo>
                  <a:cubicBezTo>
                    <a:pt x="1904" y="1785"/>
                    <a:pt x="1903" y="1786"/>
                    <a:pt x="1901" y="1787"/>
                  </a:cubicBezTo>
                  <a:cubicBezTo>
                    <a:pt x="1900" y="1788"/>
                    <a:pt x="1898" y="1789"/>
                    <a:pt x="1896" y="1790"/>
                  </a:cubicBezTo>
                  <a:cubicBezTo>
                    <a:pt x="1894" y="1791"/>
                    <a:pt x="1892" y="1792"/>
                    <a:pt x="1890" y="1793"/>
                  </a:cubicBezTo>
                  <a:cubicBezTo>
                    <a:pt x="1887" y="1793"/>
                    <a:pt x="1885" y="1794"/>
                    <a:pt x="1882" y="1795"/>
                  </a:cubicBezTo>
                  <a:lnTo>
                    <a:pt x="1702" y="1834"/>
                  </a:lnTo>
                  <a:lnTo>
                    <a:pt x="1777" y="1909"/>
                  </a:lnTo>
                  <a:cubicBezTo>
                    <a:pt x="1778" y="1910"/>
                    <a:pt x="1779" y="1911"/>
                    <a:pt x="1779" y="1912"/>
                  </a:cubicBezTo>
                  <a:cubicBezTo>
                    <a:pt x="1779" y="1913"/>
                    <a:pt x="1779" y="1915"/>
                    <a:pt x="1779" y="1916"/>
                  </a:cubicBezTo>
                  <a:cubicBezTo>
                    <a:pt x="1779" y="1918"/>
                    <a:pt x="1778" y="1919"/>
                    <a:pt x="1776" y="1921"/>
                  </a:cubicBezTo>
                  <a:cubicBezTo>
                    <a:pt x="1775" y="1923"/>
                    <a:pt x="1773" y="1925"/>
                    <a:pt x="1771" y="1927"/>
                  </a:cubicBezTo>
                  <a:close/>
                  <a:moveTo>
                    <a:pt x="1936" y="2060"/>
                  </a:moveTo>
                  <a:cubicBezTo>
                    <a:pt x="1934" y="2062"/>
                    <a:pt x="1932" y="2064"/>
                    <a:pt x="1931" y="2065"/>
                  </a:cubicBezTo>
                  <a:cubicBezTo>
                    <a:pt x="1929" y="2066"/>
                    <a:pt x="1928" y="2067"/>
                    <a:pt x="1926" y="2068"/>
                  </a:cubicBezTo>
                  <a:cubicBezTo>
                    <a:pt x="1925" y="2069"/>
                    <a:pt x="1924" y="2069"/>
                    <a:pt x="1923" y="2070"/>
                  </a:cubicBezTo>
                  <a:cubicBezTo>
                    <a:pt x="1922" y="2070"/>
                    <a:pt x="1920" y="2070"/>
                    <a:pt x="1917" y="2070"/>
                  </a:cubicBezTo>
                  <a:cubicBezTo>
                    <a:pt x="1914" y="2070"/>
                    <a:pt x="1909" y="2069"/>
                    <a:pt x="1904" y="2068"/>
                  </a:cubicBezTo>
                  <a:cubicBezTo>
                    <a:pt x="1898" y="2067"/>
                    <a:pt x="1892" y="2065"/>
                    <a:pt x="1886" y="2062"/>
                  </a:cubicBezTo>
                  <a:cubicBezTo>
                    <a:pt x="1880" y="2059"/>
                    <a:pt x="1873" y="2056"/>
                    <a:pt x="1867" y="2052"/>
                  </a:cubicBezTo>
                  <a:cubicBezTo>
                    <a:pt x="1861" y="2048"/>
                    <a:pt x="1855" y="2043"/>
                    <a:pt x="1850" y="2037"/>
                  </a:cubicBezTo>
                  <a:cubicBezTo>
                    <a:pt x="1838" y="2026"/>
                    <a:pt x="1830" y="2014"/>
                    <a:pt x="1825" y="2001"/>
                  </a:cubicBezTo>
                  <a:cubicBezTo>
                    <a:pt x="1820" y="1989"/>
                    <a:pt x="1818" y="1976"/>
                    <a:pt x="1819" y="1962"/>
                  </a:cubicBezTo>
                  <a:cubicBezTo>
                    <a:pt x="1820" y="1949"/>
                    <a:pt x="1825" y="1936"/>
                    <a:pt x="1832" y="1922"/>
                  </a:cubicBezTo>
                  <a:cubicBezTo>
                    <a:pt x="1840" y="1908"/>
                    <a:pt x="1850" y="1895"/>
                    <a:pt x="1864" y="1881"/>
                  </a:cubicBezTo>
                  <a:cubicBezTo>
                    <a:pt x="1880" y="1865"/>
                    <a:pt x="1895" y="1854"/>
                    <a:pt x="1910" y="1846"/>
                  </a:cubicBezTo>
                  <a:cubicBezTo>
                    <a:pt x="1925" y="1839"/>
                    <a:pt x="1940" y="1835"/>
                    <a:pt x="1954" y="1834"/>
                  </a:cubicBezTo>
                  <a:cubicBezTo>
                    <a:pt x="1967" y="1834"/>
                    <a:pt x="1981" y="1836"/>
                    <a:pt x="1993" y="1842"/>
                  </a:cubicBezTo>
                  <a:cubicBezTo>
                    <a:pt x="2006" y="1847"/>
                    <a:pt x="2017" y="1855"/>
                    <a:pt x="2028" y="1866"/>
                  </a:cubicBezTo>
                  <a:cubicBezTo>
                    <a:pt x="2033" y="1871"/>
                    <a:pt x="2037" y="1876"/>
                    <a:pt x="2041" y="1882"/>
                  </a:cubicBezTo>
                  <a:cubicBezTo>
                    <a:pt x="2045" y="1888"/>
                    <a:pt x="2048" y="1893"/>
                    <a:pt x="2050" y="1899"/>
                  </a:cubicBezTo>
                  <a:cubicBezTo>
                    <a:pt x="2053" y="1905"/>
                    <a:pt x="2055" y="1910"/>
                    <a:pt x="2056" y="1915"/>
                  </a:cubicBezTo>
                  <a:cubicBezTo>
                    <a:pt x="2057" y="1920"/>
                    <a:pt x="2057" y="1924"/>
                    <a:pt x="2057" y="1927"/>
                  </a:cubicBezTo>
                  <a:cubicBezTo>
                    <a:pt x="2057" y="1930"/>
                    <a:pt x="2057" y="1932"/>
                    <a:pt x="2057" y="1933"/>
                  </a:cubicBezTo>
                  <a:cubicBezTo>
                    <a:pt x="2057" y="1935"/>
                    <a:pt x="2056" y="1936"/>
                    <a:pt x="2055" y="1937"/>
                  </a:cubicBezTo>
                  <a:cubicBezTo>
                    <a:pt x="2055" y="1939"/>
                    <a:pt x="2054" y="1940"/>
                    <a:pt x="2052" y="1942"/>
                  </a:cubicBezTo>
                  <a:cubicBezTo>
                    <a:pt x="2051" y="1944"/>
                    <a:pt x="2049" y="1945"/>
                    <a:pt x="2047" y="1947"/>
                  </a:cubicBezTo>
                  <a:cubicBezTo>
                    <a:pt x="2043" y="1952"/>
                    <a:pt x="2039" y="1955"/>
                    <a:pt x="2036" y="1955"/>
                  </a:cubicBezTo>
                  <a:cubicBezTo>
                    <a:pt x="2033" y="1956"/>
                    <a:pt x="2031" y="1956"/>
                    <a:pt x="2029" y="1954"/>
                  </a:cubicBezTo>
                  <a:cubicBezTo>
                    <a:pt x="2028" y="1953"/>
                    <a:pt x="2027" y="1950"/>
                    <a:pt x="2026" y="1945"/>
                  </a:cubicBezTo>
                  <a:cubicBezTo>
                    <a:pt x="2026" y="1941"/>
                    <a:pt x="2025" y="1936"/>
                    <a:pt x="2024" y="1930"/>
                  </a:cubicBezTo>
                  <a:cubicBezTo>
                    <a:pt x="2023" y="1924"/>
                    <a:pt x="2021" y="1918"/>
                    <a:pt x="2017" y="1911"/>
                  </a:cubicBezTo>
                  <a:cubicBezTo>
                    <a:pt x="2014" y="1904"/>
                    <a:pt x="2009" y="1897"/>
                    <a:pt x="2003" y="1890"/>
                  </a:cubicBezTo>
                  <a:cubicBezTo>
                    <a:pt x="1989" y="1876"/>
                    <a:pt x="1972" y="1871"/>
                    <a:pt x="1954" y="1874"/>
                  </a:cubicBezTo>
                  <a:cubicBezTo>
                    <a:pt x="1936" y="1877"/>
                    <a:pt x="1917" y="1889"/>
                    <a:pt x="1896" y="1910"/>
                  </a:cubicBezTo>
                  <a:cubicBezTo>
                    <a:pt x="1886" y="1920"/>
                    <a:pt x="1878" y="1930"/>
                    <a:pt x="1872" y="1940"/>
                  </a:cubicBezTo>
                  <a:cubicBezTo>
                    <a:pt x="1866" y="1949"/>
                    <a:pt x="1863" y="1959"/>
                    <a:pt x="1861" y="1968"/>
                  </a:cubicBezTo>
                  <a:cubicBezTo>
                    <a:pt x="1860" y="1977"/>
                    <a:pt x="1861" y="1985"/>
                    <a:pt x="1864" y="1993"/>
                  </a:cubicBezTo>
                  <a:cubicBezTo>
                    <a:pt x="1866" y="2001"/>
                    <a:pt x="1871" y="2009"/>
                    <a:pt x="1879" y="2016"/>
                  </a:cubicBezTo>
                  <a:cubicBezTo>
                    <a:pt x="1885" y="2022"/>
                    <a:pt x="1892" y="2027"/>
                    <a:pt x="1899" y="2030"/>
                  </a:cubicBezTo>
                  <a:cubicBezTo>
                    <a:pt x="1907" y="2033"/>
                    <a:pt x="1913" y="2035"/>
                    <a:pt x="1920" y="2036"/>
                  </a:cubicBezTo>
                  <a:cubicBezTo>
                    <a:pt x="1926" y="2038"/>
                    <a:pt x="1931" y="2038"/>
                    <a:pt x="1936" y="2039"/>
                  </a:cubicBezTo>
                  <a:cubicBezTo>
                    <a:pt x="1940" y="2039"/>
                    <a:pt x="1943" y="2040"/>
                    <a:pt x="1945" y="2042"/>
                  </a:cubicBezTo>
                  <a:cubicBezTo>
                    <a:pt x="1946" y="2042"/>
                    <a:pt x="1946" y="2043"/>
                    <a:pt x="1946" y="2044"/>
                  </a:cubicBezTo>
                  <a:cubicBezTo>
                    <a:pt x="1946" y="2046"/>
                    <a:pt x="1946" y="2047"/>
                    <a:pt x="1945" y="2048"/>
                  </a:cubicBezTo>
                  <a:cubicBezTo>
                    <a:pt x="1945" y="2050"/>
                    <a:pt x="1944" y="2052"/>
                    <a:pt x="1942" y="2054"/>
                  </a:cubicBezTo>
                  <a:cubicBezTo>
                    <a:pt x="1940" y="2055"/>
                    <a:pt x="1939" y="2058"/>
                    <a:pt x="1936" y="2060"/>
                  </a:cubicBezTo>
                  <a:close/>
                  <a:moveTo>
                    <a:pt x="2065" y="2222"/>
                  </a:moveTo>
                  <a:cubicBezTo>
                    <a:pt x="2063" y="2224"/>
                    <a:pt x="2061" y="2226"/>
                    <a:pt x="2059" y="2227"/>
                  </a:cubicBezTo>
                  <a:cubicBezTo>
                    <a:pt x="2057" y="2228"/>
                    <a:pt x="2055" y="2229"/>
                    <a:pt x="2054" y="2229"/>
                  </a:cubicBezTo>
                  <a:cubicBezTo>
                    <a:pt x="2053" y="2230"/>
                    <a:pt x="2051" y="2230"/>
                    <a:pt x="2050" y="2230"/>
                  </a:cubicBezTo>
                  <a:cubicBezTo>
                    <a:pt x="2049" y="2229"/>
                    <a:pt x="2048" y="2229"/>
                    <a:pt x="2047" y="2228"/>
                  </a:cubicBezTo>
                  <a:lnTo>
                    <a:pt x="1949" y="2130"/>
                  </a:lnTo>
                  <a:cubicBezTo>
                    <a:pt x="1946" y="2127"/>
                    <a:pt x="1945" y="2124"/>
                    <a:pt x="1945" y="2121"/>
                  </a:cubicBezTo>
                  <a:cubicBezTo>
                    <a:pt x="1945" y="2118"/>
                    <a:pt x="1947" y="2114"/>
                    <a:pt x="1951" y="2110"/>
                  </a:cubicBezTo>
                  <a:lnTo>
                    <a:pt x="1957" y="2104"/>
                  </a:lnTo>
                  <a:cubicBezTo>
                    <a:pt x="1959" y="2103"/>
                    <a:pt x="1960" y="2101"/>
                    <a:pt x="1962" y="2100"/>
                  </a:cubicBezTo>
                  <a:cubicBezTo>
                    <a:pt x="1963" y="2099"/>
                    <a:pt x="1965" y="2098"/>
                    <a:pt x="1967" y="2098"/>
                  </a:cubicBezTo>
                  <a:cubicBezTo>
                    <a:pt x="1969" y="2097"/>
                    <a:pt x="1971" y="2096"/>
                    <a:pt x="1973" y="2095"/>
                  </a:cubicBezTo>
                  <a:cubicBezTo>
                    <a:pt x="1975" y="2095"/>
                    <a:pt x="1978" y="2094"/>
                    <a:pt x="1981" y="2093"/>
                  </a:cubicBezTo>
                  <a:lnTo>
                    <a:pt x="2160" y="2054"/>
                  </a:lnTo>
                  <a:lnTo>
                    <a:pt x="2092" y="1986"/>
                  </a:lnTo>
                  <a:cubicBezTo>
                    <a:pt x="2090" y="1984"/>
                    <a:pt x="2090" y="1982"/>
                    <a:pt x="2091" y="1979"/>
                  </a:cubicBezTo>
                  <a:cubicBezTo>
                    <a:pt x="2092" y="1976"/>
                    <a:pt x="2094" y="1972"/>
                    <a:pt x="2098" y="1968"/>
                  </a:cubicBezTo>
                  <a:cubicBezTo>
                    <a:pt x="2101" y="1965"/>
                    <a:pt x="2103" y="1964"/>
                    <a:pt x="2104" y="1962"/>
                  </a:cubicBezTo>
                  <a:cubicBezTo>
                    <a:pt x="2106" y="1961"/>
                    <a:pt x="2108" y="1960"/>
                    <a:pt x="2109" y="1960"/>
                  </a:cubicBezTo>
                  <a:cubicBezTo>
                    <a:pt x="2111" y="1959"/>
                    <a:pt x="2112" y="1959"/>
                    <a:pt x="2113" y="1959"/>
                  </a:cubicBezTo>
                  <a:cubicBezTo>
                    <a:pt x="2115" y="1960"/>
                    <a:pt x="2116" y="1961"/>
                    <a:pt x="2117" y="1962"/>
                  </a:cubicBezTo>
                  <a:lnTo>
                    <a:pt x="2208" y="2053"/>
                  </a:lnTo>
                  <a:cubicBezTo>
                    <a:pt x="2209" y="2054"/>
                    <a:pt x="2210" y="2055"/>
                    <a:pt x="2211" y="2057"/>
                  </a:cubicBezTo>
                  <a:cubicBezTo>
                    <a:pt x="2212" y="2058"/>
                    <a:pt x="2212" y="2060"/>
                    <a:pt x="2212" y="2061"/>
                  </a:cubicBezTo>
                  <a:cubicBezTo>
                    <a:pt x="2212" y="2063"/>
                    <a:pt x="2211" y="2064"/>
                    <a:pt x="2210" y="2066"/>
                  </a:cubicBezTo>
                  <a:cubicBezTo>
                    <a:pt x="2209" y="2068"/>
                    <a:pt x="2208" y="2070"/>
                    <a:pt x="2206" y="2072"/>
                  </a:cubicBezTo>
                  <a:lnTo>
                    <a:pt x="2200" y="2077"/>
                  </a:lnTo>
                  <a:cubicBezTo>
                    <a:pt x="2199" y="2079"/>
                    <a:pt x="2197" y="2080"/>
                    <a:pt x="2195" y="2081"/>
                  </a:cubicBezTo>
                  <a:cubicBezTo>
                    <a:pt x="2194" y="2083"/>
                    <a:pt x="2192" y="2084"/>
                    <a:pt x="2190" y="2085"/>
                  </a:cubicBezTo>
                  <a:cubicBezTo>
                    <a:pt x="2188" y="2085"/>
                    <a:pt x="2186" y="2086"/>
                    <a:pt x="2184" y="2087"/>
                  </a:cubicBezTo>
                  <a:cubicBezTo>
                    <a:pt x="2181" y="2088"/>
                    <a:pt x="2179" y="2088"/>
                    <a:pt x="2176" y="2089"/>
                  </a:cubicBezTo>
                  <a:lnTo>
                    <a:pt x="1997" y="2128"/>
                  </a:lnTo>
                  <a:lnTo>
                    <a:pt x="2071" y="2203"/>
                  </a:lnTo>
                  <a:cubicBezTo>
                    <a:pt x="2072" y="2204"/>
                    <a:pt x="2073" y="2205"/>
                    <a:pt x="2073" y="2206"/>
                  </a:cubicBezTo>
                  <a:cubicBezTo>
                    <a:pt x="2074" y="2207"/>
                    <a:pt x="2074" y="2209"/>
                    <a:pt x="2073" y="2210"/>
                  </a:cubicBezTo>
                  <a:cubicBezTo>
                    <a:pt x="2073" y="2212"/>
                    <a:pt x="2072" y="2213"/>
                    <a:pt x="2071" y="2215"/>
                  </a:cubicBezTo>
                  <a:cubicBezTo>
                    <a:pt x="2069" y="2217"/>
                    <a:pt x="2068" y="2219"/>
                    <a:pt x="2065" y="2222"/>
                  </a:cubicBezTo>
                  <a:close/>
                  <a:moveTo>
                    <a:pt x="2223" y="2395"/>
                  </a:moveTo>
                  <a:cubicBezTo>
                    <a:pt x="2221" y="2397"/>
                    <a:pt x="2220" y="2397"/>
                    <a:pt x="2218" y="2397"/>
                  </a:cubicBezTo>
                  <a:cubicBezTo>
                    <a:pt x="2216" y="2397"/>
                    <a:pt x="2215" y="2396"/>
                    <a:pt x="2213" y="2395"/>
                  </a:cubicBezTo>
                  <a:cubicBezTo>
                    <a:pt x="2211" y="2393"/>
                    <a:pt x="2208" y="2391"/>
                    <a:pt x="2205" y="2388"/>
                  </a:cubicBezTo>
                  <a:cubicBezTo>
                    <a:pt x="2202" y="2385"/>
                    <a:pt x="2200" y="2382"/>
                    <a:pt x="2198" y="2380"/>
                  </a:cubicBezTo>
                  <a:cubicBezTo>
                    <a:pt x="2197" y="2378"/>
                    <a:pt x="2196" y="2376"/>
                    <a:pt x="2196" y="2375"/>
                  </a:cubicBezTo>
                  <a:cubicBezTo>
                    <a:pt x="2196" y="2373"/>
                    <a:pt x="2196" y="2372"/>
                    <a:pt x="2198" y="2370"/>
                  </a:cubicBezTo>
                  <a:lnTo>
                    <a:pt x="2214" y="2354"/>
                  </a:lnTo>
                  <a:cubicBezTo>
                    <a:pt x="2199" y="2355"/>
                    <a:pt x="2186" y="2353"/>
                    <a:pt x="2173" y="2348"/>
                  </a:cubicBezTo>
                  <a:cubicBezTo>
                    <a:pt x="2160" y="2344"/>
                    <a:pt x="2149" y="2337"/>
                    <a:pt x="2140" y="2327"/>
                  </a:cubicBezTo>
                  <a:cubicBezTo>
                    <a:pt x="2131" y="2319"/>
                    <a:pt x="2125" y="2310"/>
                    <a:pt x="2120" y="2301"/>
                  </a:cubicBezTo>
                  <a:cubicBezTo>
                    <a:pt x="2116" y="2292"/>
                    <a:pt x="2113" y="2283"/>
                    <a:pt x="2112" y="2275"/>
                  </a:cubicBezTo>
                  <a:cubicBezTo>
                    <a:pt x="2112" y="2266"/>
                    <a:pt x="2113" y="2257"/>
                    <a:pt x="2116" y="2248"/>
                  </a:cubicBezTo>
                  <a:cubicBezTo>
                    <a:pt x="2120" y="2240"/>
                    <a:pt x="2125" y="2231"/>
                    <a:pt x="2133" y="2224"/>
                  </a:cubicBezTo>
                  <a:cubicBezTo>
                    <a:pt x="2142" y="2215"/>
                    <a:pt x="2151" y="2209"/>
                    <a:pt x="2162" y="2206"/>
                  </a:cubicBezTo>
                  <a:cubicBezTo>
                    <a:pt x="2172" y="2203"/>
                    <a:pt x="2183" y="2203"/>
                    <a:pt x="2194" y="2205"/>
                  </a:cubicBezTo>
                  <a:cubicBezTo>
                    <a:pt x="2205" y="2208"/>
                    <a:pt x="2217" y="2213"/>
                    <a:pt x="2229" y="2220"/>
                  </a:cubicBezTo>
                  <a:cubicBezTo>
                    <a:pt x="2241" y="2228"/>
                    <a:pt x="2253" y="2238"/>
                    <a:pt x="2266" y="2251"/>
                  </a:cubicBezTo>
                  <a:lnTo>
                    <a:pt x="2287" y="2273"/>
                  </a:lnTo>
                  <a:lnTo>
                    <a:pt x="2300" y="2260"/>
                  </a:lnTo>
                  <a:cubicBezTo>
                    <a:pt x="2306" y="2254"/>
                    <a:pt x="2311" y="2248"/>
                    <a:pt x="2314" y="2242"/>
                  </a:cubicBezTo>
                  <a:cubicBezTo>
                    <a:pt x="2318" y="2236"/>
                    <a:pt x="2319" y="2230"/>
                    <a:pt x="2320" y="2224"/>
                  </a:cubicBezTo>
                  <a:cubicBezTo>
                    <a:pt x="2320" y="2218"/>
                    <a:pt x="2318" y="2212"/>
                    <a:pt x="2315" y="2206"/>
                  </a:cubicBezTo>
                  <a:cubicBezTo>
                    <a:pt x="2312" y="2199"/>
                    <a:pt x="2308" y="2193"/>
                    <a:pt x="2301" y="2186"/>
                  </a:cubicBezTo>
                  <a:cubicBezTo>
                    <a:pt x="2294" y="2179"/>
                    <a:pt x="2286" y="2173"/>
                    <a:pt x="2279" y="2169"/>
                  </a:cubicBezTo>
                  <a:cubicBezTo>
                    <a:pt x="2272" y="2165"/>
                    <a:pt x="2265" y="2162"/>
                    <a:pt x="2258" y="2160"/>
                  </a:cubicBezTo>
                  <a:cubicBezTo>
                    <a:pt x="2252" y="2158"/>
                    <a:pt x="2246" y="2156"/>
                    <a:pt x="2242" y="2155"/>
                  </a:cubicBezTo>
                  <a:cubicBezTo>
                    <a:pt x="2237" y="2154"/>
                    <a:pt x="2234" y="2153"/>
                    <a:pt x="2233" y="2151"/>
                  </a:cubicBezTo>
                  <a:cubicBezTo>
                    <a:pt x="2232" y="2150"/>
                    <a:pt x="2231" y="2149"/>
                    <a:pt x="2231" y="2148"/>
                  </a:cubicBezTo>
                  <a:cubicBezTo>
                    <a:pt x="2231" y="2147"/>
                    <a:pt x="2231" y="2145"/>
                    <a:pt x="2231" y="2144"/>
                  </a:cubicBezTo>
                  <a:cubicBezTo>
                    <a:pt x="2232" y="2142"/>
                    <a:pt x="2233" y="2141"/>
                    <a:pt x="2234" y="2139"/>
                  </a:cubicBezTo>
                  <a:cubicBezTo>
                    <a:pt x="2235" y="2137"/>
                    <a:pt x="2237" y="2136"/>
                    <a:pt x="2238" y="2134"/>
                  </a:cubicBezTo>
                  <a:cubicBezTo>
                    <a:pt x="2241" y="2131"/>
                    <a:pt x="2244" y="2129"/>
                    <a:pt x="2246" y="2128"/>
                  </a:cubicBezTo>
                  <a:cubicBezTo>
                    <a:pt x="2248" y="2126"/>
                    <a:pt x="2251" y="2126"/>
                    <a:pt x="2254" y="2126"/>
                  </a:cubicBezTo>
                  <a:cubicBezTo>
                    <a:pt x="2257" y="2126"/>
                    <a:pt x="2261" y="2127"/>
                    <a:pt x="2267" y="2129"/>
                  </a:cubicBezTo>
                  <a:cubicBezTo>
                    <a:pt x="2273" y="2130"/>
                    <a:pt x="2280" y="2133"/>
                    <a:pt x="2286" y="2136"/>
                  </a:cubicBezTo>
                  <a:cubicBezTo>
                    <a:pt x="2293" y="2140"/>
                    <a:pt x="2300" y="2144"/>
                    <a:pt x="2307" y="2149"/>
                  </a:cubicBezTo>
                  <a:cubicBezTo>
                    <a:pt x="2314" y="2154"/>
                    <a:pt x="2321" y="2159"/>
                    <a:pt x="2327" y="2165"/>
                  </a:cubicBezTo>
                  <a:cubicBezTo>
                    <a:pt x="2339" y="2177"/>
                    <a:pt x="2347" y="2188"/>
                    <a:pt x="2352" y="2198"/>
                  </a:cubicBezTo>
                  <a:cubicBezTo>
                    <a:pt x="2358" y="2209"/>
                    <a:pt x="2361" y="2219"/>
                    <a:pt x="2361" y="2229"/>
                  </a:cubicBezTo>
                  <a:cubicBezTo>
                    <a:pt x="2360" y="2239"/>
                    <a:pt x="2358" y="2249"/>
                    <a:pt x="2353" y="2259"/>
                  </a:cubicBezTo>
                  <a:cubicBezTo>
                    <a:pt x="2347" y="2268"/>
                    <a:pt x="2340" y="2278"/>
                    <a:pt x="2330" y="2288"/>
                  </a:cubicBezTo>
                  <a:lnTo>
                    <a:pt x="2223" y="2395"/>
                  </a:lnTo>
                  <a:close/>
                  <a:moveTo>
                    <a:pt x="2266" y="2294"/>
                  </a:moveTo>
                  <a:lnTo>
                    <a:pt x="2241" y="2269"/>
                  </a:lnTo>
                  <a:cubicBezTo>
                    <a:pt x="2233" y="2261"/>
                    <a:pt x="2226" y="2254"/>
                    <a:pt x="2219" y="2250"/>
                  </a:cubicBezTo>
                  <a:cubicBezTo>
                    <a:pt x="2211" y="2245"/>
                    <a:pt x="2204" y="2242"/>
                    <a:pt x="2198" y="2241"/>
                  </a:cubicBezTo>
                  <a:cubicBezTo>
                    <a:pt x="2191" y="2240"/>
                    <a:pt x="2185" y="2240"/>
                    <a:pt x="2180" y="2242"/>
                  </a:cubicBezTo>
                  <a:cubicBezTo>
                    <a:pt x="2174" y="2244"/>
                    <a:pt x="2169" y="2247"/>
                    <a:pt x="2164" y="2252"/>
                  </a:cubicBezTo>
                  <a:cubicBezTo>
                    <a:pt x="2156" y="2260"/>
                    <a:pt x="2152" y="2270"/>
                    <a:pt x="2152" y="2280"/>
                  </a:cubicBezTo>
                  <a:cubicBezTo>
                    <a:pt x="2153" y="2290"/>
                    <a:pt x="2158" y="2300"/>
                    <a:pt x="2167" y="2309"/>
                  </a:cubicBezTo>
                  <a:cubicBezTo>
                    <a:pt x="2175" y="2317"/>
                    <a:pt x="2184" y="2322"/>
                    <a:pt x="2194" y="2325"/>
                  </a:cubicBezTo>
                  <a:cubicBezTo>
                    <a:pt x="2205" y="2327"/>
                    <a:pt x="2217" y="2328"/>
                    <a:pt x="2233" y="2327"/>
                  </a:cubicBezTo>
                  <a:lnTo>
                    <a:pt x="2266" y="2294"/>
                  </a:lnTo>
                  <a:close/>
                  <a:moveTo>
                    <a:pt x="2404" y="2575"/>
                  </a:moveTo>
                  <a:cubicBezTo>
                    <a:pt x="2403" y="2576"/>
                    <a:pt x="2402" y="2577"/>
                    <a:pt x="2400" y="2577"/>
                  </a:cubicBezTo>
                  <a:cubicBezTo>
                    <a:pt x="2399" y="2577"/>
                    <a:pt x="2398" y="2577"/>
                    <a:pt x="2396" y="2577"/>
                  </a:cubicBezTo>
                  <a:cubicBezTo>
                    <a:pt x="2395" y="2576"/>
                    <a:pt x="2393" y="2575"/>
                    <a:pt x="2390" y="2573"/>
                  </a:cubicBezTo>
                  <a:cubicBezTo>
                    <a:pt x="2388" y="2571"/>
                    <a:pt x="2386" y="2569"/>
                    <a:pt x="2383" y="2566"/>
                  </a:cubicBezTo>
                  <a:cubicBezTo>
                    <a:pt x="2379" y="2562"/>
                    <a:pt x="2377" y="2560"/>
                    <a:pt x="2375" y="2558"/>
                  </a:cubicBezTo>
                  <a:cubicBezTo>
                    <a:pt x="2373" y="2555"/>
                    <a:pt x="2372" y="2553"/>
                    <a:pt x="2371" y="2551"/>
                  </a:cubicBezTo>
                  <a:cubicBezTo>
                    <a:pt x="2370" y="2550"/>
                    <a:pt x="2369" y="2548"/>
                    <a:pt x="2369" y="2546"/>
                  </a:cubicBezTo>
                  <a:cubicBezTo>
                    <a:pt x="2369" y="2545"/>
                    <a:pt x="2369" y="2543"/>
                    <a:pt x="2369" y="2541"/>
                  </a:cubicBezTo>
                  <a:lnTo>
                    <a:pt x="2390" y="2386"/>
                  </a:lnTo>
                  <a:lnTo>
                    <a:pt x="2302" y="2474"/>
                  </a:lnTo>
                  <a:cubicBezTo>
                    <a:pt x="2301" y="2475"/>
                    <a:pt x="2300" y="2476"/>
                    <a:pt x="2299" y="2476"/>
                  </a:cubicBezTo>
                  <a:cubicBezTo>
                    <a:pt x="2298" y="2476"/>
                    <a:pt x="2296" y="2476"/>
                    <a:pt x="2295" y="2475"/>
                  </a:cubicBezTo>
                  <a:cubicBezTo>
                    <a:pt x="2293" y="2475"/>
                    <a:pt x="2292" y="2473"/>
                    <a:pt x="2289" y="2472"/>
                  </a:cubicBezTo>
                  <a:cubicBezTo>
                    <a:pt x="2287" y="2470"/>
                    <a:pt x="2285" y="2468"/>
                    <a:pt x="2282" y="2465"/>
                  </a:cubicBezTo>
                  <a:cubicBezTo>
                    <a:pt x="2279" y="2462"/>
                    <a:pt x="2277" y="2460"/>
                    <a:pt x="2275" y="2457"/>
                  </a:cubicBezTo>
                  <a:cubicBezTo>
                    <a:pt x="2273" y="2455"/>
                    <a:pt x="2272" y="2453"/>
                    <a:pt x="2272" y="2452"/>
                  </a:cubicBezTo>
                  <a:cubicBezTo>
                    <a:pt x="2271" y="2450"/>
                    <a:pt x="2271" y="2449"/>
                    <a:pt x="2271" y="2448"/>
                  </a:cubicBezTo>
                  <a:cubicBezTo>
                    <a:pt x="2271" y="2447"/>
                    <a:pt x="2272" y="2446"/>
                    <a:pt x="2273" y="2445"/>
                  </a:cubicBezTo>
                  <a:lnTo>
                    <a:pt x="2509" y="2209"/>
                  </a:lnTo>
                  <a:cubicBezTo>
                    <a:pt x="2510" y="2208"/>
                    <a:pt x="2511" y="2207"/>
                    <a:pt x="2512" y="2207"/>
                  </a:cubicBezTo>
                  <a:cubicBezTo>
                    <a:pt x="2513" y="2207"/>
                    <a:pt x="2515" y="2207"/>
                    <a:pt x="2516" y="2207"/>
                  </a:cubicBezTo>
                  <a:cubicBezTo>
                    <a:pt x="2518" y="2208"/>
                    <a:pt x="2520" y="2209"/>
                    <a:pt x="2522" y="2211"/>
                  </a:cubicBezTo>
                  <a:cubicBezTo>
                    <a:pt x="2524" y="2212"/>
                    <a:pt x="2526" y="2215"/>
                    <a:pt x="2529" y="2218"/>
                  </a:cubicBezTo>
                  <a:cubicBezTo>
                    <a:pt x="2532" y="2221"/>
                    <a:pt x="2534" y="2223"/>
                    <a:pt x="2536" y="2225"/>
                  </a:cubicBezTo>
                  <a:cubicBezTo>
                    <a:pt x="2538" y="2227"/>
                    <a:pt x="2539" y="2229"/>
                    <a:pt x="2539" y="2231"/>
                  </a:cubicBezTo>
                  <a:cubicBezTo>
                    <a:pt x="2540" y="2232"/>
                    <a:pt x="2540" y="2234"/>
                    <a:pt x="2540" y="2235"/>
                  </a:cubicBezTo>
                  <a:cubicBezTo>
                    <a:pt x="2540" y="2236"/>
                    <a:pt x="2539" y="2237"/>
                    <a:pt x="2538" y="2238"/>
                  </a:cubicBezTo>
                  <a:lnTo>
                    <a:pt x="2394" y="2382"/>
                  </a:lnTo>
                  <a:lnTo>
                    <a:pt x="2520" y="2376"/>
                  </a:lnTo>
                  <a:cubicBezTo>
                    <a:pt x="2523" y="2376"/>
                    <a:pt x="2525" y="2376"/>
                    <a:pt x="2526" y="2376"/>
                  </a:cubicBezTo>
                  <a:cubicBezTo>
                    <a:pt x="2528" y="2376"/>
                    <a:pt x="2530" y="2377"/>
                    <a:pt x="2532" y="2378"/>
                  </a:cubicBezTo>
                  <a:cubicBezTo>
                    <a:pt x="2534" y="2379"/>
                    <a:pt x="2536" y="2380"/>
                    <a:pt x="2538" y="2382"/>
                  </a:cubicBezTo>
                  <a:cubicBezTo>
                    <a:pt x="2541" y="2384"/>
                    <a:pt x="2543" y="2386"/>
                    <a:pt x="2546" y="2389"/>
                  </a:cubicBezTo>
                  <a:cubicBezTo>
                    <a:pt x="2549" y="2392"/>
                    <a:pt x="2551" y="2394"/>
                    <a:pt x="2553" y="2397"/>
                  </a:cubicBezTo>
                  <a:cubicBezTo>
                    <a:pt x="2555" y="2399"/>
                    <a:pt x="2556" y="2401"/>
                    <a:pt x="2557" y="2402"/>
                  </a:cubicBezTo>
                  <a:cubicBezTo>
                    <a:pt x="2558" y="2404"/>
                    <a:pt x="2558" y="2405"/>
                    <a:pt x="2558" y="2407"/>
                  </a:cubicBezTo>
                  <a:cubicBezTo>
                    <a:pt x="2558" y="2408"/>
                    <a:pt x="2557" y="2409"/>
                    <a:pt x="2556" y="2410"/>
                  </a:cubicBezTo>
                  <a:cubicBezTo>
                    <a:pt x="2555" y="2411"/>
                    <a:pt x="2553" y="2412"/>
                    <a:pt x="2551" y="2413"/>
                  </a:cubicBezTo>
                  <a:cubicBezTo>
                    <a:pt x="2549" y="2414"/>
                    <a:pt x="2546" y="2414"/>
                    <a:pt x="2542" y="2414"/>
                  </a:cubicBezTo>
                  <a:lnTo>
                    <a:pt x="2427" y="2414"/>
                  </a:lnTo>
                  <a:lnTo>
                    <a:pt x="2408" y="2563"/>
                  </a:lnTo>
                  <a:cubicBezTo>
                    <a:pt x="2407" y="2566"/>
                    <a:pt x="2407" y="2569"/>
                    <a:pt x="2406" y="2571"/>
                  </a:cubicBezTo>
                  <a:cubicBezTo>
                    <a:pt x="2405" y="2573"/>
                    <a:pt x="2405" y="2574"/>
                    <a:pt x="2404" y="2575"/>
                  </a:cubicBezTo>
                  <a:close/>
                  <a:moveTo>
                    <a:pt x="2660" y="2670"/>
                  </a:moveTo>
                  <a:cubicBezTo>
                    <a:pt x="2647" y="2683"/>
                    <a:pt x="2634" y="2693"/>
                    <a:pt x="2620" y="2701"/>
                  </a:cubicBezTo>
                  <a:cubicBezTo>
                    <a:pt x="2605" y="2708"/>
                    <a:pt x="2591" y="2712"/>
                    <a:pt x="2576" y="2714"/>
                  </a:cubicBezTo>
                  <a:cubicBezTo>
                    <a:pt x="2561" y="2715"/>
                    <a:pt x="2547" y="2712"/>
                    <a:pt x="2532" y="2707"/>
                  </a:cubicBezTo>
                  <a:cubicBezTo>
                    <a:pt x="2517" y="2701"/>
                    <a:pt x="2503" y="2691"/>
                    <a:pt x="2490" y="2678"/>
                  </a:cubicBezTo>
                  <a:cubicBezTo>
                    <a:pt x="2477" y="2665"/>
                    <a:pt x="2467" y="2651"/>
                    <a:pt x="2462" y="2638"/>
                  </a:cubicBezTo>
                  <a:cubicBezTo>
                    <a:pt x="2456" y="2624"/>
                    <a:pt x="2453" y="2610"/>
                    <a:pt x="2454" y="2596"/>
                  </a:cubicBezTo>
                  <a:cubicBezTo>
                    <a:pt x="2455" y="2582"/>
                    <a:pt x="2459" y="2569"/>
                    <a:pt x="2467" y="2555"/>
                  </a:cubicBezTo>
                  <a:cubicBezTo>
                    <a:pt x="2474" y="2541"/>
                    <a:pt x="2485" y="2527"/>
                    <a:pt x="2498" y="2514"/>
                  </a:cubicBezTo>
                  <a:cubicBezTo>
                    <a:pt x="2511" y="2501"/>
                    <a:pt x="2525" y="2491"/>
                    <a:pt x="2539" y="2483"/>
                  </a:cubicBezTo>
                  <a:cubicBezTo>
                    <a:pt x="2553" y="2476"/>
                    <a:pt x="2568" y="2471"/>
                    <a:pt x="2582" y="2470"/>
                  </a:cubicBezTo>
                  <a:cubicBezTo>
                    <a:pt x="2597" y="2469"/>
                    <a:pt x="2612" y="2471"/>
                    <a:pt x="2626" y="2477"/>
                  </a:cubicBezTo>
                  <a:cubicBezTo>
                    <a:pt x="2641" y="2483"/>
                    <a:pt x="2655" y="2493"/>
                    <a:pt x="2668" y="2506"/>
                  </a:cubicBezTo>
                  <a:cubicBezTo>
                    <a:pt x="2681" y="2519"/>
                    <a:pt x="2691" y="2533"/>
                    <a:pt x="2697" y="2546"/>
                  </a:cubicBezTo>
                  <a:cubicBezTo>
                    <a:pt x="2702" y="2560"/>
                    <a:pt x="2705" y="2574"/>
                    <a:pt x="2704" y="2588"/>
                  </a:cubicBezTo>
                  <a:cubicBezTo>
                    <a:pt x="2703" y="2601"/>
                    <a:pt x="2699" y="2615"/>
                    <a:pt x="2691" y="2629"/>
                  </a:cubicBezTo>
                  <a:cubicBezTo>
                    <a:pt x="2684" y="2643"/>
                    <a:pt x="2674" y="2657"/>
                    <a:pt x="2660" y="2670"/>
                  </a:cubicBezTo>
                  <a:close/>
                  <a:moveTo>
                    <a:pt x="2628" y="2642"/>
                  </a:moveTo>
                  <a:cubicBezTo>
                    <a:pt x="2637" y="2633"/>
                    <a:pt x="2644" y="2624"/>
                    <a:pt x="2650" y="2615"/>
                  </a:cubicBezTo>
                  <a:cubicBezTo>
                    <a:pt x="2656" y="2606"/>
                    <a:pt x="2660" y="2596"/>
                    <a:pt x="2662" y="2587"/>
                  </a:cubicBezTo>
                  <a:cubicBezTo>
                    <a:pt x="2665" y="2577"/>
                    <a:pt x="2664" y="2568"/>
                    <a:pt x="2661" y="2558"/>
                  </a:cubicBezTo>
                  <a:cubicBezTo>
                    <a:pt x="2658" y="2548"/>
                    <a:pt x="2652" y="2539"/>
                    <a:pt x="2643" y="2529"/>
                  </a:cubicBezTo>
                  <a:cubicBezTo>
                    <a:pt x="2634" y="2521"/>
                    <a:pt x="2625" y="2515"/>
                    <a:pt x="2616" y="2512"/>
                  </a:cubicBezTo>
                  <a:cubicBezTo>
                    <a:pt x="2606" y="2509"/>
                    <a:pt x="2597" y="2508"/>
                    <a:pt x="2587" y="2509"/>
                  </a:cubicBezTo>
                  <a:cubicBezTo>
                    <a:pt x="2578" y="2511"/>
                    <a:pt x="2568" y="2514"/>
                    <a:pt x="2558" y="2520"/>
                  </a:cubicBezTo>
                  <a:cubicBezTo>
                    <a:pt x="2549" y="2526"/>
                    <a:pt x="2539" y="2533"/>
                    <a:pt x="2530" y="2542"/>
                  </a:cubicBezTo>
                  <a:cubicBezTo>
                    <a:pt x="2522" y="2551"/>
                    <a:pt x="2514" y="2560"/>
                    <a:pt x="2508" y="2569"/>
                  </a:cubicBezTo>
                  <a:cubicBezTo>
                    <a:pt x="2502" y="2579"/>
                    <a:pt x="2498" y="2588"/>
                    <a:pt x="2496" y="2597"/>
                  </a:cubicBezTo>
                  <a:cubicBezTo>
                    <a:pt x="2494" y="2607"/>
                    <a:pt x="2495" y="2616"/>
                    <a:pt x="2498" y="2626"/>
                  </a:cubicBezTo>
                  <a:cubicBezTo>
                    <a:pt x="2501" y="2636"/>
                    <a:pt x="2507" y="2645"/>
                    <a:pt x="2516" y="2655"/>
                  </a:cubicBezTo>
                  <a:cubicBezTo>
                    <a:pt x="2525" y="2663"/>
                    <a:pt x="2534" y="2669"/>
                    <a:pt x="2543" y="2672"/>
                  </a:cubicBezTo>
                  <a:cubicBezTo>
                    <a:pt x="2552" y="2676"/>
                    <a:pt x="2562" y="2676"/>
                    <a:pt x="2571" y="2675"/>
                  </a:cubicBezTo>
                  <a:cubicBezTo>
                    <a:pt x="2581" y="2673"/>
                    <a:pt x="2591" y="2670"/>
                    <a:pt x="2600" y="2664"/>
                  </a:cubicBezTo>
                  <a:cubicBezTo>
                    <a:pt x="2610" y="2658"/>
                    <a:pt x="2619" y="2651"/>
                    <a:pt x="2628" y="2642"/>
                  </a:cubicBezTo>
                  <a:close/>
                  <a:moveTo>
                    <a:pt x="3006" y="2859"/>
                  </a:moveTo>
                  <a:cubicBezTo>
                    <a:pt x="3005" y="2860"/>
                    <a:pt x="3004" y="2860"/>
                    <a:pt x="3002" y="2861"/>
                  </a:cubicBezTo>
                  <a:cubicBezTo>
                    <a:pt x="3001" y="2862"/>
                    <a:pt x="2999" y="2863"/>
                    <a:pt x="2996" y="2865"/>
                  </a:cubicBezTo>
                  <a:lnTo>
                    <a:pt x="2798" y="2969"/>
                  </a:lnTo>
                  <a:cubicBezTo>
                    <a:pt x="2797" y="2970"/>
                    <a:pt x="2795" y="2970"/>
                    <a:pt x="2794" y="2970"/>
                  </a:cubicBezTo>
                  <a:cubicBezTo>
                    <a:pt x="2792" y="2970"/>
                    <a:pt x="2790" y="2970"/>
                    <a:pt x="2789" y="2969"/>
                  </a:cubicBezTo>
                  <a:cubicBezTo>
                    <a:pt x="2787" y="2968"/>
                    <a:pt x="2785" y="2967"/>
                    <a:pt x="2782" y="2965"/>
                  </a:cubicBezTo>
                  <a:cubicBezTo>
                    <a:pt x="2779" y="2962"/>
                    <a:pt x="2776" y="2959"/>
                    <a:pt x="2773" y="2956"/>
                  </a:cubicBezTo>
                  <a:cubicBezTo>
                    <a:pt x="2769" y="2952"/>
                    <a:pt x="2766" y="2949"/>
                    <a:pt x="2764" y="2946"/>
                  </a:cubicBezTo>
                  <a:cubicBezTo>
                    <a:pt x="2762" y="2944"/>
                    <a:pt x="2760" y="2941"/>
                    <a:pt x="2759" y="2939"/>
                  </a:cubicBezTo>
                  <a:cubicBezTo>
                    <a:pt x="2758" y="2937"/>
                    <a:pt x="2758" y="2936"/>
                    <a:pt x="2758" y="2934"/>
                  </a:cubicBezTo>
                  <a:cubicBezTo>
                    <a:pt x="2758" y="2933"/>
                    <a:pt x="2758" y="2931"/>
                    <a:pt x="2759" y="2930"/>
                  </a:cubicBezTo>
                  <a:lnTo>
                    <a:pt x="2841" y="2781"/>
                  </a:lnTo>
                  <a:lnTo>
                    <a:pt x="2843" y="2779"/>
                  </a:lnTo>
                  <a:lnTo>
                    <a:pt x="2841" y="2780"/>
                  </a:lnTo>
                  <a:lnTo>
                    <a:pt x="2694" y="2865"/>
                  </a:lnTo>
                  <a:cubicBezTo>
                    <a:pt x="2693" y="2866"/>
                    <a:pt x="2691" y="2866"/>
                    <a:pt x="2689" y="2866"/>
                  </a:cubicBezTo>
                  <a:cubicBezTo>
                    <a:pt x="2688" y="2866"/>
                    <a:pt x="2686" y="2866"/>
                    <a:pt x="2684" y="2865"/>
                  </a:cubicBezTo>
                  <a:cubicBezTo>
                    <a:pt x="2682" y="2864"/>
                    <a:pt x="2680" y="2862"/>
                    <a:pt x="2677" y="2860"/>
                  </a:cubicBezTo>
                  <a:cubicBezTo>
                    <a:pt x="2674" y="2857"/>
                    <a:pt x="2671" y="2854"/>
                    <a:pt x="2668" y="2851"/>
                  </a:cubicBezTo>
                  <a:cubicBezTo>
                    <a:pt x="2664" y="2847"/>
                    <a:pt x="2661" y="2844"/>
                    <a:pt x="2659" y="2842"/>
                  </a:cubicBezTo>
                  <a:cubicBezTo>
                    <a:pt x="2657" y="2839"/>
                    <a:pt x="2656" y="2837"/>
                    <a:pt x="2655" y="2835"/>
                  </a:cubicBezTo>
                  <a:cubicBezTo>
                    <a:pt x="2654" y="2833"/>
                    <a:pt x="2653" y="2831"/>
                    <a:pt x="2653" y="2830"/>
                  </a:cubicBezTo>
                  <a:cubicBezTo>
                    <a:pt x="2653" y="2828"/>
                    <a:pt x="2654" y="2827"/>
                    <a:pt x="2655" y="2825"/>
                  </a:cubicBezTo>
                  <a:lnTo>
                    <a:pt x="2759" y="2628"/>
                  </a:lnTo>
                  <a:cubicBezTo>
                    <a:pt x="2761" y="2625"/>
                    <a:pt x="2762" y="2623"/>
                    <a:pt x="2763" y="2622"/>
                  </a:cubicBezTo>
                  <a:cubicBezTo>
                    <a:pt x="2764" y="2620"/>
                    <a:pt x="2764" y="2619"/>
                    <a:pt x="2765" y="2618"/>
                  </a:cubicBezTo>
                  <a:cubicBezTo>
                    <a:pt x="2766" y="2617"/>
                    <a:pt x="2767" y="2617"/>
                    <a:pt x="2769" y="2617"/>
                  </a:cubicBezTo>
                  <a:cubicBezTo>
                    <a:pt x="2770" y="2616"/>
                    <a:pt x="2771" y="2617"/>
                    <a:pt x="2773" y="2617"/>
                  </a:cubicBezTo>
                  <a:cubicBezTo>
                    <a:pt x="2774" y="2618"/>
                    <a:pt x="2776" y="2619"/>
                    <a:pt x="2778" y="2621"/>
                  </a:cubicBezTo>
                  <a:cubicBezTo>
                    <a:pt x="2780" y="2623"/>
                    <a:pt x="2782" y="2625"/>
                    <a:pt x="2785" y="2628"/>
                  </a:cubicBezTo>
                  <a:cubicBezTo>
                    <a:pt x="2788" y="2631"/>
                    <a:pt x="2791" y="2634"/>
                    <a:pt x="2793" y="2636"/>
                  </a:cubicBezTo>
                  <a:cubicBezTo>
                    <a:pt x="2794" y="2638"/>
                    <a:pt x="2796" y="2640"/>
                    <a:pt x="2796" y="2642"/>
                  </a:cubicBezTo>
                  <a:cubicBezTo>
                    <a:pt x="2797" y="2643"/>
                    <a:pt x="2797" y="2644"/>
                    <a:pt x="2797" y="2646"/>
                  </a:cubicBezTo>
                  <a:cubicBezTo>
                    <a:pt x="2797" y="2647"/>
                    <a:pt x="2796" y="2648"/>
                    <a:pt x="2795" y="2650"/>
                  </a:cubicBezTo>
                  <a:lnTo>
                    <a:pt x="2703" y="2819"/>
                  </a:lnTo>
                  <a:lnTo>
                    <a:pt x="2701" y="2821"/>
                  </a:lnTo>
                  <a:lnTo>
                    <a:pt x="2703" y="2820"/>
                  </a:lnTo>
                  <a:lnTo>
                    <a:pt x="2870" y="2724"/>
                  </a:lnTo>
                  <a:cubicBezTo>
                    <a:pt x="2871" y="2723"/>
                    <a:pt x="2872" y="2722"/>
                    <a:pt x="2873" y="2722"/>
                  </a:cubicBezTo>
                  <a:cubicBezTo>
                    <a:pt x="2875" y="2722"/>
                    <a:pt x="2876" y="2722"/>
                    <a:pt x="2878" y="2723"/>
                  </a:cubicBezTo>
                  <a:cubicBezTo>
                    <a:pt x="2879" y="2724"/>
                    <a:pt x="2881" y="2725"/>
                    <a:pt x="2883" y="2726"/>
                  </a:cubicBezTo>
                  <a:cubicBezTo>
                    <a:pt x="2885" y="2728"/>
                    <a:pt x="2887" y="2730"/>
                    <a:pt x="2890" y="2733"/>
                  </a:cubicBezTo>
                  <a:cubicBezTo>
                    <a:pt x="2893" y="2736"/>
                    <a:pt x="2895" y="2738"/>
                    <a:pt x="2897" y="2740"/>
                  </a:cubicBezTo>
                  <a:cubicBezTo>
                    <a:pt x="2899" y="2742"/>
                    <a:pt x="2900" y="2744"/>
                    <a:pt x="2900" y="2746"/>
                  </a:cubicBezTo>
                  <a:cubicBezTo>
                    <a:pt x="2901" y="2747"/>
                    <a:pt x="2901" y="2748"/>
                    <a:pt x="2901" y="2750"/>
                  </a:cubicBezTo>
                  <a:cubicBezTo>
                    <a:pt x="2901" y="2751"/>
                    <a:pt x="2900" y="2752"/>
                    <a:pt x="2900" y="2753"/>
                  </a:cubicBezTo>
                  <a:lnTo>
                    <a:pt x="2806" y="2923"/>
                  </a:lnTo>
                  <a:lnTo>
                    <a:pt x="2805" y="2925"/>
                  </a:lnTo>
                  <a:lnTo>
                    <a:pt x="2807" y="2923"/>
                  </a:lnTo>
                  <a:lnTo>
                    <a:pt x="2976" y="2830"/>
                  </a:lnTo>
                  <a:cubicBezTo>
                    <a:pt x="2977" y="2829"/>
                    <a:pt x="2978" y="2829"/>
                    <a:pt x="2980" y="2828"/>
                  </a:cubicBezTo>
                  <a:cubicBezTo>
                    <a:pt x="2981" y="2828"/>
                    <a:pt x="2982" y="2828"/>
                    <a:pt x="2984" y="2829"/>
                  </a:cubicBezTo>
                  <a:cubicBezTo>
                    <a:pt x="2985" y="2830"/>
                    <a:pt x="2987" y="2831"/>
                    <a:pt x="2989" y="2833"/>
                  </a:cubicBezTo>
                  <a:cubicBezTo>
                    <a:pt x="2991" y="2835"/>
                    <a:pt x="2994" y="2837"/>
                    <a:pt x="2997" y="2840"/>
                  </a:cubicBezTo>
                  <a:cubicBezTo>
                    <a:pt x="3000" y="2843"/>
                    <a:pt x="3002" y="2845"/>
                    <a:pt x="3004" y="2847"/>
                  </a:cubicBezTo>
                  <a:cubicBezTo>
                    <a:pt x="3005" y="2849"/>
                    <a:pt x="3006" y="2850"/>
                    <a:pt x="3007" y="2852"/>
                  </a:cubicBezTo>
                  <a:cubicBezTo>
                    <a:pt x="3007" y="2853"/>
                    <a:pt x="3008" y="2855"/>
                    <a:pt x="3007" y="2856"/>
                  </a:cubicBezTo>
                  <a:cubicBezTo>
                    <a:pt x="3007" y="2857"/>
                    <a:pt x="3007" y="2858"/>
                    <a:pt x="3006" y="2859"/>
                  </a:cubicBezTo>
                  <a:close/>
                  <a:moveTo>
                    <a:pt x="3003" y="3176"/>
                  </a:moveTo>
                  <a:cubicBezTo>
                    <a:pt x="3002" y="3177"/>
                    <a:pt x="3000" y="3178"/>
                    <a:pt x="2999" y="3178"/>
                  </a:cubicBezTo>
                  <a:cubicBezTo>
                    <a:pt x="2997" y="3177"/>
                    <a:pt x="2995" y="3177"/>
                    <a:pt x="2993" y="3175"/>
                  </a:cubicBezTo>
                  <a:cubicBezTo>
                    <a:pt x="2991" y="3174"/>
                    <a:pt x="2989" y="3172"/>
                    <a:pt x="2986" y="3169"/>
                  </a:cubicBezTo>
                  <a:cubicBezTo>
                    <a:pt x="2982" y="3166"/>
                    <a:pt x="2980" y="3163"/>
                    <a:pt x="2979" y="3161"/>
                  </a:cubicBezTo>
                  <a:cubicBezTo>
                    <a:pt x="2977" y="3159"/>
                    <a:pt x="2976" y="3157"/>
                    <a:pt x="2976" y="3155"/>
                  </a:cubicBezTo>
                  <a:cubicBezTo>
                    <a:pt x="2976" y="3154"/>
                    <a:pt x="2977" y="3152"/>
                    <a:pt x="2978" y="3151"/>
                  </a:cubicBezTo>
                  <a:lnTo>
                    <a:pt x="2994" y="3135"/>
                  </a:lnTo>
                  <a:cubicBezTo>
                    <a:pt x="2980" y="3135"/>
                    <a:pt x="2966" y="3133"/>
                    <a:pt x="2954" y="3129"/>
                  </a:cubicBezTo>
                  <a:cubicBezTo>
                    <a:pt x="2941" y="3125"/>
                    <a:pt x="2930" y="3118"/>
                    <a:pt x="2920" y="3108"/>
                  </a:cubicBezTo>
                  <a:cubicBezTo>
                    <a:pt x="2912" y="3100"/>
                    <a:pt x="2905" y="3091"/>
                    <a:pt x="2901" y="3082"/>
                  </a:cubicBezTo>
                  <a:cubicBezTo>
                    <a:pt x="2896" y="3073"/>
                    <a:pt x="2894" y="3064"/>
                    <a:pt x="2893" y="3055"/>
                  </a:cubicBezTo>
                  <a:cubicBezTo>
                    <a:pt x="2892" y="3046"/>
                    <a:pt x="2894" y="3038"/>
                    <a:pt x="2897" y="3029"/>
                  </a:cubicBezTo>
                  <a:cubicBezTo>
                    <a:pt x="2900" y="3020"/>
                    <a:pt x="2906" y="3012"/>
                    <a:pt x="2914" y="3004"/>
                  </a:cubicBezTo>
                  <a:cubicBezTo>
                    <a:pt x="2923" y="2995"/>
                    <a:pt x="2932" y="2989"/>
                    <a:pt x="2942" y="2987"/>
                  </a:cubicBezTo>
                  <a:cubicBezTo>
                    <a:pt x="2953" y="2984"/>
                    <a:pt x="2963" y="2983"/>
                    <a:pt x="2975" y="2986"/>
                  </a:cubicBezTo>
                  <a:cubicBezTo>
                    <a:pt x="2986" y="2988"/>
                    <a:pt x="2997" y="2993"/>
                    <a:pt x="3009" y="3001"/>
                  </a:cubicBezTo>
                  <a:cubicBezTo>
                    <a:pt x="3022" y="3009"/>
                    <a:pt x="3034" y="3019"/>
                    <a:pt x="3046" y="3031"/>
                  </a:cubicBezTo>
                  <a:lnTo>
                    <a:pt x="3068" y="3053"/>
                  </a:lnTo>
                  <a:lnTo>
                    <a:pt x="3080" y="3041"/>
                  </a:lnTo>
                  <a:cubicBezTo>
                    <a:pt x="3087" y="3035"/>
                    <a:pt x="3091" y="3029"/>
                    <a:pt x="3095" y="3023"/>
                  </a:cubicBezTo>
                  <a:cubicBezTo>
                    <a:pt x="3098" y="3017"/>
                    <a:pt x="3100" y="3011"/>
                    <a:pt x="3100" y="3005"/>
                  </a:cubicBezTo>
                  <a:cubicBezTo>
                    <a:pt x="3100" y="2999"/>
                    <a:pt x="3099" y="2992"/>
                    <a:pt x="3096" y="2986"/>
                  </a:cubicBezTo>
                  <a:cubicBezTo>
                    <a:pt x="3093" y="2980"/>
                    <a:pt x="3088" y="2974"/>
                    <a:pt x="3082" y="2967"/>
                  </a:cubicBezTo>
                  <a:cubicBezTo>
                    <a:pt x="3074" y="2960"/>
                    <a:pt x="3067" y="2954"/>
                    <a:pt x="3060" y="2950"/>
                  </a:cubicBezTo>
                  <a:cubicBezTo>
                    <a:pt x="3052" y="2946"/>
                    <a:pt x="3045" y="2943"/>
                    <a:pt x="3039" y="2941"/>
                  </a:cubicBezTo>
                  <a:cubicBezTo>
                    <a:pt x="3033" y="2939"/>
                    <a:pt x="3027" y="2937"/>
                    <a:pt x="3022" y="2936"/>
                  </a:cubicBezTo>
                  <a:cubicBezTo>
                    <a:pt x="3018" y="2934"/>
                    <a:pt x="3015" y="2933"/>
                    <a:pt x="3013" y="2932"/>
                  </a:cubicBezTo>
                  <a:cubicBezTo>
                    <a:pt x="3013" y="2931"/>
                    <a:pt x="3012" y="2930"/>
                    <a:pt x="3012" y="2929"/>
                  </a:cubicBezTo>
                  <a:cubicBezTo>
                    <a:pt x="3011" y="2927"/>
                    <a:pt x="3012" y="2926"/>
                    <a:pt x="3012" y="2925"/>
                  </a:cubicBezTo>
                  <a:cubicBezTo>
                    <a:pt x="3012" y="2923"/>
                    <a:pt x="3013" y="2922"/>
                    <a:pt x="3014" y="2920"/>
                  </a:cubicBezTo>
                  <a:cubicBezTo>
                    <a:pt x="3016" y="2918"/>
                    <a:pt x="3017" y="2916"/>
                    <a:pt x="3019" y="2915"/>
                  </a:cubicBezTo>
                  <a:cubicBezTo>
                    <a:pt x="3022" y="2912"/>
                    <a:pt x="3024" y="2910"/>
                    <a:pt x="3027" y="2908"/>
                  </a:cubicBezTo>
                  <a:cubicBezTo>
                    <a:pt x="3029" y="2907"/>
                    <a:pt x="3031" y="2906"/>
                    <a:pt x="3034" y="2906"/>
                  </a:cubicBezTo>
                  <a:cubicBezTo>
                    <a:pt x="3038" y="2906"/>
                    <a:pt x="3042" y="2907"/>
                    <a:pt x="3048" y="2909"/>
                  </a:cubicBezTo>
                  <a:cubicBezTo>
                    <a:pt x="3054" y="2911"/>
                    <a:pt x="3060" y="2914"/>
                    <a:pt x="3067" y="2917"/>
                  </a:cubicBezTo>
                  <a:cubicBezTo>
                    <a:pt x="3074" y="2920"/>
                    <a:pt x="3081" y="2924"/>
                    <a:pt x="3088" y="2929"/>
                  </a:cubicBezTo>
                  <a:cubicBezTo>
                    <a:pt x="3095" y="2934"/>
                    <a:pt x="3102" y="2940"/>
                    <a:pt x="3108" y="2946"/>
                  </a:cubicBezTo>
                  <a:cubicBezTo>
                    <a:pt x="3119" y="2957"/>
                    <a:pt x="3128" y="2968"/>
                    <a:pt x="3133" y="2979"/>
                  </a:cubicBezTo>
                  <a:cubicBezTo>
                    <a:pt x="3139" y="2990"/>
                    <a:pt x="3141" y="3000"/>
                    <a:pt x="3141" y="3010"/>
                  </a:cubicBezTo>
                  <a:cubicBezTo>
                    <a:pt x="3141" y="3020"/>
                    <a:pt x="3138" y="3030"/>
                    <a:pt x="3133" y="3039"/>
                  </a:cubicBezTo>
                  <a:cubicBezTo>
                    <a:pt x="3128" y="3049"/>
                    <a:pt x="3121" y="3059"/>
                    <a:pt x="3111" y="3069"/>
                  </a:cubicBezTo>
                  <a:lnTo>
                    <a:pt x="3003" y="3176"/>
                  </a:lnTo>
                  <a:close/>
                  <a:moveTo>
                    <a:pt x="3047" y="3074"/>
                  </a:moveTo>
                  <a:lnTo>
                    <a:pt x="3022" y="3049"/>
                  </a:lnTo>
                  <a:cubicBezTo>
                    <a:pt x="3014" y="3041"/>
                    <a:pt x="3006" y="3035"/>
                    <a:pt x="2999" y="3030"/>
                  </a:cubicBezTo>
                  <a:cubicBezTo>
                    <a:pt x="2992" y="3026"/>
                    <a:pt x="2985" y="3023"/>
                    <a:pt x="2979" y="3022"/>
                  </a:cubicBezTo>
                  <a:cubicBezTo>
                    <a:pt x="2972" y="3021"/>
                    <a:pt x="2966" y="3021"/>
                    <a:pt x="2960" y="3023"/>
                  </a:cubicBezTo>
                  <a:cubicBezTo>
                    <a:pt x="2955" y="3025"/>
                    <a:pt x="2950" y="3028"/>
                    <a:pt x="2945" y="3033"/>
                  </a:cubicBezTo>
                  <a:cubicBezTo>
                    <a:pt x="2937" y="3041"/>
                    <a:pt x="2933" y="3050"/>
                    <a:pt x="2933" y="3060"/>
                  </a:cubicBezTo>
                  <a:cubicBezTo>
                    <a:pt x="2933" y="3071"/>
                    <a:pt x="2938" y="3080"/>
                    <a:pt x="2948" y="3090"/>
                  </a:cubicBezTo>
                  <a:cubicBezTo>
                    <a:pt x="2955" y="3097"/>
                    <a:pt x="2964" y="3103"/>
                    <a:pt x="2975" y="3105"/>
                  </a:cubicBezTo>
                  <a:cubicBezTo>
                    <a:pt x="2985" y="3108"/>
                    <a:pt x="2998" y="3109"/>
                    <a:pt x="3013" y="3108"/>
                  </a:cubicBezTo>
                  <a:lnTo>
                    <a:pt x="3047" y="3074"/>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87" name="Freeform 134"/>
            <p:cNvSpPr>
              <a:spLocks noEditPoints="1"/>
            </p:cNvSpPr>
            <p:nvPr/>
          </p:nvSpPr>
          <p:spPr bwMode="auto">
            <a:xfrm>
              <a:off x="475" y="2370"/>
              <a:ext cx="180" cy="173"/>
            </a:xfrm>
            <a:custGeom>
              <a:avLst/>
              <a:gdLst>
                <a:gd name="T0" fmla="*/ 139 w 1700"/>
                <a:gd name="T1" fmla="*/ 369 h 1637"/>
                <a:gd name="T2" fmla="*/ 32 w 1700"/>
                <a:gd name="T3" fmla="*/ 252 h 1637"/>
                <a:gd name="T4" fmla="*/ 1 w 1700"/>
                <a:gd name="T5" fmla="*/ 229 h 1637"/>
                <a:gd name="T6" fmla="*/ 234 w 1700"/>
                <a:gd name="T7" fmla="*/ 5 h 1637"/>
                <a:gd name="T8" fmla="*/ 160 w 1700"/>
                <a:gd name="T9" fmla="*/ 124 h 1637"/>
                <a:gd name="T10" fmla="*/ 377 w 1700"/>
                <a:gd name="T11" fmla="*/ 146 h 1637"/>
                <a:gd name="T12" fmla="*/ 454 w 1700"/>
                <a:gd name="T13" fmla="*/ 511 h 1637"/>
                <a:gd name="T14" fmla="*/ 248 w 1700"/>
                <a:gd name="T15" fmla="*/ 438 h 1637"/>
                <a:gd name="T16" fmla="*/ 461 w 1700"/>
                <a:gd name="T17" fmla="*/ 348 h 1637"/>
                <a:gd name="T18" fmla="*/ 443 w 1700"/>
                <a:gd name="T19" fmla="*/ 456 h 1637"/>
                <a:gd name="T20" fmla="*/ 352 w 1700"/>
                <a:gd name="T21" fmla="*/ 361 h 1637"/>
                <a:gd name="T22" fmla="*/ 336 w 1700"/>
                <a:gd name="T23" fmla="*/ 514 h 1637"/>
                <a:gd name="T24" fmla="*/ 647 w 1700"/>
                <a:gd name="T25" fmla="*/ 591 h 1637"/>
                <a:gd name="T26" fmla="*/ 624 w 1700"/>
                <a:gd name="T27" fmla="*/ 565 h 1637"/>
                <a:gd name="T28" fmla="*/ 443 w 1700"/>
                <a:gd name="T29" fmla="*/ 668 h 1637"/>
                <a:gd name="T30" fmla="*/ 415 w 1700"/>
                <a:gd name="T31" fmla="*/ 640 h 1637"/>
                <a:gd name="T32" fmla="*/ 595 w 1700"/>
                <a:gd name="T33" fmla="*/ 486 h 1637"/>
                <a:gd name="T34" fmla="*/ 607 w 1700"/>
                <a:gd name="T35" fmla="*/ 524 h 1637"/>
                <a:gd name="T36" fmla="*/ 668 w 1700"/>
                <a:gd name="T37" fmla="*/ 560 h 1637"/>
                <a:gd name="T38" fmla="*/ 672 w 1700"/>
                <a:gd name="T39" fmla="*/ 892 h 1637"/>
                <a:gd name="T40" fmla="*/ 639 w 1700"/>
                <a:gd name="T41" fmla="*/ 868 h 1637"/>
                <a:gd name="T42" fmla="*/ 563 w 1700"/>
                <a:gd name="T43" fmla="*/ 792 h 1637"/>
                <a:gd name="T44" fmla="*/ 541 w 1700"/>
                <a:gd name="T45" fmla="*/ 761 h 1637"/>
                <a:gd name="T46" fmla="*/ 804 w 1700"/>
                <a:gd name="T47" fmla="*/ 542 h 1637"/>
                <a:gd name="T48" fmla="*/ 795 w 1700"/>
                <a:gd name="T49" fmla="*/ 692 h 1637"/>
                <a:gd name="T50" fmla="*/ 826 w 1700"/>
                <a:gd name="T51" fmla="*/ 723 h 1637"/>
                <a:gd name="T52" fmla="*/ 674 w 1700"/>
                <a:gd name="T53" fmla="*/ 887 h 1637"/>
                <a:gd name="T54" fmla="*/ 806 w 1700"/>
                <a:gd name="T55" fmla="*/ 1036 h 1637"/>
                <a:gd name="T56" fmla="*/ 728 w 1700"/>
                <a:gd name="T57" fmla="*/ 957 h 1637"/>
                <a:gd name="T58" fmla="*/ 837 w 1700"/>
                <a:gd name="T59" fmla="*/ 876 h 1637"/>
                <a:gd name="T60" fmla="*/ 923 w 1700"/>
                <a:gd name="T61" fmla="*/ 862 h 1637"/>
                <a:gd name="T62" fmla="*/ 839 w 1700"/>
                <a:gd name="T63" fmla="*/ 804 h 1637"/>
                <a:gd name="T64" fmla="*/ 875 w 1700"/>
                <a:gd name="T65" fmla="*/ 784 h 1637"/>
                <a:gd name="T66" fmla="*/ 960 w 1700"/>
                <a:gd name="T67" fmla="*/ 914 h 1637"/>
                <a:gd name="T68" fmla="*/ 806 w 1700"/>
                <a:gd name="T69" fmla="*/ 897 h 1637"/>
                <a:gd name="T70" fmla="*/ 840 w 1700"/>
                <a:gd name="T71" fmla="*/ 983 h 1637"/>
                <a:gd name="T72" fmla="*/ 1107 w 1700"/>
                <a:gd name="T73" fmla="*/ 1339 h 1637"/>
                <a:gd name="T74" fmla="*/ 1095 w 1700"/>
                <a:gd name="T75" fmla="*/ 1112 h 1637"/>
                <a:gd name="T76" fmla="*/ 966 w 1700"/>
                <a:gd name="T77" fmla="*/ 1196 h 1637"/>
                <a:gd name="T78" fmla="*/ 1190 w 1700"/>
                <a:gd name="T79" fmla="*/ 963 h 1637"/>
                <a:gd name="T80" fmla="*/ 1213 w 1700"/>
                <a:gd name="T81" fmla="*/ 994 h 1637"/>
                <a:gd name="T82" fmla="*/ 1330 w 1700"/>
                <a:gd name="T83" fmla="*/ 1101 h 1637"/>
                <a:gd name="T84" fmla="*/ 1128 w 1700"/>
                <a:gd name="T85" fmla="*/ 1348 h 1637"/>
                <a:gd name="T86" fmla="*/ 1244 w 1700"/>
                <a:gd name="T87" fmla="*/ 1476 h 1637"/>
                <a:gd name="T88" fmla="*/ 1205 w 1700"/>
                <a:gd name="T89" fmla="*/ 1433 h 1637"/>
                <a:gd name="T90" fmla="*/ 1186 w 1700"/>
                <a:gd name="T91" fmla="*/ 1406 h 1637"/>
                <a:gd name="T92" fmla="*/ 1449 w 1700"/>
                <a:gd name="T93" fmla="*/ 1187 h 1637"/>
                <a:gd name="T94" fmla="*/ 1403 w 1700"/>
                <a:gd name="T95" fmla="*/ 1301 h 1637"/>
                <a:gd name="T96" fmla="*/ 1414 w 1700"/>
                <a:gd name="T97" fmla="*/ 1471 h 1637"/>
                <a:gd name="T98" fmla="*/ 1392 w 1700"/>
                <a:gd name="T99" fmla="*/ 1331 h 1637"/>
                <a:gd name="T100" fmla="*/ 1279 w 1700"/>
                <a:gd name="T101" fmla="*/ 1464 h 1637"/>
                <a:gd name="T102" fmla="*/ 1684 w 1700"/>
                <a:gd name="T103" fmla="*/ 1466 h 1637"/>
                <a:gd name="T104" fmla="*/ 1666 w 1700"/>
                <a:gd name="T105" fmla="*/ 1450 h 1637"/>
                <a:gd name="T106" fmla="*/ 1579 w 1700"/>
                <a:gd name="T107" fmla="*/ 1472 h 1637"/>
                <a:gd name="T108" fmla="*/ 1597 w 1700"/>
                <a:gd name="T109" fmla="*/ 1533 h 1637"/>
                <a:gd name="T110" fmla="*/ 1403 w 1700"/>
                <a:gd name="T111" fmla="*/ 1633 h 1637"/>
                <a:gd name="T112" fmla="*/ 1525 w 1700"/>
                <a:gd name="T113" fmla="*/ 1467 h 1637"/>
                <a:gd name="T114" fmla="*/ 1524 w 1700"/>
                <a:gd name="T115" fmla="*/ 1418 h 1637"/>
                <a:gd name="T116" fmla="*/ 1654 w 1700"/>
                <a:gd name="T117" fmla="*/ 1395 h 1637"/>
                <a:gd name="T118" fmla="*/ 1696 w 1700"/>
                <a:gd name="T119" fmla="*/ 1455 h 1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0" h="1637">
                  <a:moveTo>
                    <a:pt x="166" y="386"/>
                  </a:moveTo>
                  <a:cubicBezTo>
                    <a:pt x="165" y="387"/>
                    <a:pt x="164" y="388"/>
                    <a:pt x="163" y="388"/>
                  </a:cubicBezTo>
                  <a:cubicBezTo>
                    <a:pt x="162" y="388"/>
                    <a:pt x="161" y="388"/>
                    <a:pt x="159" y="387"/>
                  </a:cubicBezTo>
                  <a:cubicBezTo>
                    <a:pt x="157" y="386"/>
                    <a:pt x="156" y="385"/>
                    <a:pt x="153" y="384"/>
                  </a:cubicBezTo>
                  <a:cubicBezTo>
                    <a:pt x="151" y="382"/>
                    <a:pt x="149" y="380"/>
                    <a:pt x="146" y="377"/>
                  </a:cubicBezTo>
                  <a:cubicBezTo>
                    <a:pt x="143" y="374"/>
                    <a:pt x="140" y="371"/>
                    <a:pt x="139" y="369"/>
                  </a:cubicBezTo>
                  <a:cubicBezTo>
                    <a:pt x="137" y="367"/>
                    <a:pt x="136" y="365"/>
                    <a:pt x="135" y="363"/>
                  </a:cubicBezTo>
                  <a:cubicBezTo>
                    <a:pt x="134" y="362"/>
                    <a:pt x="134" y="360"/>
                    <a:pt x="134" y="359"/>
                  </a:cubicBezTo>
                  <a:cubicBezTo>
                    <a:pt x="135" y="358"/>
                    <a:pt x="135" y="357"/>
                    <a:pt x="136" y="356"/>
                  </a:cubicBezTo>
                  <a:lnTo>
                    <a:pt x="238" y="255"/>
                  </a:lnTo>
                  <a:lnTo>
                    <a:pt x="134" y="150"/>
                  </a:lnTo>
                  <a:lnTo>
                    <a:pt x="32" y="252"/>
                  </a:lnTo>
                  <a:cubicBezTo>
                    <a:pt x="31" y="253"/>
                    <a:pt x="30" y="253"/>
                    <a:pt x="29" y="254"/>
                  </a:cubicBezTo>
                  <a:cubicBezTo>
                    <a:pt x="28" y="254"/>
                    <a:pt x="26" y="254"/>
                    <a:pt x="25" y="253"/>
                  </a:cubicBezTo>
                  <a:cubicBezTo>
                    <a:pt x="23" y="252"/>
                    <a:pt x="21" y="251"/>
                    <a:pt x="19" y="249"/>
                  </a:cubicBezTo>
                  <a:cubicBezTo>
                    <a:pt x="17" y="248"/>
                    <a:pt x="14" y="245"/>
                    <a:pt x="11" y="242"/>
                  </a:cubicBezTo>
                  <a:cubicBezTo>
                    <a:pt x="8" y="240"/>
                    <a:pt x="6" y="237"/>
                    <a:pt x="4" y="235"/>
                  </a:cubicBezTo>
                  <a:cubicBezTo>
                    <a:pt x="3" y="232"/>
                    <a:pt x="1" y="230"/>
                    <a:pt x="1" y="229"/>
                  </a:cubicBezTo>
                  <a:cubicBezTo>
                    <a:pt x="0" y="227"/>
                    <a:pt x="0" y="226"/>
                    <a:pt x="0" y="225"/>
                  </a:cubicBezTo>
                  <a:cubicBezTo>
                    <a:pt x="0" y="224"/>
                    <a:pt x="1" y="222"/>
                    <a:pt x="2" y="222"/>
                  </a:cubicBezTo>
                  <a:lnTo>
                    <a:pt x="221" y="2"/>
                  </a:lnTo>
                  <a:cubicBezTo>
                    <a:pt x="222" y="1"/>
                    <a:pt x="223" y="0"/>
                    <a:pt x="224" y="0"/>
                  </a:cubicBezTo>
                  <a:cubicBezTo>
                    <a:pt x="226" y="0"/>
                    <a:pt x="227" y="0"/>
                    <a:pt x="229" y="1"/>
                  </a:cubicBezTo>
                  <a:cubicBezTo>
                    <a:pt x="230" y="2"/>
                    <a:pt x="232" y="3"/>
                    <a:pt x="234" y="5"/>
                  </a:cubicBezTo>
                  <a:cubicBezTo>
                    <a:pt x="237" y="6"/>
                    <a:pt x="239" y="9"/>
                    <a:pt x="242" y="12"/>
                  </a:cubicBezTo>
                  <a:cubicBezTo>
                    <a:pt x="245" y="14"/>
                    <a:pt x="247" y="17"/>
                    <a:pt x="249" y="19"/>
                  </a:cubicBezTo>
                  <a:cubicBezTo>
                    <a:pt x="251" y="22"/>
                    <a:pt x="252" y="23"/>
                    <a:pt x="253" y="25"/>
                  </a:cubicBezTo>
                  <a:cubicBezTo>
                    <a:pt x="253" y="27"/>
                    <a:pt x="254" y="28"/>
                    <a:pt x="253" y="29"/>
                  </a:cubicBezTo>
                  <a:cubicBezTo>
                    <a:pt x="253" y="30"/>
                    <a:pt x="253" y="31"/>
                    <a:pt x="252" y="32"/>
                  </a:cubicBezTo>
                  <a:lnTo>
                    <a:pt x="160" y="124"/>
                  </a:lnTo>
                  <a:lnTo>
                    <a:pt x="264" y="228"/>
                  </a:lnTo>
                  <a:lnTo>
                    <a:pt x="356" y="136"/>
                  </a:lnTo>
                  <a:cubicBezTo>
                    <a:pt x="357" y="136"/>
                    <a:pt x="358" y="135"/>
                    <a:pt x="359" y="135"/>
                  </a:cubicBezTo>
                  <a:cubicBezTo>
                    <a:pt x="360" y="134"/>
                    <a:pt x="361" y="135"/>
                    <a:pt x="363" y="136"/>
                  </a:cubicBezTo>
                  <a:cubicBezTo>
                    <a:pt x="365" y="136"/>
                    <a:pt x="367" y="137"/>
                    <a:pt x="369" y="139"/>
                  </a:cubicBezTo>
                  <a:cubicBezTo>
                    <a:pt x="371" y="141"/>
                    <a:pt x="374" y="143"/>
                    <a:pt x="377" y="146"/>
                  </a:cubicBezTo>
                  <a:cubicBezTo>
                    <a:pt x="379" y="149"/>
                    <a:pt x="382" y="151"/>
                    <a:pt x="383" y="154"/>
                  </a:cubicBezTo>
                  <a:cubicBezTo>
                    <a:pt x="385" y="156"/>
                    <a:pt x="386" y="158"/>
                    <a:pt x="387" y="159"/>
                  </a:cubicBezTo>
                  <a:cubicBezTo>
                    <a:pt x="388" y="161"/>
                    <a:pt x="388" y="162"/>
                    <a:pt x="388" y="164"/>
                  </a:cubicBezTo>
                  <a:cubicBezTo>
                    <a:pt x="387" y="165"/>
                    <a:pt x="387" y="166"/>
                    <a:pt x="386" y="167"/>
                  </a:cubicBezTo>
                  <a:lnTo>
                    <a:pt x="166" y="386"/>
                  </a:lnTo>
                  <a:close/>
                  <a:moveTo>
                    <a:pt x="454" y="511"/>
                  </a:moveTo>
                  <a:cubicBezTo>
                    <a:pt x="441" y="524"/>
                    <a:pt x="427" y="534"/>
                    <a:pt x="413" y="542"/>
                  </a:cubicBezTo>
                  <a:cubicBezTo>
                    <a:pt x="398" y="549"/>
                    <a:pt x="384" y="554"/>
                    <a:pt x="369" y="555"/>
                  </a:cubicBezTo>
                  <a:cubicBezTo>
                    <a:pt x="355" y="556"/>
                    <a:pt x="340" y="554"/>
                    <a:pt x="325" y="548"/>
                  </a:cubicBezTo>
                  <a:cubicBezTo>
                    <a:pt x="311" y="542"/>
                    <a:pt x="297" y="532"/>
                    <a:pt x="283" y="519"/>
                  </a:cubicBezTo>
                  <a:cubicBezTo>
                    <a:pt x="270" y="506"/>
                    <a:pt x="261" y="493"/>
                    <a:pt x="255" y="479"/>
                  </a:cubicBezTo>
                  <a:cubicBezTo>
                    <a:pt x="249" y="465"/>
                    <a:pt x="247" y="452"/>
                    <a:pt x="248" y="438"/>
                  </a:cubicBezTo>
                  <a:cubicBezTo>
                    <a:pt x="248" y="424"/>
                    <a:pt x="253" y="410"/>
                    <a:pt x="260" y="396"/>
                  </a:cubicBezTo>
                  <a:cubicBezTo>
                    <a:pt x="268" y="382"/>
                    <a:pt x="278" y="369"/>
                    <a:pt x="291" y="355"/>
                  </a:cubicBezTo>
                  <a:cubicBezTo>
                    <a:pt x="304" y="342"/>
                    <a:pt x="318" y="332"/>
                    <a:pt x="332" y="325"/>
                  </a:cubicBezTo>
                  <a:cubicBezTo>
                    <a:pt x="346" y="317"/>
                    <a:pt x="361" y="313"/>
                    <a:pt x="376" y="312"/>
                  </a:cubicBezTo>
                  <a:cubicBezTo>
                    <a:pt x="390" y="310"/>
                    <a:pt x="405" y="313"/>
                    <a:pt x="419" y="319"/>
                  </a:cubicBezTo>
                  <a:cubicBezTo>
                    <a:pt x="434" y="324"/>
                    <a:pt x="448" y="334"/>
                    <a:pt x="461" y="348"/>
                  </a:cubicBezTo>
                  <a:cubicBezTo>
                    <a:pt x="475" y="361"/>
                    <a:pt x="484" y="374"/>
                    <a:pt x="490" y="388"/>
                  </a:cubicBezTo>
                  <a:cubicBezTo>
                    <a:pt x="496" y="401"/>
                    <a:pt x="498" y="415"/>
                    <a:pt x="497" y="429"/>
                  </a:cubicBezTo>
                  <a:cubicBezTo>
                    <a:pt x="496" y="443"/>
                    <a:pt x="492" y="457"/>
                    <a:pt x="485" y="471"/>
                  </a:cubicBezTo>
                  <a:cubicBezTo>
                    <a:pt x="477" y="484"/>
                    <a:pt x="467" y="498"/>
                    <a:pt x="454" y="511"/>
                  </a:cubicBezTo>
                  <a:close/>
                  <a:moveTo>
                    <a:pt x="421" y="483"/>
                  </a:moveTo>
                  <a:cubicBezTo>
                    <a:pt x="430" y="474"/>
                    <a:pt x="437" y="465"/>
                    <a:pt x="443" y="456"/>
                  </a:cubicBezTo>
                  <a:cubicBezTo>
                    <a:pt x="450" y="447"/>
                    <a:pt x="454" y="438"/>
                    <a:pt x="456" y="428"/>
                  </a:cubicBezTo>
                  <a:cubicBezTo>
                    <a:pt x="458" y="419"/>
                    <a:pt x="457" y="409"/>
                    <a:pt x="454" y="399"/>
                  </a:cubicBezTo>
                  <a:cubicBezTo>
                    <a:pt x="451" y="390"/>
                    <a:pt x="445" y="380"/>
                    <a:pt x="436" y="371"/>
                  </a:cubicBezTo>
                  <a:cubicBezTo>
                    <a:pt x="427" y="362"/>
                    <a:pt x="418" y="356"/>
                    <a:pt x="409" y="353"/>
                  </a:cubicBezTo>
                  <a:cubicBezTo>
                    <a:pt x="400" y="350"/>
                    <a:pt x="390" y="349"/>
                    <a:pt x="381" y="351"/>
                  </a:cubicBezTo>
                  <a:cubicBezTo>
                    <a:pt x="371" y="352"/>
                    <a:pt x="361" y="356"/>
                    <a:pt x="352" y="361"/>
                  </a:cubicBezTo>
                  <a:cubicBezTo>
                    <a:pt x="342" y="367"/>
                    <a:pt x="333" y="375"/>
                    <a:pt x="324" y="384"/>
                  </a:cubicBezTo>
                  <a:cubicBezTo>
                    <a:pt x="315" y="392"/>
                    <a:pt x="307" y="401"/>
                    <a:pt x="301" y="411"/>
                  </a:cubicBezTo>
                  <a:cubicBezTo>
                    <a:pt x="295" y="420"/>
                    <a:pt x="291" y="429"/>
                    <a:pt x="289" y="439"/>
                  </a:cubicBezTo>
                  <a:cubicBezTo>
                    <a:pt x="287" y="448"/>
                    <a:pt x="288" y="458"/>
                    <a:pt x="291" y="467"/>
                  </a:cubicBezTo>
                  <a:cubicBezTo>
                    <a:pt x="294" y="477"/>
                    <a:pt x="300" y="487"/>
                    <a:pt x="309" y="496"/>
                  </a:cubicBezTo>
                  <a:cubicBezTo>
                    <a:pt x="318" y="505"/>
                    <a:pt x="327" y="510"/>
                    <a:pt x="336" y="514"/>
                  </a:cubicBezTo>
                  <a:cubicBezTo>
                    <a:pt x="346" y="517"/>
                    <a:pt x="355" y="518"/>
                    <a:pt x="365" y="516"/>
                  </a:cubicBezTo>
                  <a:cubicBezTo>
                    <a:pt x="374" y="515"/>
                    <a:pt x="384" y="511"/>
                    <a:pt x="393" y="505"/>
                  </a:cubicBezTo>
                  <a:cubicBezTo>
                    <a:pt x="403" y="500"/>
                    <a:pt x="412" y="492"/>
                    <a:pt x="421" y="483"/>
                  </a:cubicBezTo>
                  <a:close/>
                  <a:moveTo>
                    <a:pt x="658" y="581"/>
                  </a:moveTo>
                  <a:cubicBezTo>
                    <a:pt x="656" y="584"/>
                    <a:pt x="654" y="586"/>
                    <a:pt x="652" y="588"/>
                  </a:cubicBezTo>
                  <a:cubicBezTo>
                    <a:pt x="650" y="589"/>
                    <a:pt x="648" y="590"/>
                    <a:pt x="647" y="591"/>
                  </a:cubicBezTo>
                  <a:cubicBezTo>
                    <a:pt x="645" y="592"/>
                    <a:pt x="644" y="592"/>
                    <a:pt x="643" y="592"/>
                  </a:cubicBezTo>
                  <a:cubicBezTo>
                    <a:pt x="642" y="592"/>
                    <a:pt x="641" y="592"/>
                    <a:pt x="640" y="591"/>
                  </a:cubicBezTo>
                  <a:cubicBezTo>
                    <a:pt x="639" y="590"/>
                    <a:pt x="638" y="588"/>
                    <a:pt x="638" y="586"/>
                  </a:cubicBezTo>
                  <a:cubicBezTo>
                    <a:pt x="637" y="585"/>
                    <a:pt x="636" y="582"/>
                    <a:pt x="635" y="580"/>
                  </a:cubicBezTo>
                  <a:cubicBezTo>
                    <a:pt x="633" y="578"/>
                    <a:pt x="632" y="576"/>
                    <a:pt x="630" y="573"/>
                  </a:cubicBezTo>
                  <a:cubicBezTo>
                    <a:pt x="629" y="570"/>
                    <a:pt x="627" y="568"/>
                    <a:pt x="624" y="565"/>
                  </a:cubicBezTo>
                  <a:cubicBezTo>
                    <a:pt x="621" y="562"/>
                    <a:pt x="618" y="560"/>
                    <a:pt x="614" y="558"/>
                  </a:cubicBezTo>
                  <a:cubicBezTo>
                    <a:pt x="610" y="557"/>
                    <a:pt x="605" y="556"/>
                    <a:pt x="599" y="555"/>
                  </a:cubicBezTo>
                  <a:cubicBezTo>
                    <a:pt x="593" y="555"/>
                    <a:pt x="586" y="555"/>
                    <a:pt x="578" y="556"/>
                  </a:cubicBezTo>
                  <a:cubicBezTo>
                    <a:pt x="570" y="557"/>
                    <a:pt x="561" y="559"/>
                    <a:pt x="551" y="561"/>
                  </a:cubicBezTo>
                  <a:lnTo>
                    <a:pt x="446" y="666"/>
                  </a:lnTo>
                  <a:cubicBezTo>
                    <a:pt x="445" y="667"/>
                    <a:pt x="444" y="668"/>
                    <a:pt x="443" y="668"/>
                  </a:cubicBezTo>
                  <a:cubicBezTo>
                    <a:pt x="442" y="668"/>
                    <a:pt x="440" y="668"/>
                    <a:pt x="439" y="667"/>
                  </a:cubicBezTo>
                  <a:cubicBezTo>
                    <a:pt x="437" y="667"/>
                    <a:pt x="435" y="665"/>
                    <a:pt x="433" y="664"/>
                  </a:cubicBezTo>
                  <a:cubicBezTo>
                    <a:pt x="431" y="662"/>
                    <a:pt x="429" y="660"/>
                    <a:pt x="426" y="657"/>
                  </a:cubicBezTo>
                  <a:cubicBezTo>
                    <a:pt x="423" y="654"/>
                    <a:pt x="421" y="652"/>
                    <a:pt x="419" y="649"/>
                  </a:cubicBezTo>
                  <a:cubicBezTo>
                    <a:pt x="417" y="647"/>
                    <a:pt x="416" y="646"/>
                    <a:pt x="416" y="644"/>
                  </a:cubicBezTo>
                  <a:cubicBezTo>
                    <a:pt x="415" y="642"/>
                    <a:pt x="415" y="641"/>
                    <a:pt x="415" y="640"/>
                  </a:cubicBezTo>
                  <a:cubicBezTo>
                    <a:pt x="415" y="639"/>
                    <a:pt x="416" y="638"/>
                    <a:pt x="417" y="637"/>
                  </a:cubicBezTo>
                  <a:lnTo>
                    <a:pt x="576" y="478"/>
                  </a:lnTo>
                  <a:cubicBezTo>
                    <a:pt x="577" y="477"/>
                    <a:pt x="578" y="476"/>
                    <a:pt x="579" y="476"/>
                  </a:cubicBezTo>
                  <a:cubicBezTo>
                    <a:pt x="580" y="476"/>
                    <a:pt x="581" y="476"/>
                    <a:pt x="583" y="476"/>
                  </a:cubicBezTo>
                  <a:cubicBezTo>
                    <a:pt x="584" y="477"/>
                    <a:pt x="586" y="478"/>
                    <a:pt x="588" y="479"/>
                  </a:cubicBezTo>
                  <a:cubicBezTo>
                    <a:pt x="590" y="481"/>
                    <a:pt x="592" y="483"/>
                    <a:pt x="595" y="486"/>
                  </a:cubicBezTo>
                  <a:cubicBezTo>
                    <a:pt x="597" y="488"/>
                    <a:pt x="599" y="490"/>
                    <a:pt x="601" y="492"/>
                  </a:cubicBezTo>
                  <a:cubicBezTo>
                    <a:pt x="602" y="494"/>
                    <a:pt x="603" y="496"/>
                    <a:pt x="604" y="497"/>
                  </a:cubicBezTo>
                  <a:cubicBezTo>
                    <a:pt x="604" y="499"/>
                    <a:pt x="604" y="500"/>
                    <a:pt x="604" y="501"/>
                  </a:cubicBezTo>
                  <a:cubicBezTo>
                    <a:pt x="604" y="502"/>
                    <a:pt x="603" y="503"/>
                    <a:pt x="602" y="504"/>
                  </a:cubicBezTo>
                  <a:lnTo>
                    <a:pt x="579" y="527"/>
                  </a:lnTo>
                  <a:cubicBezTo>
                    <a:pt x="590" y="525"/>
                    <a:pt x="599" y="524"/>
                    <a:pt x="607" y="524"/>
                  </a:cubicBezTo>
                  <a:cubicBezTo>
                    <a:pt x="615" y="524"/>
                    <a:pt x="621" y="524"/>
                    <a:pt x="627" y="525"/>
                  </a:cubicBezTo>
                  <a:cubicBezTo>
                    <a:pt x="633" y="527"/>
                    <a:pt x="638" y="528"/>
                    <a:pt x="642" y="531"/>
                  </a:cubicBezTo>
                  <a:cubicBezTo>
                    <a:pt x="646" y="533"/>
                    <a:pt x="650" y="536"/>
                    <a:pt x="654" y="540"/>
                  </a:cubicBezTo>
                  <a:cubicBezTo>
                    <a:pt x="655" y="541"/>
                    <a:pt x="657" y="543"/>
                    <a:pt x="659" y="545"/>
                  </a:cubicBezTo>
                  <a:cubicBezTo>
                    <a:pt x="660" y="547"/>
                    <a:pt x="662" y="550"/>
                    <a:pt x="664" y="552"/>
                  </a:cubicBezTo>
                  <a:cubicBezTo>
                    <a:pt x="665" y="555"/>
                    <a:pt x="667" y="557"/>
                    <a:pt x="668" y="560"/>
                  </a:cubicBezTo>
                  <a:cubicBezTo>
                    <a:pt x="669" y="562"/>
                    <a:pt x="670" y="564"/>
                    <a:pt x="670" y="565"/>
                  </a:cubicBezTo>
                  <a:cubicBezTo>
                    <a:pt x="670" y="566"/>
                    <a:pt x="670" y="567"/>
                    <a:pt x="669" y="568"/>
                  </a:cubicBezTo>
                  <a:cubicBezTo>
                    <a:pt x="669" y="569"/>
                    <a:pt x="669" y="570"/>
                    <a:pt x="668" y="571"/>
                  </a:cubicBezTo>
                  <a:cubicBezTo>
                    <a:pt x="667" y="572"/>
                    <a:pt x="666" y="573"/>
                    <a:pt x="665" y="575"/>
                  </a:cubicBezTo>
                  <a:cubicBezTo>
                    <a:pt x="663" y="576"/>
                    <a:pt x="661" y="579"/>
                    <a:pt x="658" y="581"/>
                  </a:cubicBezTo>
                  <a:close/>
                  <a:moveTo>
                    <a:pt x="672" y="892"/>
                  </a:moveTo>
                  <a:cubicBezTo>
                    <a:pt x="671" y="893"/>
                    <a:pt x="670" y="893"/>
                    <a:pt x="669" y="894"/>
                  </a:cubicBezTo>
                  <a:cubicBezTo>
                    <a:pt x="668" y="894"/>
                    <a:pt x="666" y="894"/>
                    <a:pt x="665" y="893"/>
                  </a:cubicBezTo>
                  <a:cubicBezTo>
                    <a:pt x="663" y="892"/>
                    <a:pt x="661" y="891"/>
                    <a:pt x="659" y="889"/>
                  </a:cubicBezTo>
                  <a:cubicBezTo>
                    <a:pt x="657" y="888"/>
                    <a:pt x="654" y="885"/>
                    <a:pt x="651" y="882"/>
                  </a:cubicBezTo>
                  <a:cubicBezTo>
                    <a:pt x="648" y="879"/>
                    <a:pt x="645" y="876"/>
                    <a:pt x="643" y="874"/>
                  </a:cubicBezTo>
                  <a:cubicBezTo>
                    <a:pt x="641" y="872"/>
                    <a:pt x="640" y="870"/>
                    <a:pt x="639" y="868"/>
                  </a:cubicBezTo>
                  <a:cubicBezTo>
                    <a:pt x="638" y="866"/>
                    <a:pt x="637" y="864"/>
                    <a:pt x="637" y="863"/>
                  </a:cubicBezTo>
                  <a:cubicBezTo>
                    <a:pt x="637" y="861"/>
                    <a:pt x="637" y="859"/>
                    <a:pt x="638" y="858"/>
                  </a:cubicBezTo>
                  <a:lnTo>
                    <a:pt x="659" y="702"/>
                  </a:lnTo>
                  <a:lnTo>
                    <a:pt x="570" y="791"/>
                  </a:lnTo>
                  <a:cubicBezTo>
                    <a:pt x="569" y="792"/>
                    <a:pt x="568" y="792"/>
                    <a:pt x="567" y="792"/>
                  </a:cubicBezTo>
                  <a:cubicBezTo>
                    <a:pt x="566" y="792"/>
                    <a:pt x="565" y="792"/>
                    <a:pt x="563" y="792"/>
                  </a:cubicBezTo>
                  <a:cubicBezTo>
                    <a:pt x="562" y="791"/>
                    <a:pt x="560" y="790"/>
                    <a:pt x="558" y="788"/>
                  </a:cubicBezTo>
                  <a:cubicBezTo>
                    <a:pt x="556" y="787"/>
                    <a:pt x="553" y="784"/>
                    <a:pt x="550" y="781"/>
                  </a:cubicBezTo>
                  <a:cubicBezTo>
                    <a:pt x="547" y="779"/>
                    <a:pt x="545" y="776"/>
                    <a:pt x="543" y="774"/>
                  </a:cubicBezTo>
                  <a:cubicBezTo>
                    <a:pt x="542" y="772"/>
                    <a:pt x="541" y="770"/>
                    <a:pt x="540" y="768"/>
                  </a:cubicBezTo>
                  <a:cubicBezTo>
                    <a:pt x="539" y="767"/>
                    <a:pt x="539" y="765"/>
                    <a:pt x="539" y="764"/>
                  </a:cubicBezTo>
                  <a:cubicBezTo>
                    <a:pt x="540" y="763"/>
                    <a:pt x="540" y="762"/>
                    <a:pt x="541" y="761"/>
                  </a:cubicBezTo>
                  <a:lnTo>
                    <a:pt x="777" y="525"/>
                  </a:lnTo>
                  <a:cubicBezTo>
                    <a:pt x="778" y="524"/>
                    <a:pt x="779" y="524"/>
                    <a:pt x="780" y="523"/>
                  </a:cubicBezTo>
                  <a:cubicBezTo>
                    <a:pt x="782" y="523"/>
                    <a:pt x="783" y="523"/>
                    <a:pt x="785" y="524"/>
                  </a:cubicBezTo>
                  <a:cubicBezTo>
                    <a:pt x="786" y="525"/>
                    <a:pt x="788" y="526"/>
                    <a:pt x="790" y="527"/>
                  </a:cubicBezTo>
                  <a:cubicBezTo>
                    <a:pt x="792" y="529"/>
                    <a:pt x="795" y="531"/>
                    <a:pt x="797" y="534"/>
                  </a:cubicBezTo>
                  <a:cubicBezTo>
                    <a:pt x="800" y="537"/>
                    <a:pt x="803" y="540"/>
                    <a:pt x="804" y="542"/>
                  </a:cubicBezTo>
                  <a:cubicBezTo>
                    <a:pt x="806" y="544"/>
                    <a:pt x="807" y="546"/>
                    <a:pt x="808" y="547"/>
                  </a:cubicBezTo>
                  <a:cubicBezTo>
                    <a:pt x="808" y="549"/>
                    <a:pt x="809" y="550"/>
                    <a:pt x="808" y="551"/>
                  </a:cubicBezTo>
                  <a:cubicBezTo>
                    <a:pt x="808" y="552"/>
                    <a:pt x="807" y="553"/>
                    <a:pt x="807" y="554"/>
                  </a:cubicBezTo>
                  <a:lnTo>
                    <a:pt x="663" y="698"/>
                  </a:lnTo>
                  <a:lnTo>
                    <a:pt x="789" y="692"/>
                  </a:lnTo>
                  <a:cubicBezTo>
                    <a:pt x="791" y="692"/>
                    <a:pt x="793" y="692"/>
                    <a:pt x="795" y="692"/>
                  </a:cubicBezTo>
                  <a:cubicBezTo>
                    <a:pt x="797" y="693"/>
                    <a:pt x="799" y="693"/>
                    <a:pt x="801" y="694"/>
                  </a:cubicBezTo>
                  <a:cubicBezTo>
                    <a:pt x="803" y="695"/>
                    <a:pt x="805" y="697"/>
                    <a:pt x="807" y="698"/>
                  </a:cubicBezTo>
                  <a:cubicBezTo>
                    <a:pt x="809" y="700"/>
                    <a:pt x="811" y="703"/>
                    <a:pt x="814" y="705"/>
                  </a:cubicBezTo>
                  <a:cubicBezTo>
                    <a:pt x="817" y="708"/>
                    <a:pt x="820" y="711"/>
                    <a:pt x="821" y="713"/>
                  </a:cubicBezTo>
                  <a:cubicBezTo>
                    <a:pt x="823" y="715"/>
                    <a:pt x="825" y="717"/>
                    <a:pt x="825" y="719"/>
                  </a:cubicBezTo>
                  <a:cubicBezTo>
                    <a:pt x="826" y="720"/>
                    <a:pt x="827" y="722"/>
                    <a:pt x="826" y="723"/>
                  </a:cubicBezTo>
                  <a:cubicBezTo>
                    <a:pt x="826" y="724"/>
                    <a:pt x="826" y="725"/>
                    <a:pt x="825" y="726"/>
                  </a:cubicBezTo>
                  <a:cubicBezTo>
                    <a:pt x="823" y="728"/>
                    <a:pt x="822" y="729"/>
                    <a:pt x="819" y="729"/>
                  </a:cubicBezTo>
                  <a:cubicBezTo>
                    <a:pt x="817" y="730"/>
                    <a:pt x="814" y="731"/>
                    <a:pt x="811" y="731"/>
                  </a:cubicBezTo>
                  <a:lnTo>
                    <a:pt x="695" y="731"/>
                  </a:lnTo>
                  <a:lnTo>
                    <a:pt x="676" y="879"/>
                  </a:lnTo>
                  <a:cubicBezTo>
                    <a:pt x="676" y="883"/>
                    <a:pt x="675" y="886"/>
                    <a:pt x="674" y="887"/>
                  </a:cubicBezTo>
                  <a:cubicBezTo>
                    <a:pt x="674" y="889"/>
                    <a:pt x="673" y="891"/>
                    <a:pt x="672" y="892"/>
                  </a:cubicBezTo>
                  <a:close/>
                  <a:moveTo>
                    <a:pt x="831" y="1051"/>
                  </a:moveTo>
                  <a:cubicBezTo>
                    <a:pt x="829" y="1053"/>
                    <a:pt x="828" y="1053"/>
                    <a:pt x="826" y="1053"/>
                  </a:cubicBezTo>
                  <a:cubicBezTo>
                    <a:pt x="824" y="1053"/>
                    <a:pt x="822" y="1052"/>
                    <a:pt x="820" y="1051"/>
                  </a:cubicBezTo>
                  <a:cubicBezTo>
                    <a:pt x="818" y="1049"/>
                    <a:pt x="816" y="1047"/>
                    <a:pt x="813" y="1044"/>
                  </a:cubicBezTo>
                  <a:cubicBezTo>
                    <a:pt x="810" y="1041"/>
                    <a:pt x="807" y="1038"/>
                    <a:pt x="806" y="1036"/>
                  </a:cubicBezTo>
                  <a:cubicBezTo>
                    <a:pt x="804" y="1034"/>
                    <a:pt x="804" y="1032"/>
                    <a:pt x="804" y="1030"/>
                  </a:cubicBezTo>
                  <a:cubicBezTo>
                    <a:pt x="803" y="1029"/>
                    <a:pt x="804" y="1027"/>
                    <a:pt x="805" y="1026"/>
                  </a:cubicBezTo>
                  <a:lnTo>
                    <a:pt x="821" y="1010"/>
                  </a:lnTo>
                  <a:cubicBezTo>
                    <a:pt x="807" y="1011"/>
                    <a:pt x="793" y="1009"/>
                    <a:pt x="781" y="1004"/>
                  </a:cubicBezTo>
                  <a:cubicBezTo>
                    <a:pt x="768" y="1000"/>
                    <a:pt x="757" y="993"/>
                    <a:pt x="747" y="983"/>
                  </a:cubicBezTo>
                  <a:cubicBezTo>
                    <a:pt x="739" y="975"/>
                    <a:pt x="733" y="966"/>
                    <a:pt x="728" y="957"/>
                  </a:cubicBezTo>
                  <a:cubicBezTo>
                    <a:pt x="723" y="948"/>
                    <a:pt x="721" y="939"/>
                    <a:pt x="720" y="930"/>
                  </a:cubicBezTo>
                  <a:cubicBezTo>
                    <a:pt x="720" y="922"/>
                    <a:pt x="721" y="913"/>
                    <a:pt x="724" y="904"/>
                  </a:cubicBezTo>
                  <a:cubicBezTo>
                    <a:pt x="728" y="895"/>
                    <a:pt x="733" y="887"/>
                    <a:pt x="741" y="880"/>
                  </a:cubicBezTo>
                  <a:cubicBezTo>
                    <a:pt x="750" y="871"/>
                    <a:pt x="759" y="865"/>
                    <a:pt x="770" y="862"/>
                  </a:cubicBezTo>
                  <a:cubicBezTo>
                    <a:pt x="780" y="859"/>
                    <a:pt x="791" y="859"/>
                    <a:pt x="802" y="861"/>
                  </a:cubicBezTo>
                  <a:cubicBezTo>
                    <a:pt x="813" y="864"/>
                    <a:pt x="825" y="869"/>
                    <a:pt x="837" y="876"/>
                  </a:cubicBezTo>
                  <a:cubicBezTo>
                    <a:pt x="849" y="884"/>
                    <a:pt x="861" y="894"/>
                    <a:pt x="873" y="907"/>
                  </a:cubicBezTo>
                  <a:lnTo>
                    <a:pt x="895" y="928"/>
                  </a:lnTo>
                  <a:lnTo>
                    <a:pt x="908" y="916"/>
                  </a:lnTo>
                  <a:cubicBezTo>
                    <a:pt x="914" y="910"/>
                    <a:pt x="919" y="904"/>
                    <a:pt x="922" y="898"/>
                  </a:cubicBezTo>
                  <a:cubicBezTo>
                    <a:pt x="925" y="892"/>
                    <a:pt x="927" y="886"/>
                    <a:pt x="927" y="880"/>
                  </a:cubicBezTo>
                  <a:cubicBezTo>
                    <a:pt x="928" y="874"/>
                    <a:pt x="926" y="868"/>
                    <a:pt x="923" y="862"/>
                  </a:cubicBezTo>
                  <a:cubicBezTo>
                    <a:pt x="920" y="855"/>
                    <a:pt x="915" y="849"/>
                    <a:pt x="909" y="842"/>
                  </a:cubicBezTo>
                  <a:cubicBezTo>
                    <a:pt x="902" y="835"/>
                    <a:pt x="894" y="829"/>
                    <a:pt x="887" y="825"/>
                  </a:cubicBezTo>
                  <a:cubicBezTo>
                    <a:pt x="879" y="821"/>
                    <a:pt x="872" y="818"/>
                    <a:pt x="866" y="816"/>
                  </a:cubicBezTo>
                  <a:cubicBezTo>
                    <a:pt x="860" y="814"/>
                    <a:pt x="854" y="812"/>
                    <a:pt x="850" y="811"/>
                  </a:cubicBezTo>
                  <a:cubicBezTo>
                    <a:pt x="845" y="810"/>
                    <a:pt x="842" y="808"/>
                    <a:pt x="841" y="807"/>
                  </a:cubicBezTo>
                  <a:cubicBezTo>
                    <a:pt x="840" y="806"/>
                    <a:pt x="839" y="805"/>
                    <a:pt x="839" y="804"/>
                  </a:cubicBezTo>
                  <a:cubicBezTo>
                    <a:pt x="839" y="803"/>
                    <a:pt x="839" y="801"/>
                    <a:pt x="839" y="800"/>
                  </a:cubicBezTo>
                  <a:cubicBezTo>
                    <a:pt x="840" y="798"/>
                    <a:pt x="840" y="797"/>
                    <a:pt x="842" y="795"/>
                  </a:cubicBezTo>
                  <a:cubicBezTo>
                    <a:pt x="843" y="793"/>
                    <a:pt x="844" y="792"/>
                    <a:pt x="846" y="790"/>
                  </a:cubicBezTo>
                  <a:cubicBezTo>
                    <a:pt x="849" y="787"/>
                    <a:pt x="852" y="785"/>
                    <a:pt x="854" y="783"/>
                  </a:cubicBezTo>
                  <a:cubicBezTo>
                    <a:pt x="856" y="782"/>
                    <a:pt x="858" y="782"/>
                    <a:pt x="862" y="782"/>
                  </a:cubicBezTo>
                  <a:cubicBezTo>
                    <a:pt x="865" y="782"/>
                    <a:pt x="869" y="783"/>
                    <a:pt x="875" y="784"/>
                  </a:cubicBezTo>
                  <a:cubicBezTo>
                    <a:pt x="881" y="786"/>
                    <a:pt x="888" y="789"/>
                    <a:pt x="894" y="792"/>
                  </a:cubicBezTo>
                  <a:cubicBezTo>
                    <a:pt x="901" y="796"/>
                    <a:pt x="908" y="800"/>
                    <a:pt x="915" y="805"/>
                  </a:cubicBezTo>
                  <a:cubicBezTo>
                    <a:pt x="922" y="810"/>
                    <a:pt x="929" y="815"/>
                    <a:pt x="935" y="821"/>
                  </a:cubicBezTo>
                  <a:cubicBezTo>
                    <a:pt x="946" y="833"/>
                    <a:pt x="955" y="844"/>
                    <a:pt x="960" y="854"/>
                  </a:cubicBezTo>
                  <a:cubicBezTo>
                    <a:pt x="966" y="865"/>
                    <a:pt x="968" y="875"/>
                    <a:pt x="968" y="885"/>
                  </a:cubicBezTo>
                  <a:cubicBezTo>
                    <a:pt x="968" y="895"/>
                    <a:pt x="966" y="905"/>
                    <a:pt x="960" y="914"/>
                  </a:cubicBezTo>
                  <a:cubicBezTo>
                    <a:pt x="955" y="924"/>
                    <a:pt x="948" y="934"/>
                    <a:pt x="938" y="944"/>
                  </a:cubicBezTo>
                  <a:lnTo>
                    <a:pt x="831" y="1051"/>
                  </a:lnTo>
                  <a:close/>
                  <a:moveTo>
                    <a:pt x="874" y="949"/>
                  </a:moveTo>
                  <a:lnTo>
                    <a:pt x="849" y="925"/>
                  </a:lnTo>
                  <a:cubicBezTo>
                    <a:pt x="841" y="917"/>
                    <a:pt x="834" y="910"/>
                    <a:pt x="826" y="906"/>
                  </a:cubicBezTo>
                  <a:cubicBezTo>
                    <a:pt x="819" y="901"/>
                    <a:pt x="812" y="898"/>
                    <a:pt x="806" y="897"/>
                  </a:cubicBezTo>
                  <a:cubicBezTo>
                    <a:pt x="799" y="896"/>
                    <a:pt x="793" y="896"/>
                    <a:pt x="788" y="898"/>
                  </a:cubicBezTo>
                  <a:cubicBezTo>
                    <a:pt x="782" y="900"/>
                    <a:pt x="777" y="903"/>
                    <a:pt x="772" y="908"/>
                  </a:cubicBezTo>
                  <a:cubicBezTo>
                    <a:pt x="764" y="916"/>
                    <a:pt x="760" y="926"/>
                    <a:pt x="760" y="936"/>
                  </a:cubicBezTo>
                  <a:cubicBezTo>
                    <a:pt x="761" y="946"/>
                    <a:pt x="765" y="956"/>
                    <a:pt x="775" y="965"/>
                  </a:cubicBezTo>
                  <a:cubicBezTo>
                    <a:pt x="783" y="973"/>
                    <a:pt x="792" y="978"/>
                    <a:pt x="802" y="981"/>
                  </a:cubicBezTo>
                  <a:cubicBezTo>
                    <a:pt x="812" y="983"/>
                    <a:pt x="825" y="984"/>
                    <a:pt x="840" y="983"/>
                  </a:cubicBezTo>
                  <a:lnTo>
                    <a:pt x="874" y="949"/>
                  </a:lnTo>
                  <a:close/>
                  <a:moveTo>
                    <a:pt x="1128" y="1348"/>
                  </a:moveTo>
                  <a:cubicBezTo>
                    <a:pt x="1127" y="1349"/>
                    <a:pt x="1126" y="1349"/>
                    <a:pt x="1125" y="1350"/>
                  </a:cubicBezTo>
                  <a:cubicBezTo>
                    <a:pt x="1124" y="1350"/>
                    <a:pt x="1122" y="1350"/>
                    <a:pt x="1121" y="1349"/>
                  </a:cubicBezTo>
                  <a:cubicBezTo>
                    <a:pt x="1119" y="1348"/>
                    <a:pt x="1117" y="1347"/>
                    <a:pt x="1115" y="1345"/>
                  </a:cubicBezTo>
                  <a:cubicBezTo>
                    <a:pt x="1113" y="1344"/>
                    <a:pt x="1110" y="1341"/>
                    <a:pt x="1107" y="1339"/>
                  </a:cubicBezTo>
                  <a:cubicBezTo>
                    <a:pt x="1104" y="1336"/>
                    <a:pt x="1102" y="1333"/>
                    <a:pt x="1100" y="1331"/>
                  </a:cubicBezTo>
                  <a:cubicBezTo>
                    <a:pt x="1099" y="1329"/>
                    <a:pt x="1098" y="1327"/>
                    <a:pt x="1097" y="1325"/>
                  </a:cubicBezTo>
                  <a:cubicBezTo>
                    <a:pt x="1096" y="1323"/>
                    <a:pt x="1096" y="1322"/>
                    <a:pt x="1096" y="1321"/>
                  </a:cubicBezTo>
                  <a:cubicBezTo>
                    <a:pt x="1096" y="1320"/>
                    <a:pt x="1097" y="1319"/>
                    <a:pt x="1098" y="1318"/>
                  </a:cubicBezTo>
                  <a:lnTo>
                    <a:pt x="1199" y="1216"/>
                  </a:lnTo>
                  <a:lnTo>
                    <a:pt x="1095" y="1112"/>
                  </a:lnTo>
                  <a:lnTo>
                    <a:pt x="994" y="1214"/>
                  </a:lnTo>
                  <a:cubicBezTo>
                    <a:pt x="993" y="1215"/>
                    <a:pt x="992" y="1215"/>
                    <a:pt x="991" y="1215"/>
                  </a:cubicBezTo>
                  <a:cubicBezTo>
                    <a:pt x="989" y="1216"/>
                    <a:pt x="988" y="1215"/>
                    <a:pt x="986" y="1215"/>
                  </a:cubicBezTo>
                  <a:cubicBezTo>
                    <a:pt x="985" y="1214"/>
                    <a:pt x="983" y="1213"/>
                    <a:pt x="981" y="1211"/>
                  </a:cubicBezTo>
                  <a:cubicBezTo>
                    <a:pt x="978" y="1209"/>
                    <a:pt x="976" y="1207"/>
                    <a:pt x="973" y="1204"/>
                  </a:cubicBezTo>
                  <a:cubicBezTo>
                    <a:pt x="970" y="1201"/>
                    <a:pt x="968" y="1199"/>
                    <a:pt x="966" y="1196"/>
                  </a:cubicBezTo>
                  <a:cubicBezTo>
                    <a:pt x="964" y="1194"/>
                    <a:pt x="963" y="1192"/>
                    <a:pt x="962" y="1191"/>
                  </a:cubicBezTo>
                  <a:cubicBezTo>
                    <a:pt x="962" y="1189"/>
                    <a:pt x="961" y="1188"/>
                    <a:pt x="962" y="1186"/>
                  </a:cubicBezTo>
                  <a:cubicBezTo>
                    <a:pt x="962" y="1185"/>
                    <a:pt x="962" y="1184"/>
                    <a:pt x="963" y="1183"/>
                  </a:cubicBezTo>
                  <a:lnTo>
                    <a:pt x="1183" y="964"/>
                  </a:lnTo>
                  <a:cubicBezTo>
                    <a:pt x="1184" y="963"/>
                    <a:pt x="1185" y="962"/>
                    <a:pt x="1186" y="962"/>
                  </a:cubicBezTo>
                  <a:cubicBezTo>
                    <a:pt x="1187" y="962"/>
                    <a:pt x="1189" y="962"/>
                    <a:pt x="1190" y="963"/>
                  </a:cubicBezTo>
                  <a:cubicBezTo>
                    <a:pt x="1192" y="963"/>
                    <a:pt x="1194" y="965"/>
                    <a:pt x="1196" y="966"/>
                  </a:cubicBezTo>
                  <a:cubicBezTo>
                    <a:pt x="1198" y="968"/>
                    <a:pt x="1201" y="970"/>
                    <a:pt x="1204" y="973"/>
                  </a:cubicBezTo>
                  <a:cubicBezTo>
                    <a:pt x="1207" y="976"/>
                    <a:pt x="1209" y="979"/>
                    <a:pt x="1211" y="981"/>
                  </a:cubicBezTo>
                  <a:cubicBezTo>
                    <a:pt x="1212" y="983"/>
                    <a:pt x="1213" y="985"/>
                    <a:pt x="1214" y="987"/>
                  </a:cubicBezTo>
                  <a:cubicBezTo>
                    <a:pt x="1215" y="988"/>
                    <a:pt x="1215" y="990"/>
                    <a:pt x="1215" y="991"/>
                  </a:cubicBezTo>
                  <a:cubicBezTo>
                    <a:pt x="1215" y="992"/>
                    <a:pt x="1214" y="993"/>
                    <a:pt x="1213" y="994"/>
                  </a:cubicBezTo>
                  <a:lnTo>
                    <a:pt x="1122" y="1086"/>
                  </a:lnTo>
                  <a:lnTo>
                    <a:pt x="1226" y="1190"/>
                  </a:lnTo>
                  <a:lnTo>
                    <a:pt x="1317" y="1098"/>
                  </a:lnTo>
                  <a:cubicBezTo>
                    <a:pt x="1318" y="1097"/>
                    <a:pt x="1319" y="1097"/>
                    <a:pt x="1321" y="1096"/>
                  </a:cubicBezTo>
                  <a:cubicBezTo>
                    <a:pt x="1322" y="1096"/>
                    <a:pt x="1323" y="1096"/>
                    <a:pt x="1325" y="1097"/>
                  </a:cubicBezTo>
                  <a:cubicBezTo>
                    <a:pt x="1326" y="1098"/>
                    <a:pt x="1328" y="1099"/>
                    <a:pt x="1330" y="1101"/>
                  </a:cubicBezTo>
                  <a:cubicBezTo>
                    <a:pt x="1333" y="1102"/>
                    <a:pt x="1335" y="1105"/>
                    <a:pt x="1338" y="1108"/>
                  </a:cubicBezTo>
                  <a:cubicBezTo>
                    <a:pt x="1341" y="1111"/>
                    <a:pt x="1343" y="1113"/>
                    <a:pt x="1345" y="1115"/>
                  </a:cubicBezTo>
                  <a:cubicBezTo>
                    <a:pt x="1347" y="1118"/>
                    <a:pt x="1348" y="1119"/>
                    <a:pt x="1349" y="1121"/>
                  </a:cubicBezTo>
                  <a:cubicBezTo>
                    <a:pt x="1349" y="1123"/>
                    <a:pt x="1350" y="1124"/>
                    <a:pt x="1349" y="1125"/>
                  </a:cubicBezTo>
                  <a:cubicBezTo>
                    <a:pt x="1349" y="1126"/>
                    <a:pt x="1349" y="1127"/>
                    <a:pt x="1348" y="1128"/>
                  </a:cubicBezTo>
                  <a:lnTo>
                    <a:pt x="1128" y="1348"/>
                  </a:lnTo>
                  <a:close/>
                  <a:moveTo>
                    <a:pt x="1414" y="1471"/>
                  </a:moveTo>
                  <a:cubicBezTo>
                    <a:pt x="1400" y="1485"/>
                    <a:pt x="1386" y="1496"/>
                    <a:pt x="1372" y="1504"/>
                  </a:cubicBezTo>
                  <a:cubicBezTo>
                    <a:pt x="1358" y="1512"/>
                    <a:pt x="1345" y="1517"/>
                    <a:pt x="1331" y="1519"/>
                  </a:cubicBezTo>
                  <a:cubicBezTo>
                    <a:pt x="1317" y="1521"/>
                    <a:pt x="1304" y="1519"/>
                    <a:pt x="1292" y="1515"/>
                  </a:cubicBezTo>
                  <a:cubicBezTo>
                    <a:pt x="1279" y="1511"/>
                    <a:pt x="1267" y="1503"/>
                    <a:pt x="1256" y="1492"/>
                  </a:cubicBezTo>
                  <a:cubicBezTo>
                    <a:pt x="1251" y="1487"/>
                    <a:pt x="1247" y="1482"/>
                    <a:pt x="1244" y="1476"/>
                  </a:cubicBezTo>
                  <a:cubicBezTo>
                    <a:pt x="1240" y="1471"/>
                    <a:pt x="1238" y="1465"/>
                    <a:pt x="1236" y="1459"/>
                  </a:cubicBezTo>
                  <a:cubicBezTo>
                    <a:pt x="1234" y="1453"/>
                    <a:pt x="1233" y="1446"/>
                    <a:pt x="1232" y="1438"/>
                  </a:cubicBezTo>
                  <a:cubicBezTo>
                    <a:pt x="1231" y="1431"/>
                    <a:pt x="1231" y="1422"/>
                    <a:pt x="1231" y="1413"/>
                  </a:cubicBezTo>
                  <a:lnTo>
                    <a:pt x="1212" y="1432"/>
                  </a:lnTo>
                  <a:cubicBezTo>
                    <a:pt x="1211" y="1433"/>
                    <a:pt x="1210" y="1434"/>
                    <a:pt x="1209" y="1434"/>
                  </a:cubicBezTo>
                  <a:cubicBezTo>
                    <a:pt x="1208" y="1434"/>
                    <a:pt x="1206" y="1434"/>
                    <a:pt x="1205" y="1433"/>
                  </a:cubicBezTo>
                  <a:cubicBezTo>
                    <a:pt x="1203" y="1433"/>
                    <a:pt x="1202" y="1432"/>
                    <a:pt x="1200" y="1430"/>
                  </a:cubicBezTo>
                  <a:cubicBezTo>
                    <a:pt x="1198" y="1429"/>
                    <a:pt x="1196" y="1427"/>
                    <a:pt x="1193" y="1424"/>
                  </a:cubicBezTo>
                  <a:cubicBezTo>
                    <a:pt x="1191" y="1422"/>
                    <a:pt x="1189" y="1420"/>
                    <a:pt x="1188" y="1418"/>
                  </a:cubicBezTo>
                  <a:cubicBezTo>
                    <a:pt x="1186" y="1416"/>
                    <a:pt x="1185" y="1415"/>
                    <a:pt x="1185" y="1413"/>
                  </a:cubicBezTo>
                  <a:cubicBezTo>
                    <a:pt x="1184" y="1412"/>
                    <a:pt x="1184" y="1410"/>
                    <a:pt x="1184" y="1409"/>
                  </a:cubicBezTo>
                  <a:cubicBezTo>
                    <a:pt x="1184" y="1408"/>
                    <a:pt x="1185" y="1407"/>
                    <a:pt x="1186" y="1406"/>
                  </a:cubicBezTo>
                  <a:lnTo>
                    <a:pt x="1422" y="1170"/>
                  </a:lnTo>
                  <a:cubicBezTo>
                    <a:pt x="1423" y="1169"/>
                    <a:pt x="1424" y="1169"/>
                    <a:pt x="1425" y="1168"/>
                  </a:cubicBezTo>
                  <a:cubicBezTo>
                    <a:pt x="1426" y="1168"/>
                    <a:pt x="1428" y="1168"/>
                    <a:pt x="1429" y="1169"/>
                  </a:cubicBezTo>
                  <a:cubicBezTo>
                    <a:pt x="1431" y="1169"/>
                    <a:pt x="1433" y="1171"/>
                    <a:pt x="1435" y="1172"/>
                  </a:cubicBezTo>
                  <a:cubicBezTo>
                    <a:pt x="1437" y="1174"/>
                    <a:pt x="1440" y="1176"/>
                    <a:pt x="1442" y="1179"/>
                  </a:cubicBezTo>
                  <a:cubicBezTo>
                    <a:pt x="1445" y="1182"/>
                    <a:pt x="1448" y="1184"/>
                    <a:pt x="1449" y="1187"/>
                  </a:cubicBezTo>
                  <a:cubicBezTo>
                    <a:pt x="1451" y="1189"/>
                    <a:pt x="1452" y="1190"/>
                    <a:pt x="1453" y="1192"/>
                  </a:cubicBezTo>
                  <a:cubicBezTo>
                    <a:pt x="1453" y="1194"/>
                    <a:pt x="1453" y="1195"/>
                    <a:pt x="1453" y="1196"/>
                  </a:cubicBezTo>
                  <a:cubicBezTo>
                    <a:pt x="1453" y="1197"/>
                    <a:pt x="1452" y="1198"/>
                    <a:pt x="1451" y="1199"/>
                  </a:cubicBezTo>
                  <a:lnTo>
                    <a:pt x="1356" y="1295"/>
                  </a:lnTo>
                  <a:cubicBezTo>
                    <a:pt x="1366" y="1294"/>
                    <a:pt x="1374" y="1295"/>
                    <a:pt x="1382" y="1296"/>
                  </a:cubicBezTo>
                  <a:cubicBezTo>
                    <a:pt x="1390" y="1297"/>
                    <a:pt x="1397" y="1299"/>
                    <a:pt x="1403" y="1301"/>
                  </a:cubicBezTo>
                  <a:cubicBezTo>
                    <a:pt x="1409" y="1303"/>
                    <a:pt x="1415" y="1306"/>
                    <a:pt x="1420" y="1309"/>
                  </a:cubicBezTo>
                  <a:cubicBezTo>
                    <a:pt x="1425" y="1313"/>
                    <a:pt x="1430" y="1317"/>
                    <a:pt x="1435" y="1321"/>
                  </a:cubicBezTo>
                  <a:cubicBezTo>
                    <a:pt x="1447" y="1333"/>
                    <a:pt x="1454" y="1345"/>
                    <a:pt x="1458" y="1358"/>
                  </a:cubicBezTo>
                  <a:cubicBezTo>
                    <a:pt x="1461" y="1371"/>
                    <a:pt x="1462" y="1383"/>
                    <a:pt x="1459" y="1396"/>
                  </a:cubicBezTo>
                  <a:cubicBezTo>
                    <a:pt x="1457" y="1409"/>
                    <a:pt x="1451" y="1422"/>
                    <a:pt x="1443" y="1435"/>
                  </a:cubicBezTo>
                  <a:cubicBezTo>
                    <a:pt x="1435" y="1447"/>
                    <a:pt x="1426" y="1459"/>
                    <a:pt x="1414" y="1471"/>
                  </a:cubicBezTo>
                  <a:close/>
                  <a:moveTo>
                    <a:pt x="1381" y="1444"/>
                  </a:moveTo>
                  <a:cubicBezTo>
                    <a:pt x="1389" y="1436"/>
                    <a:pt x="1396" y="1427"/>
                    <a:pt x="1402" y="1419"/>
                  </a:cubicBezTo>
                  <a:cubicBezTo>
                    <a:pt x="1409" y="1410"/>
                    <a:pt x="1413" y="1401"/>
                    <a:pt x="1416" y="1392"/>
                  </a:cubicBezTo>
                  <a:cubicBezTo>
                    <a:pt x="1419" y="1383"/>
                    <a:pt x="1420" y="1374"/>
                    <a:pt x="1418" y="1365"/>
                  </a:cubicBezTo>
                  <a:cubicBezTo>
                    <a:pt x="1417" y="1357"/>
                    <a:pt x="1412" y="1348"/>
                    <a:pt x="1404" y="1341"/>
                  </a:cubicBezTo>
                  <a:cubicBezTo>
                    <a:pt x="1401" y="1337"/>
                    <a:pt x="1396" y="1334"/>
                    <a:pt x="1392" y="1331"/>
                  </a:cubicBezTo>
                  <a:cubicBezTo>
                    <a:pt x="1387" y="1329"/>
                    <a:pt x="1381" y="1327"/>
                    <a:pt x="1375" y="1325"/>
                  </a:cubicBezTo>
                  <a:cubicBezTo>
                    <a:pt x="1369" y="1324"/>
                    <a:pt x="1362" y="1323"/>
                    <a:pt x="1354" y="1323"/>
                  </a:cubicBezTo>
                  <a:cubicBezTo>
                    <a:pt x="1346" y="1323"/>
                    <a:pt x="1337" y="1323"/>
                    <a:pt x="1326" y="1325"/>
                  </a:cubicBezTo>
                  <a:lnTo>
                    <a:pt x="1263" y="1388"/>
                  </a:lnTo>
                  <a:cubicBezTo>
                    <a:pt x="1261" y="1406"/>
                    <a:pt x="1261" y="1421"/>
                    <a:pt x="1263" y="1434"/>
                  </a:cubicBezTo>
                  <a:cubicBezTo>
                    <a:pt x="1266" y="1446"/>
                    <a:pt x="1271" y="1456"/>
                    <a:pt x="1279" y="1464"/>
                  </a:cubicBezTo>
                  <a:cubicBezTo>
                    <a:pt x="1286" y="1472"/>
                    <a:pt x="1294" y="1476"/>
                    <a:pt x="1303" y="1478"/>
                  </a:cubicBezTo>
                  <a:cubicBezTo>
                    <a:pt x="1312" y="1479"/>
                    <a:pt x="1320" y="1479"/>
                    <a:pt x="1330" y="1476"/>
                  </a:cubicBezTo>
                  <a:cubicBezTo>
                    <a:pt x="1339" y="1474"/>
                    <a:pt x="1348" y="1470"/>
                    <a:pt x="1356" y="1464"/>
                  </a:cubicBezTo>
                  <a:cubicBezTo>
                    <a:pt x="1365" y="1458"/>
                    <a:pt x="1373" y="1452"/>
                    <a:pt x="1381" y="1444"/>
                  </a:cubicBezTo>
                  <a:close/>
                  <a:moveTo>
                    <a:pt x="1690" y="1461"/>
                  </a:moveTo>
                  <a:cubicBezTo>
                    <a:pt x="1688" y="1463"/>
                    <a:pt x="1686" y="1465"/>
                    <a:pt x="1684" y="1466"/>
                  </a:cubicBezTo>
                  <a:cubicBezTo>
                    <a:pt x="1683" y="1467"/>
                    <a:pt x="1681" y="1468"/>
                    <a:pt x="1680" y="1469"/>
                  </a:cubicBezTo>
                  <a:cubicBezTo>
                    <a:pt x="1679" y="1469"/>
                    <a:pt x="1678" y="1469"/>
                    <a:pt x="1677" y="1469"/>
                  </a:cubicBezTo>
                  <a:cubicBezTo>
                    <a:pt x="1677" y="1469"/>
                    <a:pt x="1676" y="1469"/>
                    <a:pt x="1675" y="1468"/>
                  </a:cubicBezTo>
                  <a:cubicBezTo>
                    <a:pt x="1674" y="1467"/>
                    <a:pt x="1674" y="1466"/>
                    <a:pt x="1673" y="1464"/>
                  </a:cubicBezTo>
                  <a:cubicBezTo>
                    <a:pt x="1672" y="1462"/>
                    <a:pt x="1671" y="1460"/>
                    <a:pt x="1670" y="1458"/>
                  </a:cubicBezTo>
                  <a:cubicBezTo>
                    <a:pt x="1669" y="1455"/>
                    <a:pt x="1668" y="1453"/>
                    <a:pt x="1666" y="1450"/>
                  </a:cubicBezTo>
                  <a:cubicBezTo>
                    <a:pt x="1664" y="1447"/>
                    <a:pt x="1661" y="1444"/>
                    <a:pt x="1658" y="1441"/>
                  </a:cubicBezTo>
                  <a:cubicBezTo>
                    <a:pt x="1654" y="1436"/>
                    <a:pt x="1649" y="1433"/>
                    <a:pt x="1645" y="1432"/>
                  </a:cubicBezTo>
                  <a:cubicBezTo>
                    <a:pt x="1640" y="1430"/>
                    <a:pt x="1636" y="1430"/>
                    <a:pt x="1631" y="1431"/>
                  </a:cubicBezTo>
                  <a:cubicBezTo>
                    <a:pt x="1626" y="1432"/>
                    <a:pt x="1621" y="1434"/>
                    <a:pt x="1615" y="1438"/>
                  </a:cubicBezTo>
                  <a:cubicBezTo>
                    <a:pt x="1609" y="1442"/>
                    <a:pt x="1603" y="1448"/>
                    <a:pt x="1596" y="1455"/>
                  </a:cubicBezTo>
                  <a:lnTo>
                    <a:pt x="1579" y="1472"/>
                  </a:lnTo>
                  <a:lnTo>
                    <a:pt x="1615" y="1507"/>
                  </a:lnTo>
                  <a:cubicBezTo>
                    <a:pt x="1616" y="1508"/>
                    <a:pt x="1616" y="1509"/>
                    <a:pt x="1616" y="1510"/>
                  </a:cubicBezTo>
                  <a:cubicBezTo>
                    <a:pt x="1617" y="1511"/>
                    <a:pt x="1616" y="1513"/>
                    <a:pt x="1616" y="1514"/>
                  </a:cubicBezTo>
                  <a:cubicBezTo>
                    <a:pt x="1616" y="1516"/>
                    <a:pt x="1615" y="1518"/>
                    <a:pt x="1613" y="1519"/>
                  </a:cubicBezTo>
                  <a:cubicBezTo>
                    <a:pt x="1612" y="1521"/>
                    <a:pt x="1610" y="1523"/>
                    <a:pt x="1608" y="1525"/>
                  </a:cubicBezTo>
                  <a:cubicBezTo>
                    <a:pt x="1604" y="1530"/>
                    <a:pt x="1600" y="1532"/>
                    <a:pt x="1597" y="1533"/>
                  </a:cubicBezTo>
                  <a:cubicBezTo>
                    <a:pt x="1594" y="1534"/>
                    <a:pt x="1592" y="1533"/>
                    <a:pt x="1590" y="1532"/>
                  </a:cubicBezTo>
                  <a:lnTo>
                    <a:pt x="1555" y="1496"/>
                  </a:lnTo>
                  <a:lnTo>
                    <a:pt x="1415" y="1636"/>
                  </a:lnTo>
                  <a:cubicBezTo>
                    <a:pt x="1414" y="1637"/>
                    <a:pt x="1413" y="1637"/>
                    <a:pt x="1412" y="1637"/>
                  </a:cubicBezTo>
                  <a:cubicBezTo>
                    <a:pt x="1411" y="1637"/>
                    <a:pt x="1410" y="1637"/>
                    <a:pt x="1408" y="1637"/>
                  </a:cubicBezTo>
                  <a:cubicBezTo>
                    <a:pt x="1407" y="1636"/>
                    <a:pt x="1405" y="1635"/>
                    <a:pt x="1403" y="1633"/>
                  </a:cubicBezTo>
                  <a:cubicBezTo>
                    <a:pt x="1400" y="1631"/>
                    <a:pt x="1398" y="1629"/>
                    <a:pt x="1395" y="1626"/>
                  </a:cubicBezTo>
                  <a:cubicBezTo>
                    <a:pt x="1392" y="1624"/>
                    <a:pt x="1390" y="1621"/>
                    <a:pt x="1388" y="1619"/>
                  </a:cubicBezTo>
                  <a:cubicBezTo>
                    <a:pt x="1387" y="1617"/>
                    <a:pt x="1386" y="1615"/>
                    <a:pt x="1385" y="1613"/>
                  </a:cubicBezTo>
                  <a:cubicBezTo>
                    <a:pt x="1384" y="1612"/>
                    <a:pt x="1384" y="1610"/>
                    <a:pt x="1384" y="1609"/>
                  </a:cubicBezTo>
                  <a:cubicBezTo>
                    <a:pt x="1384" y="1608"/>
                    <a:pt x="1385" y="1607"/>
                    <a:pt x="1386" y="1606"/>
                  </a:cubicBezTo>
                  <a:lnTo>
                    <a:pt x="1525" y="1467"/>
                  </a:lnTo>
                  <a:lnTo>
                    <a:pt x="1503" y="1444"/>
                  </a:lnTo>
                  <a:cubicBezTo>
                    <a:pt x="1501" y="1442"/>
                    <a:pt x="1501" y="1440"/>
                    <a:pt x="1502" y="1437"/>
                  </a:cubicBezTo>
                  <a:cubicBezTo>
                    <a:pt x="1503" y="1434"/>
                    <a:pt x="1505" y="1431"/>
                    <a:pt x="1509" y="1427"/>
                  </a:cubicBezTo>
                  <a:cubicBezTo>
                    <a:pt x="1512" y="1424"/>
                    <a:pt x="1514" y="1423"/>
                    <a:pt x="1515" y="1421"/>
                  </a:cubicBezTo>
                  <a:cubicBezTo>
                    <a:pt x="1517" y="1420"/>
                    <a:pt x="1519" y="1419"/>
                    <a:pt x="1520" y="1419"/>
                  </a:cubicBezTo>
                  <a:cubicBezTo>
                    <a:pt x="1522" y="1418"/>
                    <a:pt x="1523" y="1418"/>
                    <a:pt x="1524" y="1418"/>
                  </a:cubicBezTo>
                  <a:cubicBezTo>
                    <a:pt x="1525" y="1419"/>
                    <a:pt x="1526" y="1419"/>
                    <a:pt x="1527" y="1420"/>
                  </a:cubicBezTo>
                  <a:lnTo>
                    <a:pt x="1550" y="1443"/>
                  </a:lnTo>
                  <a:lnTo>
                    <a:pt x="1566" y="1426"/>
                  </a:lnTo>
                  <a:cubicBezTo>
                    <a:pt x="1577" y="1415"/>
                    <a:pt x="1588" y="1407"/>
                    <a:pt x="1598" y="1401"/>
                  </a:cubicBezTo>
                  <a:cubicBezTo>
                    <a:pt x="1608" y="1395"/>
                    <a:pt x="1617" y="1391"/>
                    <a:pt x="1627" y="1391"/>
                  </a:cubicBezTo>
                  <a:cubicBezTo>
                    <a:pt x="1636" y="1390"/>
                    <a:pt x="1645" y="1391"/>
                    <a:pt x="1654" y="1395"/>
                  </a:cubicBezTo>
                  <a:cubicBezTo>
                    <a:pt x="1663" y="1399"/>
                    <a:pt x="1672" y="1406"/>
                    <a:pt x="1680" y="1414"/>
                  </a:cubicBezTo>
                  <a:cubicBezTo>
                    <a:pt x="1684" y="1419"/>
                    <a:pt x="1688" y="1423"/>
                    <a:pt x="1691" y="1428"/>
                  </a:cubicBezTo>
                  <a:cubicBezTo>
                    <a:pt x="1694" y="1432"/>
                    <a:pt x="1696" y="1436"/>
                    <a:pt x="1698" y="1439"/>
                  </a:cubicBezTo>
                  <a:cubicBezTo>
                    <a:pt x="1699" y="1442"/>
                    <a:pt x="1700" y="1444"/>
                    <a:pt x="1700" y="1446"/>
                  </a:cubicBezTo>
                  <a:cubicBezTo>
                    <a:pt x="1700" y="1447"/>
                    <a:pt x="1699" y="1449"/>
                    <a:pt x="1699" y="1450"/>
                  </a:cubicBezTo>
                  <a:cubicBezTo>
                    <a:pt x="1698" y="1452"/>
                    <a:pt x="1697" y="1453"/>
                    <a:pt x="1696" y="1455"/>
                  </a:cubicBezTo>
                  <a:cubicBezTo>
                    <a:pt x="1694" y="1457"/>
                    <a:pt x="1692" y="1459"/>
                    <a:pt x="1690" y="1461"/>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88" name="Freeform 135"/>
            <p:cNvSpPr>
              <a:spLocks/>
            </p:cNvSpPr>
            <p:nvPr/>
          </p:nvSpPr>
          <p:spPr bwMode="auto">
            <a:xfrm>
              <a:off x="2083" y="1510"/>
              <a:ext cx="36" cy="36"/>
            </a:xfrm>
            <a:custGeom>
              <a:avLst/>
              <a:gdLst>
                <a:gd name="T0" fmla="*/ 134 w 345"/>
                <a:gd name="T1" fmla="*/ 338 h 346"/>
                <a:gd name="T2" fmla="*/ 128 w 345"/>
                <a:gd name="T3" fmla="*/ 343 h 346"/>
                <a:gd name="T4" fmla="*/ 123 w 345"/>
                <a:gd name="T5" fmla="*/ 345 h 346"/>
                <a:gd name="T6" fmla="*/ 119 w 345"/>
                <a:gd name="T7" fmla="*/ 346 h 346"/>
                <a:gd name="T8" fmla="*/ 116 w 345"/>
                <a:gd name="T9" fmla="*/ 344 h 346"/>
                <a:gd name="T10" fmla="*/ 6 w 345"/>
                <a:gd name="T11" fmla="*/ 234 h 346"/>
                <a:gd name="T12" fmla="*/ 1 w 345"/>
                <a:gd name="T13" fmla="*/ 224 h 346"/>
                <a:gd name="T14" fmla="*/ 7 w 345"/>
                <a:gd name="T15" fmla="*/ 210 h 346"/>
                <a:gd name="T16" fmla="*/ 211 w 345"/>
                <a:gd name="T17" fmla="*/ 6 h 346"/>
                <a:gd name="T18" fmla="*/ 224 w 345"/>
                <a:gd name="T19" fmla="*/ 0 h 346"/>
                <a:gd name="T20" fmla="*/ 235 w 345"/>
                <a:gd name="T21" fmla="*/ 5 h 346"/>
                <a:gd name="T22" fmla="*/ 343 w 345"/>
                <a:gd name="T23" fmla="*/ 114 h 346"/>
                <a:gd name="T24" fmla="*/ 345 w 345"/>
                <a:gd name="T25" fmla="*/ 117 h 346"/>
                <a:gd name="T26" fmla="*/ 344 w 345"/>
                <a:gd name="T27" fmla="*/ 121 h 346"/>
                <a:gd name="T28" fmla="*/ 342 w 345"/>
                <a:gd name="T29" fmla="*/ 126 h 346"/>
                <a:gd name="T30" fmla="*/ 336 w 345"/>
                <a:gd name="T31" fmla="*/ 133 h 346"/>
                <a:gd name="T32" fmla="*/ 330 w 345"/>
                <a:gd name="T33" fmla="*/ 138 h 346"/>
                <a:gd name="T34" fmla="*/ 325 w 345"/>
                <a:gd name="T35" fmla="*/ 141 h 346"/>
                <a:gd name="T36" fmla="*/ 321 w 345"/>
                <a:gd name="T37" fmla="*/ 141 h 346"/>
                <a:gd name="T38" fmla="*/ 318 w 345"/>
                <a:gd name="T39" fmla="*/ 139 h 346"/>
                <a:gd name="T40" fmla="*/ 228 w 345"/>
                <a:gd name="T41" fmla="*/ 50 h 346"/>
                <a:gd name="T42" fmla="*/ 157 w 345"/>
                <a:gd name="T43" fmla="*/ 121 h 346"/>
                <a:gd name="T44" fmla="*/ 233 w 345"/>
                <a:gd name="T45" fmla="*/ 198 h 346"/>
                <a:gd name="T46" fmla="*/ 235 w 345"/>
                <a:gd name="T47" fmla="*/ 202 h 346"/>
                <a:gd name="T48" fmla="*/ 235 w 345"/>
                <a:gd name="T49" fmla="*/ 206 h 346"/>
                <a:gd name="T50" fmla="*/ 232 w 345"/>
                <a:gd name="T51" fmla="*/ 211 h 346"/>
                <a:gd name="T52" fmla="*/ 227 w 345"/>
                <a:gd name="T53" fmla="*/ 217 h 346"/>
                <a:gd name="T54" fmla="*/ 221 w 345"/>
                <a:gd name="T55" fmla="*/ 222 h 346"/>
                <a:gd name="T56" fmla="*/ 216 w 345"/>
                <a:gd name="T57" fmla="*/ 225 h 346"/>
                <a:gd name="T58" fmla="*/ 212 w 345"/>
                <a:gd name="T59" fmla="*/ 225 h 346"/>
                <a:gd name="T60" fmla="*/ 209 w 345"/>
                <a:gd name="T61" fmla="*/ 223 h 346"/>
                <a:gd name="T62" fmla="*/ 132 w 345"/>
                <a:gd name="T63" fmla="*/ 146 h 346"/>
                <a:gd name="T64" fmla="*/ 50 w 345"/>
                <a:gd name="T65" fmla="*/ 228 h 346"/>
                <a:gd name="T66" fmla="*/ 141 w 345"/>
                <a:gd name="T67" fmla="*/ 319 h 346"/>
                <a:gd name="T68" fmla="*/ 143 w 345"/>
                <a:gd name="T69" fmla="*/ 322 h 346"/>
                <a:gd name="T70" fmla="*/ 143 w 345"/>
                <a:gd name="T71" fmla="*/ 326 h 346"/>
                <a:gd name="T72" fmla="*/ 140 w 345"/>
                <a:gd name="T73" fmla="*/ 331 h 346"/>
                <a:gd name="T74" fmla="*/ 134 w 345"/>
                <a:gd name="T75" fmla="*/ 33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346">
                  <a:moveTo>
                    <a:pt x="134" y="338"/>
                  </a:moveTo>
                  <a:cubicBezTo>
                    <a:pt x="132" y="340"/>
                    <a:pt x="130" y="341"/>
                    <a:pt x="128" y="343"/>
                  </a:cubicBezTo>
                  <a:cubicBezTo>
                    <a:pt x="127" y="344"/>
                    <a:pt x="125" y="345"/>
                    <a:pt x="123" y="345"/>
                  </a:cubicBezTo>
                  <a:cubicBezTo>
                    <a:pt x="122" y="346"/>
                    <a:pt x="120" y="346"/>
                    <a:pt x="119" y="346"/>
                  </a:cubicBezTo>
                  <a:cubicBezTo>
                    <a:pt x="118" y="345"/>
                    <a:pt x="117" y="345"/>
                    <a:pt x="116" y="344"/>
                  </a:cubicBezTo>
                  <a:lnTo>
                    <a:pt x="6" y="234"/>
                  </a:lnTo>
                  <a:cubicBezTo>
                    <a:pt x="3" y="231"/>
                    <a:pt x="1" y="228"/>
                    <a:pt x="1" y="224"/>
                  </a:cubicBezTo>
                  <a:cubicBezTo>
                    <a:pt x="0" y="219"/>
                    <a:pt x="2" y="215"/>
                    <a:pt x="7" y="210"/>
                  </a:cubicBezTo>
                  <a:lnTo>
                    <a:pt x="211" y="6"/>
                  </a:lnTo>
                  <a:cubicBezTo>
                    <a:pt x="215" y="2"/>
                    <a:pt x="220" y="0"/>
                    <a:pt x="224" y="0"/>
                  </a:cubicBezTo>
                  <a:cubicBezTo>
                    <a:pt x="228" y="1"/>
                    <a:pt x="232" y="3"/>
                    <a:pt x="235" y="5"/>
                  </a:cubicBezTo>
                  <a:lnTo>
                    <a:pt x="343" y="114"/>
                  </a:lnTo>
                  <a:cubicBezTo>
                    <a:pt x="344" y="115"/>
                    <a:pt x="345" y="116"/>
                    <a:pt x="345" y="117"/>
                  </a:cubicBezTo>
                  <a:cubicBezTo>
                    <a:pt x="345" y="118"/>
                    <a:pt x="345" y="120"/>
                    <a:pt x="344" y="121"/>
                  </a:cubicBezTo>
                  <a:cubicBezTo>
                    <a:pt x="344" y="123"/>
                    <a:pt x="343" y="125"/>
                    <a:pt x="342" y="126"/>
                  </a:cubicBezTo>
                  <a:cubicBezTo>
                    <a:pt x="340" y="128"/>
                    <a:pt x="339" y="130"/>
                    <a:pt x="336" y="133"/>
                  </a:cubicBezTo>
                  <a:cubicBezTo>
                    <a:pt x="334" y="135"/>
                    <a:pt x="332" y="137"/>
                    <a:pt x="330" y="138"/>
                  </a:cubicBezTo>
                  <a:cubicBezTo>
                    <a:pt x="328" y="139"/>
                    <a:pt x="327" y="140"/>
                    <a:pt x="325" y="141"/>
                  </a:cubicBezTo>
                  <a:cubicBezTo>
                    <a:pt x="324" y="141"/>
                    <a:pt x="322" y="141"/>
                    <a:pt x="321" y="141"/>
                  </a:cubicBezTo>
                  <a:cubicBezTo>
                    <a:pt x="320" y="141"/>
                    <a:pt x="319" y="140"/>
                    <a:pt x="318" y="139"/>
                  </a:cubicBezTo>
                  <a:lnTo>
                    <a:pt x="228" y="50"/>
                  </a:lnTo>
                  <a:lnTo>
                    <a:pt x="157" y="121"/>
                  </a:lnTo>
                  <a:lnTo>
                    <a:pt x="233" y="198"/>
                  </a:lnTo>
                  <a:cubicBezTo>
                    <a:pt x="234" y="199"/>
                    <a:pt x="235" y="200"/>
                    <a:pt x="235" y="202"/>
                  </a:cubicBezTo>
                  <a:cubicBezTo>
                    <a:pt x="235" y="203"/>
                    <a:pt x="235" y="204"/>
                    <a:pt x="235" y="206"/>
                  </a:cubicBezTo>
                  <a:cubicBezTo>
                    <a:pt x="234" y="207"/>
                    <a:pt x="233" y="209"/>
                    <a:pt x="232" y="211"/>
                  </a:cubicBezTo>
                  <a:cubicBezTo>
                    <a:pt x="231" y="213"/>
                    <a:pt x="229" y="215"/>
                    <a:pt x="227" y="217"/>
                  </a:cubicBezTo>
                  <a:cubicBezTo>
                    <a:pt x="224" y="219"/>
                    <a:pt x="223" y="221"/>
                    <a:pt x="221" y="222"/>
                  </a:cubicBezTo>
                  <a:cubicBezTo>
                    <a:pt x="219" y="223"/>
                    <a:pt x="217" y="224"/>
                    <a:pt x="216" y="225"/>
                  </a:cubicBezTo>
                  <a:cubicBezTo>
                    <a:pt x="214" y="225"/>
                    <a:pt x="213" y="225"/>
                    <a:pt x="212" y="225"/>
                  </a:cubicBezTo>
                  <a:cubicBezTo>
                    <a:pt x="211" y="224"/>
                    <a:pt x="210" y="224"/>
                    <a:pt x="209" y="223"/>
                  </a:cubicBezTo>
                  <a:lnTo>
                    <a:pt x="132" y="146"/>
                  </a:lnTo>
                  <a:lnTo>
                    <a:pt x="50" y="228"/>
                  </a:lnTo>
                  <a:lnTo>
                    <a:pt x="141" y="319"/>
                  </a:lnTo>
                  <a:cubicBezTo>
                    <a:pt x="142" y="320"/>
                    <a:pt x="142" y="321"/>
                    <a:pt x="143" y="322"/>
                  </a:cubicBezTo>
                  <a:cubicBezTo>
                    <a:pt x="143" y="323"/>
                    <a:pt x="143" y="325"/>
                    <a:pt x="143" y="326"/>
                  </a:cubicBezTo>
                  <a:cubicBezTo>
                    <a:pt x="142" y="328"/>
                    <a:pt x="141" y="329"/>
                    <a:pt x="140" y="331"/>
                  </a:cubicBezTo>
                  <a:cubicBezTo>
                    <a:pt x="139" y="333"/>
                    <a:pt x="137" y="335"/>
                    <a:pt x="134" y="338"/>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89" name="Freeform 136"/>
            <p:cNvSpPr>
              <a:spLocks/>
            </p:cNvSpPr>
            <p:nvPr/>
          </p:nvSpPr>
          <p:spPr bwMode="auto">
            <a:xfrm>
              <a:off x="2101" y="1526"/>
              <a:ext cx="29" cy="29"/>
            </a:xfrm>
            <a:custGeom>
              <a:avLst/>
              <a:gdLst>
                <a:gd name="T0" fmla="*/ 220 w 269"/>
                <a:gd name="T1" fmla="*/ 128 h 269"/>
                <a:gd name="T2" fmla="*/ 215 w 269"/>
                <a:gd name="T3" fmla="*/ 133 h 269"/>
                <a:gd name="T4" fmla="*/ 210 w 269"/>
                <a:gd name="T5" fmla="*/ 137 h 269"/>
                <a:gd name="T6" fmla="*/ 206 w 269"/>
                <a:gd name="T7" fmla="*/ 138 h 269"/>
                <a:gd name="T8" fmla="*/ 201 w 269"/>
                <a:gd name="T9" fmla="*/ 138 h 269"/>
                <a:gd name="T10" fmla="*/ 168 w 269"/>
                <a:gd name="T11" fmla="*/ 130 h 269"/>
                <a:gd name="T12" fmla="*/ 31 w 269"/>
                <a:gd name="T13" fmla="*/ 267 h 269"/>
                <a:gd name="T14" fmla="*/ 28 w 269"/>
                <a:gd name="T15" fmla="*/ 269 h 269"/>
                <a:gd name="T16" fmla="*/ 24 w 269"/>
                <a:gd name="T17" fmla="*/ 268 h 269"/>
                <a:gd name="T18" fmla="*/ 18 w 269"/>
                <a:gd name="T19" fmla="*/ 265 h 269"/>
                <a:gd name="T20" fmla="*/ 11 w 269"/>
                <a:gd name="T21" fmla="*/ 258 h 269"/>
                <a:gd name="T22" fmla="*/ 4 w 269"/>
                <a:gd name="T23" fmla="*/ 251 h 269"/>
                <a:gd name="T24" fmla="*/ 0 w 269"/>
                <a:gd name="T25" fmla="*/ 245 h 269"/>
                <a:gd name="T26" fmla="*/ 0 w 269"/>
                <a:gd name="T27" fmla="*/ 241 h 269"/>
                <a:gd name="T28" fmla="*/ 1 w 269"/>
                <a:gd name="T29" fmla="*/ 238 h 269"/>
                <a:gd name="T30" fmla="*/ 120 w 269"/>
                <a:gd name="T31" fmla="*/ 119 h 269"/>
                <a:gd name="T32" fmla="*/ 89 w 269"/>
                <a:gd name="T33" fmla="*/ 112 h 269"/>
                <a:gd name="T34" fmla="*/ 85 w 269"/>
                <a:gd name="T35" fmla="*/ 107 h 269"/>
                <a:gd name="T36" fmla="*/ 93 w 269"/>
                <a:gd name="T37" fmla="*/ 95 h 269"/>
                <a:gd name="T38" fmla="*/ 99 w 269"/>
                <a:gd name="T39" fmla="*/ 90 h 269"/>
                <a:gd name="T40" fmla="*/ 104 w 269"/>
                <a:gd name="T41" fmla="*/ 87 h 269"/>
                <a:gd name="T42" fmla="*/ 108 w 269"/>
                <a:gd name="T43" fmla="*/ 86 h 269"/>
                <a:gd name="T44" fmla="*/ 113 w 269"/>
                <a:gd name="T45" fmla="*/ 86 h 269"/>
                <a:gd name="T46" fmla="*/ 146 w 269"/>
                <a:gd name="T47" fmla="*/ 94 h 269"/>
                <a:gd name="T48" fmla="*/ 238 w 269"/>
                <a:gd name="T49" fmla="*/ 2 h 269"/>
                <a:gd name="T50" fmla="*/ 241 w 269"/>
                <a:gd name="T51" fmla="*/ 0 h 269"/>
                <a:gd name="T52" fmla="*/ 245 w 269"/>
                <a:gd name="T53" fmla="*/ 1 h 269"/>
                <a:gd name="T54" fmla="*/ 250 w 269"/>
                <a:gd name="T55" fmla="*/ 4 h 269"/>
                <a:gd name="T56" fmla="*/ 258 w 269"/>
                <a:gd name="T57" fmla="*/ 11 h 269"/>
                <a:gd name="T58" fmla="*/ 265 w 269"/>
                <a:gd name="T59" fmla="*/ 18 h 269"/>
                <a:gd name="T60" fmla="*/ 268 w 269"/>
                <a:gd name="T61" fmla="*/ 24 h 269"/>
                <a:gd name="T62" fmla="*/ 269 w 269"/>
                <a:gd name="T63" fmla="*/ 28 h 269"/>
                <a:gd name="T64" fmla="*/ 267 w 269"/>
                <a:gd name="T65" fmla="*/ 31 h 269"/>
                <a:gd name="T66" fmla="*/ 193 w 269"/>
                <a:gd name="T67" fmla="*/ 104 h 269"/>
                <a:gd name="T68" fmla="*/ 225 w 269"/>
                <a:gd name="T69" fmla="*/ 111 h 269"/>
                <a:gd name="T70" fmla="*/ 229 w 269"/>
                <a:gd name="T71" fmla="*/ 117 h 269"/>
                <a:gd name="T72" fmla="*/ 220 w 269"/>
                <a:gd name="T73" fmla="*/ 128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9" h="269">
                  <a:moveTo>
                    <a:pt x="220" y="128"/>
                  </a:moveTo>
                  <a:cubicBezTo>
                    <a:pt x="218" y="130"/>
                    <a:pt x="217" y="132"/>
                    <a:pt x="215" y="133"/>
                  </a:cubicBezTo>
                  <a:cubicBezTo>
                    <a:pt x="213" y="135"/>
                    <a:pt x="212" y="136"/>
                    <a:pt x="210" y="137"/>
                  </a:cubicBezTo>
                  <a:cubicBezTo>
                    <a:pt x="209" y="137"/>
                    <a:pt x="207" y="138"/>
                    <a:pt x="206" y="138"/>
                  </a:cubicBezTo>
                  <a:cubicBezTo>
                    <a:pt x="204" y="138"/>
                    <a:pt x="203" y="138"/>
                    <a:pt x="201" y="138"/>
                  </a:cubicBezTo>
                  <a:lnTo>
                    <a:pt x="168" y="130"/>
                  </a:lnTo>
                  <a:lnTo>
                    <a:pt x="31" y="267"/>
                  </a:lnTo>
                  <a:cubicBezTo>
                    <a:pt x="30" y="268"/>
                    <a:pt x="29" y="269"/>
                    <a:pt x="28" y="269"/>
                  </a:cubicBezTo>
                  <a:cubicBezTo>
                    <a:pt x="26" y="269"/>
                    <a:pt x="25" y="269"/>
                    <a:pt x="24" y="268"/>
                  </a:cubicBezTo>
                  <a:cubicBezTo>
                    <a:pt x="22" y="268"/>
                    <a:pt x="20" y="266"/>
                    <a:pt x="18" y="265"/>
                  </a:cubicBezTo>
                  <a:cubicBezTo>
                    <a:pt x="16" y="263"/>
                    <a:pt x="14" y="261"/>
                    <a:pt x="11" y="258"/>
                  </a:cubicBezTo>
                  <a:cubicBezTo>
                    <a:pt x="8" y="255"/>
                    <a:pt x="5" y="253"/>
                    <a:pt x="4" y="251"/>
                  </a:cubicBezTo>
                  <a:cubicBezTo>
                    <a:pt x="2" y="248"/>
                    <a:pt x="1" y="247"/>
                    <a:pt x="0" y="245"/>
                  </a:cubicBezTo>
                  <a:cubicBezTo>
                    <a:pt x="0" y="244"/>
                    <a:pt x="0" y="242"/>
                    <a:pt x="0" y="241"/>
                  </a:cubicBezTo>
                  <a:cubicBezTo>
                    <a:pt x="0" y="240"/>
                    <a:pt x="1" y="239"/>
                    <a:pt x="1" y="238"/>
                  </a:cubicBezTo>
                  <a:lnTo>
                    <a:pt x="120" y="119"/>
                  </a:lnTo>
                  <a:lnTo>
                    <a:pt x="89" y="112"/>
                  </a:lnTo>
                  <a:cubicBezTo>
                    <a:pt x="86" y="111"/>
                    <a:pt x="84" y="110"/>
                    <a:pt x="85" y="107"/>
                  </a:cubicBezTo>
                  <a:cubicBezTo>
                    <a:pt x="86" y="104"/>
                    <a:pt x="88" y="101"/>
                    <a:pt x="93" y="95"/>
                  </a:cubicBezTo>
                  <a:cubicBezTo>
                    <a:pt x="96" y="93"/>
                    <a:pt x="97" y="92"/>
                    <a:pt x="99" y="90"/>
                  </a:cubicBezTo>
                  <a:cubicBezTo>
                    <a:pt x="101" y="89"/>
                    <a:pt x="102" y="88"/>
                    <a:pt x="104" y="87"/>
                  </a:cubicBezTo>
                  <a:cubicBezTo>
                    <a:pt x="105" y="86"/>
                    <a:pt x="107" y="86"/>
                    <a:pt x="108" y="86"/>
                  </a:cubicBezTo>
                  <a:cubicBezTo>
                    <a:pt x="110" y="85"/>
                    <a:pt x="111" y="86"/>
                    <a:pt x="113" y="86"/>
                  </a:cubicBezTo>
                  <a:lnTo>
                    <a:pt x="146" y="94"/>
                  </a:lnTo>
                  <a:lnTo>
                    <a:pt x="238" y="2"/>
                  </a:lnTo>
                  <a:cubicBezTo>
                    <a:pt x="239" y="1"/>
                    <a:pt x="240" y="0"/>
                    <a:pt x="241" y="0"/>
                  </a:cubicBezTo>
                  <a:cubicBezTo>
                    <a:pt x="242" y="0"/>
                    <a:pt x="243" y="0"/>
                    <a:pt x="245" y="1"/>
                  </a:cubicBezTo>
                  <a:cubicBezTo>
                    <a:pt x="246" y="1"/>
                    <a:pt x="248" y="2"/>
                    <a:pt x="250" y="4"/>
                  </a:cubicBezTo>
                  <a:cubicBezTo>
                    <a:pt x="253" y="6"/>
                    <a:pt x="255" y="8"/>
                    <a:pt x="258" y="11"/>
                  </a:cubicBezTo>
                  <a:cubicBezTo>
                    <a:pt x="261" y="14"/>
                    <a:pt x="263" y="16"/>
                    <a:pt x="265" y="18"/>
                  </a:cubicBezTo>
                  <a:cubicBezTo>
                    <a:pt x="266" y="20"/>
                    <a:pt x="267" y="22"/>
                    <a:pt x="268" y="24"/>
                  </a:cubicBezTo>
                  <a:cubicBezTo>
                    <a:pt x="269" y="25"/>
                    <a:pt x="269" y="27"/>
                    <a:pt x="269" y="28"/>
                  </a:cubicBezTo>
                  <a:cubicBezTo>
                    <a:pt x="268" y="29"/>
                    <a:pt x="268" y="30"/>
                    <a:pt x="267" y="31"/>
                  </a:cubicBezTo>
                  <a:lnTo>
                    <a:pt x="193" y="104"/>
                  </a:lnTo>
                  <a:lnTo>
                    <a:pt x="225" y="111"/>
                  </a:lnTo>
                  <a:cubicBezTo>
                    <a:pt x="228" y="112"/>
                    <a:pt x="229" y="114"/>
                    <a:pt x="229" y="117"/>
                  </a:cubicBezTo>
                  <a:cubicBezTo>
                    <a:pt x="228" y="119"/>
                    <a:pt x="226" y="123"/>
                    <a:pt x="220" y="128"/>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90" name="Freeform 137"/>
            <p:cNvSpPr>
              <a:spLocks/>
            </p:cNvSpPr>
            <p:nvPr/>
          </p:nvSpPr>
          <p:spPr bwMode="auto">
            <a:xfrm>
              <a:off x="2111" y="1537"/>
              <a:ext cx="39" cy="40"/>
            </a:xfrm>
            <a:custGeom>
              <a:avLst/>
              <a:gdLst>
                <a:gd name="T0" fmla="*/ 152 w 369"/>
                <a:gd name="T1" fmla="*/ 370 h 373"/>
                <a:gd name="T2" fmla="*/ 149 w 369"/>
                <a:gd name="T3" fmla="*/ 372 h 373"/>
                <a:gd name="T4" fmla="*/ 145 w 369"/>
                <a:gd name="T5" fmla="*/ 372 h 373"/>
                <a:gd name="T6" fmla="*/ 139 w 369"/>
                <a:gd name="T7" fmla="*/ 368 h 373"/>
                <a:gd name="T8" fmla="*/ 130 w 369"/>
                <a:gd name="T9" fmla="*/ 361 h 373"/>
                <a:gd name="T10" fmla="*/ 121 w 369"/>
                <a:gd name="T11" fmla="*/ 350 h 373"/>
                <a:gd name="T12" fmla="*/ 117 w 369"/>
                <a:gd name="T13" fmla="*/ 343 h 373"/>
                <a:gd name="T14" fmla="*/ 117 w 369"/>
                <a:gd name="T15" fmla="*/ 336 h 373"/>
                <a:gd name="T16" fmla="*/ 147 w 369"/>
                <a:gd name="T17" fmla="*/ 138 h 373"/>
                <a:gd name="T18" fmla="*/ 33 w 369"/>
                <a:gd name="T19" fmla="*/ 252 h 373"/>
                <a:gd name="T20" fmla="*/ 30 w 369"/>
                <a:gd name="T21" fmla="*/ 254 h 373"/>
                <a:gd name="T22" fmla="*/ 26 w 369"/>
                <a:gd name="T23" fmla="*/ 253 h 373"/>
                <a:gd name="T24" fmla="*/ 20 w 369"/>
                <a:gd name="T25" fmla="*/ 249 h 373"/>
                <a:gd name="T26" fmla="*/ 12 w 369"/>
                <a:gd name="T27" fmla="*/ 242 h 373"/>
                <a:gd name="T28" fmla="*/ 5 w 369"/>
                <a:gd name="T29" fmla="*/ 235 h 373"/>
                <a:gd name="T30" fmla="*/ 1 w 369"/>
                <a:gd name="T31" fmla="*/ 229 h 373"/>
                <a:gd name="T32" fmla="*/ 1 w 369"/>
                <a:gd name="T33" fmla="*/ 225 h 373"/>
                <a:gd name="T34" fmla="*/ 2 w 369"/>
                <a:gd name="T35" fmla="*/ 222 h 373"/>
                <a:gd name="T36" fmla="*/ 222 w 369"/>
                <a:gd name="T37" fmla="*/ 2 h 373"/>
                <a:gd name="T38" fmla="*/ 225 w 369"/>
                <a:gd name="T39" fmla="*/ 0 h 373"/>
                <a:gd name="T40" fmla="*/ 229 w 369"/>
                <a:gd name="T41" fmla="*/ 1 h 373"/>
                <a:gd name="T42" fmla="*/ 235 w 369"/>
                <a:gd name="T43" fmla="*/ 5 h 373"/>
                <a:gd name="T44" fmla="*/ 243 w 369"/>
                <a:gd name="T45" fmla="*/ 12 h 373"/>
                <a:gd name="T46" fmla="*/ 250 w 369"/>
                <a:gd name="T47" fmla="*/ 19 h 373"/>
                <a:gd name="T48" fmla="*/ 253 w 369"/>
                <a:gd name="T49" fmla="*/ 25 h 373"/>
                <a:gd name="T50" fmla="*/ 254 w 369"/>
                <a:gd name="T51" fmla="*/ 29 h 373"/>
                <a:gd name="T52" fmla="*/ 252 w 369"/>
                <a:gd name="T53" fmla="*/ 32 h 373"/>
                <a:gd name="T54" fmla="*/ 151 w 369"/>
                <a:gd name="T55" fmla="*/ 134 h 373"/>
                <a:gd name="T56" fmla="*/ 333 w 369"/>
                <a:gd name="T57" fmla="*/ 113 h 373"/>
                <a:gd name="T58" fmla="*/ 339 w 369"/>
                <a:gd name="T59" fmla="*/ 113 h 373"/>
                <a:gd name="T60" fmla="*/ 344 w 369"/>
                <a:gd name="T61" fmla="*/ 115 h 373"/>
                <a:gd name="T62" fmla="*/ 350 w 369"/>
                <a:gd name="T63" fmla="*/ 119 h 373"/>
                <a:gd name="T64" fmla="*/ 357 w 369"/>
                <a:gd name="T65" fmla="*/ 126 h 373"/>
                <a:gd name="T66" fmla="*/ 364 w 369"/>
                <a:gd name="T67" fmla="*/ 134 h 373"/>
                <a:gd name="T68" fmla="*/ 368 w 369"/>
                <a:gd name="T69" fmla="*/ 140 h 373"/>
                <a:gd name="T70" fmla="*/ 368 w 369"/>
                <a:gd name="T71" fmla="*/ 144 h 373"/>
                <a:gd name="T72" fmla="*/ 367 w 369"/>
                <a:gd name="T73" fmla="*/ 147 h 373"/>
                <a:gd name="T74" fmla="*/ 361 w 369"/>
                <a:gd name="T75" fmla="*/ 150 h 373"/>
                <a:gd name="T76" fmla="*/ 350 w 369"/>
                <a:gd name="T77" fmla="*/ 152 h 373"/>
                <a:gd name="T78" fmla="*/ 184 w 369"/>
                <a:gd name="T79" fmla="*/ 167 h 373"/>
                <a:gd name="T80" fmla="*/ 157 w 369"/>
                <a:gd name="T81" fmla="*/ 357 h 373"/>
                <a:gd name="T82" fmla="*/ 154 w 369"/>
                <a:gd name="T83" fmla="*/ 367 h 373"/>
                <a:gd name="T84" fmla="*/ 152 w 369"/>
                <a:gd name="T85" fmla="*/ 37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9" h="373">
                  <a:moveTo>
                    <a:pt x="152" y="370"/>
                  </a:moveTo>
                  <a:cubicBezTo>
                    <a:pt x="151" y="371"/>
                    <a:pt x="150" y="372"/>
                    <a:pt x="149" y="372"/>
                  </a:cubicBezTo>
                  <a:cubicBezTo>
                    <a:pt x="148" y="373"/>
                    <a:pt x="146" y="373"/>
                    <a:pt x="145" y="372"/>
                  </a:cubicBezTo>
                  <a:cubicBezTo>
                    <a:pt x="143" y="371"/>
                    <a:pt x="141" y="370"/>
                    <a:pt x="139" y="368"/>
                  </a:cubicBezTo>
                  <a:cubicBezTo>
                    <a:pt x="136" y="367"/>
                    <a:pt x="134" y="364"/>
                    <a:pt x="130" y="361"/>
                  </a:cubicBezTo>
                  <a:cubicBezTo>
                    <a:pt x="126" y="357"/>
                    <a:pt x="123" y="353"/>
                    <a:pt x="121" y="350"/>
                  </a:cubicBezTo>
                  <a:cubicBezTo>
                    <a:pt x="119" y="347"/>
                    <a:pt x="117" y="345"/>
                    <a:pt x="117" y="343"/>
                  </a:cubicBezTo>
                  <a:cubicBezTo>
                    <a:pt x="117" y="340"/>
                    <a:pt x="117" y="338"/>
                    <a:pt x="117" y="336"/>
                  </a:cubicBezTo>
                  <a:lnTo>
                    <a:pt x="147" y="138"/>
                  </a:lnTo>
                  <a:lnTo>
                    <a:pt x="33" y="252"/>
                  </a:lnTo>
                  <a:cubicBezTo>
                    <a:pt x="32" y="253"/>
                    <a:pt x="31" y="253"/>
                    <a:pt x="30" y="254"/>
                  </a:cubicBezTo>
                  <a:cubicBezTo>
                    <a:pt x="29" y="254"/>
                    <a:pt x="27" y="254"/>
                    <a:pt x="26" y="253"/>
                  </a:cubicBezTo>
                  <a:cubicBezTo>
                    <a:pt x="24" y="252"/>
                    <a:pt x="22" y="251"/>
                    <a:pt x="20" y="249"/>
                  </a:cubicBezTo>
                  <a:cubicBezTo>
                    <a:pt x="18" y="248"/>
                    <a:pt x="15" y="245"/>
                    <a:pt x="12" y="242"/>
                  </a:cubicBezTo>
                  <a:cubicBezTo>
                    <a:pt x="9" y="240"/>
                    <a:pt x="7" y="237"/>
                    <a:pt x="5" y="235"/>
                  </a:cubicBezTo>
                  <a:cubicBezTo>
                    <a:pt x="3" y="232"/>
                    <a:pt x="2" y="231"/>
                    <a:pt x="1" y="229"/>
                  </a:cubicBezTo>
                  <a:cubicBezTo>
                    <a:pt x="1" y="227"/>
                    <a:pt x="0" y="226"/>
                    <a:pt x="1" y="225"/>
                  </a:cubicBezTo>
                  <a:cubicBezTo>
                    <a:pt x="1" y="223"/>
                    <a:pt x="2" y="222"/>
                    <a:pt x="2" y="222"/>
                  </a:cubicBezTo>
                  <a:lnTo>
                    <a:pt x="222" y="2"/>
                  </a:lnTo>
                  <a:cubicBezTo>
                    <a:pt x="223" y="1"/>
                    <a:pt x="224" y="1"/>
                    <a:pt x="225" y="0"/>
                  </a:cubicBezTo>
                  <a:cubicBezTo>
                    <a:pt x="226" y="0"/>
                    <a:pt x="228" y="0"/>
                    <a:pt x="229" y="1"/>
                  </a:cubicBezTo>
                  <a:cubicBezTo>
                    <a:pt x="231" y="2"/>
                    <a:pt x="233" y="3"/>
                    <a:pt x="235" y="5"/>
                  </a:cubicBezTo>
                  <a:cubicBezTo>
                    <a:pt x="237" y="6"/>
                    <a:pt x="240" y="9"/>
                    <a:pt x="243" y="12"/>
                  </a:cubicBezTo>
                  <a:cubicBezTo>
                    <a:pt x="246" y="15"/>
                    <a:pt x="248" y="17"/>
                    <a:pt x="250" y="19"/>
                  </a:cubicBezTo>
                  <a:cubicBezTo>
                    <a:pt x="251" y="22"/>
                    <a:pt x="253" y="24"/>
                    <a:pt x="253" y="25"/>
                  </a:cubicBezTo>
                  <a:cubicBezTo>
                    <a:pt x="254" y="27"/>
                    <a:pt x="254" y="28"/>
                    <a:pt x="254" y="29"/>
                  </a:cubicBezTo>
                  <a:cubicBezTo>
                    <a:pt x="254" y="30"/>
                    <a:pt x="253" y="32"/>
                    <a:pt x="252" y="32"/>
                  </a:cubicBezTo>
                  <a:lnTo>
                    <a:pt x="151" y="134"/>
                  </a:lnTo>
                  <a:lnTo>
                    <a:pt x="333" y="113"/>
                  </a:lnTo>
                  <a:cubicBezTo>
                    <a:pt x="335" y="113"/>
                    <a:pt x="337" y="113"/>
                    <a:pt x="339" y="113"/>
                  </a:cubicBezTo>
                  <a:cubicBezTo>
                    <a:pt x="340" y="113"/>
                    <a:pt x="342" y="114"/>
                    <a:pt x="344" y="115"/>
                  </a:cubicBezTo>
                  <a:cubicBezTo>
                    <a:pt x="345" y="116"/>
                    <a:pt x="347" y="117"/>
                    <a:pt x="350" y="119"/>
                  </a:cubicBezTo>
                  <a:cubicBezTo>
                    <a:pt x="352" y="121"/>
                    <a:pt x="354" y="123"/>
                    <a:pt x="357" y="126"/>
                  </a:cubicBezTo>
                  <a:cubicBezTo>
                    <a:pt x="360" y="129"/>
                    <a:pt x="363" y="132"/>
                    <a:pt x="364" y="134"/>
                  </a:cubicBezTo>
                  <a:cubicBezTo>
                    <a:pt x="366" y="136"/>
                    <a:pt x="367" y="138"/>
                    <a:pt x="368" y="140"/>
                  </a:cubicBezTo>
                  <a:cubicBezTo>
                    <a:pt x="368" y="141"/>
                    <a:pt x="369" y="143"/>
                    <a:pt x="368" y="144"/>
                  </a:cubicBezTo>
                  <a:cubicBezTo>
                    <a:pt x="368" y="145"/>
                    <a:pt x="367" y="146"/>
                    <a:pt x="367" y="147"/>
                  </a:cubicBezTo>
                  <a:cubicBezTo>
                    <a:pt x="365" y="148"/>
                    <a:pt x="363" y="149"/>
                    <a:pt x="361" y="150"/>
                  </a:cubicBezTo>
                  <a:cubicBezTo>
                    <a:pt x="359" y="151"/>
                    <a:pt x="355" y="152"/>
                    <a:pt x="350" y="152"/>
                  </a:cubicBezTo>
                  <a:lnTo>
                    <a:pt x="184" y="167"/>
                  </a:lnTo>
                  <a:lnTo>
                    <a:pt x="157" y="357"/>
                  </a:lnTo>
                  <a:cubicBezTo>
                    <a:pt x="156" y="362"/>
                    <a:pt x="155" y="366"/>
                    <a:pt x="154" y="367"/>
                  </a:cubicBezTo>
                  <a:cubicBezTo>
                    <a:pt x="153" y="369"/>
                    <a:pt x="153" y="370"/>
                    <a:pt x="152" y="370"/>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91" name="Freeform 138"/>
            <p:cNvSpPr>
              <a:spLocks noEditPoints="1"/>
            </p:cNvSpPr>
            <p:nvPr/>
          </p:nvSpPr>
          <p:spPr bwMode="auto">
            <a:xfrm>
              <a:off x="2144" y="1563"/>
              <a:ext cx="172" cy="184"/>
            </a:xfrm>
            <a:custGeom>
              <a:avLst/>
              <a:gdLst>
                <a:gd name="T0" fmla="*/ 231 w 1628"/>
                <a:gd name="T1" fmla="*/ 123 h 1741"/>
                <a:gd name="T2" fmla="*/ 5 w 1628"/>
                <a:gd name="T3" fmla="*/ 304 h 1741"/>
                <a:gd name="T4" fmla="*/ 134 w 1628"/>
                <a:gd name="T5" fmla="*/ 25 h 1741"/>
                <a:gd name="T6" fmla="*/ 159 w 1628"/>
                <a:gd name="T7" fmla="*/ 1 h 1741"/>
                <a:gd name="T8" fmla="*/ 314 w 1628"/>
                <a:gd name="T9" fmla="*/ 181 h 1741"/>
                <a:gd name="T10" fmla="*/ 167 w 1628"/>
                <a:gd name="T11" fmla="*/ 461 h 1741"/>
                <a:gd name="T12" fmla="*/ 332 w 1628"/>
                <a:gd name="T13" fmla="*/ 300 h 1741"/>
                <a:gd name="T14" fmla="*/ 334 w 1628"/>
                <a:gd name="T15" fmla="*/ 465 h 1741"/>
                <a:gd name="T16" fmla="*/ 293 w 1628"/>
                <a:gd name="T17" fmla="*/ 332 h 1741"/>
                <a:gd name="T18" fmla="*/ 222 w 1628"/>
                <a:gd name="T19" fmla="*/ 478 h 1741"/>
                <a:gd name="T20" fmla="*/ 697 w 1628"/>
                <a:gd name="T21" fmla="*/ 673 h 1741"/>
                <a:gd name="T22" fmla="*/ 467 w 1628"/>
                <a:gd name="T23" fmla="*/ 768 h 1741"/>
                <a:gd name="T24" fmla="*/ 537 w 1628"/>
                <a:gd name="T25" fmla="*/ 591 h 1741"/>
                <a:gd name="T26" fmla="*/ 362 w 1628"/>
                <a:gd name="T27" fmla="*/ 663 h 1741"/>
                <a:gd name="T28" fmla="*/ 457 w 1628"/>
                <a:gd name="T29" fmla="*/ 434 h 1741"/>
                <a:gd name="T30" fmla="*/ 487 w 1628"/>
                <a:gd name="T31" fmla="*/ 448 h 1741"/>
                <a:gd name="T32" fmla="*/ 398 w 1628"/>
                <a:gd name="T33" fmla="*/ 632 h 1741"/>
                <a:gd name="T34" fmla="*/ 591 w 1628"/>
                <a:gd name="T35" fmla="*/ 552 h 1741"/>
                <a:gd name="T36" fmla="*/ 501 w 1628"/>
                <a:gd name="T37" fmla="*/ 735 h 1741"/>
                <a:gd name="T38" fmla="*/ 698 w 1628"/>
                <a:gd name="T39" fmla="*/ 659 h 1741"/>
                <a:gd name="T40" fmla="*/ 688 w 1628"/>
                <a:gd name="T41" fmla="*/ 987 h 1741"/>
                <a:gd name="T42" fmla="*/ 648 w 1628"/>
                <a:gd name="T43" fmla="*/ 941 h 1741"/>
                <a:gd name="T44" fmla="*/ 637 w 1628"/>
                <a:gd name="T45" fmla="*/ 798 h 1741"/>
                <a:gd name="T46" fmla="*/ 789 w 1628"/>
                <a:gd name="T47" fmla="*/ 834 h 1741"/>
                <a:gd name="T48" fmla="*/ 717 w 1628"/>
                <a:gd name="T49" fmla="*/ 747 h 1741"/>
                <a:gd name="T50" fmla="*/ 721 w 1628"/>
                <a:gd name="T51" fmla="*/ 720 h 1741"/>
                <a:gd name="T52" fmla="*/ 828 w 1628"/>
                <a:gd name="T53" fmla="*/ 791 h 1741"/>
                <a:gd name="T54" fmla="*/ 717 w 1628"/>
                <a:gd name="T55" fmla="*/ 861 h 1741"/>
                <a:gd name="T56" fmla="*/ 642 w 1628"/>
                <a:gd name="T57" fmla="*/ 902 h 1741"/>
                <a:gd name="T58" fmla="*/ 989 w 1628"/>
                <a:gd name="T59" fmla="*/ 1003 h 1741"/>
                <a:gd name="T60" fmla="*/ 967 w 1628"/>
                <a:gd name="T61" fmla="*/ 977 h 1741"/>
                <a:gd name="T62" fmla="*/ 785 w 1628"/>
                <a:gd name="T63" fmla="*/ 1079 h 1741"/>
                <a:gd name="T64" fmla="*/ 757 w 1628"/>
                <a:gd name="T65" fmla="*/ 1052 h 1741"/>
                <a:gd name="T66" fmla="*/ 937 w 1628"/>
                <a:gd name="T67" fmla="*/ 897 h 1741"/>
                <a:gd name="T68" fmla="*/ 949 w 1628"/>
                <a:gd name="T69" fmla="*/ 936 h 1741"/>
                <a:gd name="T70" fmla="*/ 1010 w 1628"/>
                <a:gd name="T71" fmla="*/ 971 h 1741"/>
                <a:gd name="T72" fmla="*/ 1113 w 1628"/>
                <a:gd name="T73" fmla="*/ 1240 h 1741"/>
                <a:gd name="T74" fmla="*/ 907 w 1628"/>
                <a:gd name="T75" fmla="*/ 1166 h 1741"/>
                <a:gd name="T76" fmla="*/ 1121 w 1628"/>
                <a:gd name="T77" fmla="*/ 1076 h 1741"/>
                <a:gd name="T78" fmla="*/ 1103 w 1628"/>
                <a:gd name="T79" fmla="*/ 1185 h 1741"/>
                <a:gd name="T80" fmla="*/ 1011 w 1628"/>
                <a:gd name="T81" fmla="*/ 1090 h 1741"/>
                <a:gd name="T82" fmla="*/ 995 w 1628"/>
                <a:gd name="T83" fmla="*/ 1242 h 1741"/>
                <a:gd name="T84" fmla="*/ 1449 w 1628"/>
                <a:gd name="T85" fmla="*/ 1434 h 1741"/>
                <a:gd name="T86" fmla="*/ 1216 w 1628"/>
                <a:gd name="T87" fmla="*/ 1516 h 1741"/>
                <a:gd name="T88" fmla="*/ 1293 w 1628"/>
                <a:gd name="T89" fmla="*/ 1350 h 1741"/>
                <a:gd name="T90" fmla="*/ 1112 w 1628"/>
                <a:gd name="T91" fmla="*/ 1411 h 1741"/>
                <a:gd name="T92" fmla="*/ 1218 w 1628"/>
                <a:gd name="T93" fmla="*/ 1188 h 1741"/>
                <a:gd name="T94" fmla="*/ 1249 w 1628"/>
                <a:gd name="T95" fmla="*/ 1211 h 1741"/>
                <a:gd name="T96" fmla="*/ 1322 w 1628"/>
                <a:gd name="T97" fmla="*/ 1294 h 1741"/>
                <a:gd name="T98" fmla="*/ 1353 w 1628"/>
                <a:gd name="T99" fmla="*/ 1315 h 1741"/>
                <a:gd name="T100" fmla="*/ 1428 w 1628"/>
                <a:gd name="T101" fmla="*/ 1400 h 1741"/>
                <a:gd name="T102" fmla="*/ 1459 w 1628"/>
                <a:gd name="T103" fmla="*/ 1422 h 1741"/>
                <a:gd name="T104" fmla="*/ 1300 w 1628"/>
                <a:gd name="T105" fmla="*/ 1727 h 1741"/>
                <a:gd name="T106" fmla="*/ 1373 w 1628"/>
                <a:gd name="T107" fmla="*/ 1667 h 1741"/>
                <a:gd name="T108" fmla="*/ 1494 w 1628"/>
                <a:gd name="T109" fmla="*/ 1455 h 1741"/>
                <a:gd name="T110" fmla="*/ 1423 w 1628"/>
                <a:gd name="T111" fmla="*/ 1652 h 1741"/>
                <a:gd name="T112" fmla="*/ 1628 w 1628"/>
                <a:gd name="T113" fmla="*/ 1592 h 1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8" h="1741">
                  <a:moveTo>
                    <a:pt x="314" y="181"/>
                  </a:moveTo>
                  <a:cubicBezTo>
                    <a:pt x="312" y="183"/>
                    <a:pt x="310" y="185"/>
                    <a:pt x="308" y="186"/>
                  </a:cubicBezTo>
                  <a:cubicBezTo>
                    <a:pt x="306" y="188"/>
                    <a:pt x="304" y="189"/>
                    <a:pt x="303" y="189"/>
                  </a:cubicBezTo>
                  <a:cubicBezTo>
                    <a:pt x="301" y="190"/>
                    <a:pt x="300" y="190"/>
                    <a:pt x="298" y="189"/>
                  </a:cubicBezTo>
                  <a:cubicBezTo>
                    <a:pt x="297" y="189"/>
                    <a:pt x="296" y="188"/>
                    <a:pt x="295" y="188"/>
                  </a:cubicBezTo>
                  <a:lnTo>
                    <a:pt x="231" y="123"/>
                  </a:lnTo>
                  <a:lnTo>
                    <a:pt x="32" y="322"/>
                  </a:lnTo>
                  <a:cubicBezTo>
                    <a:pt x="31" y="322"/>
                    <a:pt x="30" y="323"/>
                    <a:pt x="29" y="323"/>
                  </a:cubicBezTo>
                  <a:cubicBezTo>
                    <a:pt x="28" y="324"/>
                    <a:pt x="27" y="323"/>
                    <a:pt x="25" y="323"/>
                  </a:cubicBezTo>
                  <a:cubicBezTo>
                    <a:pt x="23" y="322"/>
                    <a:pt x="22" y="321"/>
                    <a:pt x="19" y="319"/>
                  </a:cubicBezTo>
                  <a:cubicBezTo>
                    <a:pt x="17" y="317"/>
                    <a:pt x="15" y="315"/>
                    <a:pt x="12" y="312"/>
                  </a:cubicBezTo>
                  <a:cubicBezTo>
                    <a:pt x="9" y="309"/>
                    <a:pt x="6" y="307"/>
                    <a:pt x="5" y="304"/>
                  </a:cubicBezTo>
                  <a:cubicBezTo>
                    <a:pt x="3" y="302"/>
                    <a:pt x="2" y="300"/>
                    <a:pt x="1" y="298"/>
                  </a:cubicBezTo>
                  <a:cubicBezTo>
                    <a:pt x="0" y="297"/>
                    <a:pt x="0" y="295"/>
                    <a:pt x="0" y="294"/>
                  </a:cubicBezTo>
                  <a:cubicBezTo>
                    <a:pt x="0" y="293"/>
                    <a:pt x="1" y="292"/>
                    <a:pt x="2" y="291"/>
                  </a:cubicBezTo>
                  <a:lnTo>
                    <a:pt x="200" y="93"/>
                  </a:lnTo>
                  <a:lnTo>
                    <a:pt x="136" y="28"/>
                  </a:lnTo>
                  <a:cubicBezTo>
                    <a:pt x="135" y="28"/>
                    <a:pt x="134" y="26"/>
                    <a:pt x="134" y="25"/>
                  </a:cubicBezTo>
                  <a:cubicBezTo>
                    <a:pt x="134" y="24"/>
                    <a:pt x="134" y="23"/>
                    <a:pt x="135" y="21"/>
                  </a:cubicBezTo>
                  <a:cubicBezTo>
                    <a:pt x="135" y="20"/>
                    <a:pt x="136" y="18"/>
                    <a:pt x="137" y="16"/>
                  </a:cubicBezTo>
                  <a:cubicBezTo>
                    <a:pt x="139" y="14"/>
                    <a:pt x="140" y="12"/>
                    <a:pt x="143" y="10"/>
                  </a:cubicBezTo>
                  <a:cubicBezTo>
                    <a:pt x="145" y="7"/>
                    <a:pt x="147" y="6"/>
                    <a:pt x="149" y="4"/>
                  </a:cubicBezTo>
                  <a:cubicBezTo>
                    <a:pt x="151" y="3"/>
                    <a:pt x="153" y="2"/>
                    <a:pt x="154" y="1"/>
                  </a:cubicBezTo>
                  <a:cubicBezTo>
                    <a:pt x="156" y="1"/>
                    <a:pt x="157" y="0"/>
                    <a:pt x="159" y="1"/>
                  </a:cubicBezTo>
                  <a:cubicBezTo>
                    <a:pt x="160" y="1"/>
                    <a:pt x="161" y="2"/>
                    <a:pt x="162" y="3"/>
                  </a:cubicBezTo>
                  <a:lnTo>
                    <a:pt x="321" y="162"/>
                  </a:lnTo>
                  <a:cubicBezTo>
                    <a:pt x="322" y="163"/>
                    <a:pt x="322" y="164"/>
                    <a:pt x="323" y="165"/>
                  </a:cubicBezTo>
                  <a:cubicBezTo>
                    <a:pt x="323" y="166"/>
                    <a:pt x="323" y="168"/>
                    <a:pt x="322" y="169"/>
                  </a:cubicBezTo>
                  <a:cubicBezTo>
                    <a:pt x="322" y="171"/>
                    <a:pt x="321" y="173"/>
                    <a:pt x="319" y="175"/>
                  </a:cubicBezTo>
                  <a:cubicBezTo>
                    <a:pt x="318" y="176"/>
                    <a:pt x="316" y="179"/>
                    <a:pt x="314" y="181"/>
                  </a:cubicBezTo>
                  <a:close/>
                  <a:moveTo>
                    <a:pt x="366" y="493"/>
                  </a:moveTo>
                  <a:cubicBezTo>
                    <a:pt x="353" y="506"/>
                    <a:pt x="340" y="516"/>
                    <a:pt x="325" y="524"/>
                  </a:cubicBezTo>
                  <a:cubicBezTo>
                    <a:pt x="311" y="531"/>
                    <a:pt x="296" y="535"/>
                    <a:pt x="282" y="537"/>
                  </a:cubicBezTo>
                  <a:cubicBezTo>
                    <a:pt x="267" y="538"/>
                    <a:pt x="252" y="535"/>
                    <a:pt x="238" y="530"/>
                  </a:cubicBezTo>
                  <a:cubicBezTo>
                    <a:pt x="223" y="524"/>
                    <a:pt x="209" y="514"/>
                    <a:pt x="196" y="501"/>
                  </a:cubicBezTo>
                  <a:cubicBezTo>
                    <a:pt x="183" y="488"/>
                    <a:pt x="173" y="474"/>
                    <a:pt x="167" y="461"/>
                  </a:cubicBezTo>
                  <a:cubicBezTo>
                    <a:pt x="162" y="447"/>
                    <a:pt x="159" y="433"/>
                    <a:pt x="160" y="419"/>
                  </a:cubicBezTo>
                  <a:cubicBezTo>
                    <a:pt x="161" y="406"/>
                    <a:pt x="165" y="392"/>
                    <a:pt x="173" y="378"/>
                  </a:cubicBezTo>
                  <a:cubicBezTo>
                    <a:pt x="180" y="364"/>
                    <a:pt x="190" y="351"/>
                    <a:pt x="204" y="337"/>
                  </a:cubicBezTo>
                  <a:cubicBezTo>
                    <a:pt x="217" y="324"/>
                    <a:pt x="230" y="314"/>
                    <a:pt x="245" y="306"/>
                  </a:cubicBezTo>
                  <a:cubicBezTo>
                    <a:pt x="259" y="299"/>
                    <a:pt x="273" y="294"/>
                    <a:pt x="288" y="293"/>
                  </a:cubicBezTo>
                  <a:cubicBezTo>
                    <a:pt x="303" y="292"/>
                    <a:pt x="317" y="295"/>
                    <a:pt x="332" y="300"/>
                  </a:cubicBezTo>
                  <a:cubicBezTo>
                    <a:pt x="346" y="306"/>
                    <a:pt x="360" y="316"/>
                    <a:pt x="374" y="329"/>
                  </a:cubicBezTo>
                  <a:cubicBezTo>
                    <a:pt x="387" y="342"/>
                    <a:pt x="396" y="356"/>
                    <a:pt x="402" y="369"/>
                  </a:cubicBezTo>
                  <a:cubicBezTo>
                    <a:pt x="408" y="383"/>
                    <a:pt x="411" y="397"/>
                    <a:pt x="410" y="411"/>
                  </a:cubicBezTo>
                  <a:cubicBezTo>
                    <a:pt x="409" y="425"/>
                    <a:pt x="405" y="438"/>
                    <a:pt x="397" y="452"/>
                  </a:cubicBezTo>
                  <a:cubicBezTo>
                    <a:pt x="390" y="466"/>
                    <a:pt x="379" y="480"/>
                    <a:pt x="366" y="493"/>
                  </a:cubicBezTo>
                  <a:close/>
                  <a:moveTo>
                    <a:pt x="334" y="465"/>
                  </a:moveTo>
                  <a:cubicBezTo>
                    <a:pt x="343" y="456"/>
                    <a:pt x="350" y="447"/>
                    <a:pt x="356" y="438"/>
                  </a:cubicBezTo>
                  <a:cubicBezTo>
                    <a:pt x="362" y="429"/>
                    <a:pt x="366" y="419"/>
                    <a:pt x="368" y="410"/>
                  </a:cubicBezTo>
                  <a:cubicBezTo>
                    <a:pt x="370" y="400"/>
                    <a:pt x="370" y="391"/>
                    <a:pt x="367" y="381"/>
                  </a:cubicBezTo>
                  <a:cubicBezTo>
                    <a:pt x="364" y="371"/>
                    <a:pt x="358" y="362"/>
                    <a:pt x="348" y="353"/>
                  </a:cubicBezTo>
                  <a:cubicBezTo>
                    <a:pt x="340" y="344"/>
                    <a:pt x="331" y="338"/>
                    <a:pt x="321" y="335"/>
                  </a:cubicBezTo>
                  <a:cubicBezTo>
                    <a:pt x="312" y="332"/>
                    <a:pt x="303" y="331"/>
                    <a:pt x="293" y="332"/>
                  </a:cubicBezTo>
                  <a:cubicBezTo>
                    <a:pt x="283" y="334"/>
                    <a:pt x="274" y="338"/>
                    <a:pt x="264" y="343"/>
                  </a:cubicBezTo>
                  <a:cubicBezTo>
                    <a:pt x="254" y="349"/>
                    <a:pt x="245" y="356"/>
                    <a:pt x="236" y="365"/>
                  </a:cubicBezTo>
                  <a:cubicBezTo>
                    <a:pt x="227" y="374"/>
                    <a:pt x="220" y="383"/>
                    <a:pt x="214" y="392"/>
                  </a:cubicBezTo>
                  <a:cubicBezTo>
                    <a:pt x="208" y="402"/>
                    <a:pt x="204" y="411"/>
                    <a:pt x="202" y="420"/>
                  </a:cubicBezTo>
                  <a:cubicBezTo>
                    <a:pt x="200" y="430"/>
                    <a:pt x="200" y="439"/>
                    <a:pt x="203" y="449"/>
                  </a:cubicBezTo>
                  <a:cubicBezTo>
                    <a:pt x="206" y="459"/>
                    <a:pt x="212" y="468"/>
                    <a:pt x="222" y="478"/>
                  </a:cubicBezTo>
                  <a:cubicBezTo>
                    <a:pt x="230" y="486"/>
                    <a:pt x="239" y="492"/>
                    <a:pt x="249" y="495"/>
                  </a:cubicBezTo>
                  <a:cubicBezTo>
                    <a:pt x="258" y="499"/>
                    <a:pt x="268" y="500"/>
                    <a:pt x="277" y="498"/>
                  </a:cubicBezTo>
                  <a:cubicBezTo>
                    <a:pt x="287" y="497"/>
                    <a:pt x="296" y="493"/>
                    <a:pt x="306" y="487"/>
                  </a:cubicBezTo>
                  <a:cubicBezTo>
                    <a:pt x="315" y="481"/>
                    <a:pt x="325" y="474"/>
                    <a:pt x="334" y="465"/>
                  </a:cubicBezTo>
                  <a:close/>
                  <a:moveTo>
                    <a:pt x="700" y="670"/>
                  </a:moveTo>
                  <a:cubicBezTo>
                    <a:pt x="699" y="671"/>
                    <a:pt x="698" y="672"/>
                    <a:pt x="697" y="673"/>
                  </a:cubicBezTo>
                  <a:cubicBezTo>
                    <a:pt x="695" y="674"/>
                    <a:pt x="693" y="675"/>
                    <a:pt x="691" y="676"/>
                  </a:cubicBezTo>
                  <a:lnTo>
                    <a:pt x="493" y="781"/>
                  </a:lnTo>
                  <a:cubicBezTo>
                    <a:pt x="491" y="782"/>
                    <a:pt x="490" y="782"/>
                    <a:pt x="488" y="782"/>
                  </a:cubicBezTo>
                  <a:cubicBezTo>
                    <a:pt x="486" y="782"/>
                    <a:pt x="485" y="782"/>
                    <a:pt x="483" y="781"/>
                  </a:cubicBezTo>
                  <a:cubicBezTo>
                    <a:pt x="481" y="780"/>
                    <a:pt x="479" y="778"/>
                    <a:pt x="476" y="776"/>
                  </a:cubicBezTo>
                  <a:cubicBezTo>
                    <a:pt x="474" y="774"/>
                    <a:pt x="471" y="771"/>
                    <a:pt x="467" y="768"/>
                  </a:cubicBezTo>
                  <a:cubicBezTo>
                    <a:pt x="464" y="764"/>
                    <a:pt x="461" y="761"/>
                    <a:pt x="458" y="758"/>
                  </a:cubicBezTo>
                  <a:cubicBezTo>
                    <a:pt x="456" y="755"/>
                    <a:pt x="455" y="753"/>
                    <a:pt x="454" y="751"/>
                  </a:cubicBezTo>
                  <a:cubicBezTo>
                    <a:pt x="453" y="749"/>
                    <a:pt x="452" y="748"/>
                    <a:pt x="452" y="746"/>
                  </a:cubicBezTo>
                  <a:cubicBezTo>
                    <a:pt x="452" y="744"/>
                    <a:pt x="453" y="743"/>
                    <a:pt x="454" y="741"/>
                  </a:cubicBezTo>
                  <a:lnTo>
                    <a:pt x="536" y="593"/>
                  </a:lnTo>
                  <a:lnTo>
                    <a:pt x="537" y="591"/>
                  </a:lnTo>
                  <a:lnTo>
                    <a:pt x="535" y="592"/>
                  </a:lnTo>
                  <a:lnTo>
                    <a:pt x="389" y="676"/>
                  </a:lnTo>
                  <a:cubicBezTo>
                    <a:pt x="387" y="677"/>
                    <a:pt x="385" y="678"/>
                    <a:pt x="384" y="678"/>
                  </a:cubicBezTo>
                  <a:cubicBezTo>
                    <a:pt x="382" y="678"/>
                    <a:pt x="380" y="677"/>
                    <a:pt x="378" y="676"/>
                  </a:cubicBezTo>
                  <a:cubicBezTo>
                    <a:pt x="376" y="675"/>
                    <a:pt x="374" y="674"/>
                    <a:pt x="371" y="671"/>
                  </a:cubicBezTo>
                  <a:cubicBezTo>
                    <a:pt x="369" y="669"/>
                    <a:pt x="366" y="666"/>
                    <a:pt x="362" y="663"/>
                  </a:cubicBezTo>
                  <a:cubicBezTo>
                    <a:pt x="359" y="659"/>
                    <a:pt x="356" y="656"/>
                    <a:pt x="354" y="653"/>
                  </a:cubicBezTo>
                  <a:cubicBezTo>
                    <a:pt x="352" y="651"/>
                    <a:pt x="350" y="649"/>
                    <a:pt x="349" y="647"/>
                  </a:cubicBezTo>
                  <a:cubicBezTo>
                    <a:pt x="348" y="645"/>
                    <a:pt x="348" y="643"/>
                    <a:pt x="348" y="642"/>
                  </a:cubicBezTo>
                  <a:cubicBezTo>
                    <a:pt x="348" y="640"/>
                    <a:pt x="348" y="638"/>
                    <a:pt x="349" y="637"/>
                  </a:cubicBezTo>
                  <a:lnTo>
                    <a:pt x="454" y="439"/>
                  </a:lnTo>
                  <a:cubicBezTo>
                    <a:pt x="455" y="437"/>
                    <a:pt x="456" y="435"/>
                    <a:pt x="457" y="434"/>
                  </a:cubicBezTo>
                  <a:cubicBezTo>
                    <a:pt x="458" y="432"/>
                    <a:pt x="459" y="431"/>
                    <a:pt x="460" y="430"/>
                  </a:cubicBezTo>
                  <a:cubicBezTo>
                    <a:pt x="461" y="429"/>
                    <a:pt x="462" y="429"/>
                    <a:pt x="463" y="428"/>
                  </a:cubicBezTo>
                  <a:cubicBezTo>
                    <a:pt x="464" y="428"/>
                    <a:pt x="465" y="428"/>
                    <a:pt x="467" y="429"/>
                  </a:cubicBezTo>
                  <a:cubicBezTo>
                    <a:pt x="468" y="430"/>
                    <a:pt x="470" y="431"/>
                    <a:pt x="472" y="433"/>
                  </a:cubicBezTo>
                  <a:cubicBezTo>
                    <a:pt x="474" y="435"/>
                    <a:pt x="477" y="437"/>
                    <a:pt x="479" y="440"/>
                  </a:cubicBezTo>
                  <a:cubicBezTo>
                    <a:pt x="483" y="443"/>
                    <a:pt x="485" y="446"/>
                    <a:pt x="487" y="448"/>
                  </a:cubicBezTo>
                  <a:cubicBezTo>
                    <a:pt x="489" y="450"/>
                    <a:pt x="490" y="452"/>
                    <a:pt x="491" y="453"/>
                  </a:cubicBezTo>
                  <a:cubicBezTo>
                    <a:pt x="491" y="455"/>
                    <a:pt x="492" y="456"/>
                    <a:pt x="491" y="457"/>
                  </a:cubicBezTo>
                  <a:cubicBezTo>
                    <a:pt x="491" y="459"/>
                    <a:pt x="490" y="460"/>
                    <a:pt x="490" y="461"/>
                  </a:cubicBezTo>
                  <a:lnTo>
                    <a:pt x="397" y="631"/>
                  </a:lnTo>
                  <a:lnTo>
                    <a:pt x="396" y="633"/>
                  </a:lnTo>
                  <a:lnTo>
                    <a:pt x="398" y="632"/>
                  </a:lnTo>
                  <a:lnTo>
                    <a:pt x="564" y="536"/>
                  </a:lnTo>
                  <a:cubicBezTo>
                    <a:pt x="565" y="535"/>
                    <a:pt x="567" y="534"/>
                    <a:pt x="568" y="534"/>
                  </a:cubicBezTo>
                  <a:cubicBezTo>
                    <a:pt x="569" y="534"/>
                    <a:pt x="571" y="534"/>
                    <a:pt x="572" y="535"/>
                  </a:cubicBezTo>
                  <a:cubicBezTo>
                    <a:pt x="573" y="535"/>
                    <a:pt x="575" y="536"/>
                    <a:pt x="577" y="538"/>
                  </a:cubicBezTo>
                  <a:cubicBezTo>
                    <a:pt x="579" y="540"/>
                    <a:pt x="582" y="542"/>
                    <a:pt x="585" y="545"/>
                  </a:cubicBezTo>
                  <a:cubicBezTo>
                    <a:pt x="587" y="548"/>
                    <a:pt x="590" y="550"/>
                    <a:pt x="591" y="552"/>
                  </a:cubicBezTo>
                  <a:cubicBezTo>
                    <a:pt x="593" y="554"/>
                    <a:pt x="594" y="556"/>
                    <a:pt x="595" y="557"/>
                  </a:cubicBezTo>
                  <a:cubicBezTo>
                    <a:pt x="595" y="559"/>
                    <a:pt x="596" y="560"/>
                    <a:pt x="595" y="561"/>
                  </a:cubicBezTo>
                  <a:cubicBezTo>
                    <a:pt x="595" y="563"/>
                    <a:pt x="595" y="564"/>
                    <a:pt x="594" y="565"/>
                  </a:cubicBezTo>
                  <a:lnTo>
                    <a:pt x="501" y="734"/>
                  </a:lnTo>
                  <a:lnTo>
                    <a:pt x="499" y="736"/>
                  </a:lnTo>
                  <a:lnTo>
                    <a:pt x="501" y="735"/>
                  </a:lnTo>
                  <a:lnTo>
                    <a:pt x="670" y="642"/>
                  </a:lnTo>
                  <a:cubicBezTo>
                    <a:pt x="671" y="641"/>
                    <a:pt x="673" y="640"/>
                    <a:pt x="674" y="640"/>
                  </a:cubicBezTo>
                  <a:cubicBezTo>
                    <a:pt x="675" y="640"/>
                    <a:pt x="677" y="640"/>
                    <a:pt x="678" y="641"/>
                  </a:cubicBezTo>
                  <a:cubicBezTo>
                    <a:pt x="680" y="642"/>
                    <a:pt x="682" y="643"/>
                    <a:pt x="684" y="645"/>
                  </a:cubicBezTo>
                  <a:cubicBezTo>
                    <a:pt x="686" y="646"/>
                    <a:pt x="688" y="649"/>
                    <a:pt x="691" y="652"/>
                  </a:cubicBezTo>
                  <a:cubicBezTo>
                    <a:pt x="694" y="655"/>
                    <a:pt x="696" y="657"/>
                    <a:pt x="698" y="659"/>
                  </a:cubicBezTo>
                  <a:cubicBezTo>
                    <a:pt x="700" y="661"/>
                    <a:pt x="701" y="662"/>
                    <a:pt x="701" y="664"/>
                  </a:cubicBezTo>
                  <a:cubicBezTo>
                    <a:pt x="702" y="665"/>
                    <a:pt x="702" y="666"/>
                    <a:pt x="702" y="667"/>
                  </a:cubicBezTo>
                  <a:cubicBezTo>
                    <a:pt x="702" y="668"/>
                    <a:pt x="701" y="669"/>
                    <a:pt x="700" y="670"/>
                  </a:cubicBezTo>
                  <a:close/>
                  <a:moveTo>
                    <a:pt x="698" y="988"/>
                  </a:moveTo>
                  <a:cubicBezTo>
                    <a:pt x="696" y="989"/>
                    <a:pt x="695" y="990"/>
                    <a:pt x="693" y="989"/>
                  </a:cubicBezTo>
                  <a:cubicBezTo>
                    <a:pt x="692" y="989"/>
                    <a:pt x="690" y="988"/>
                    <a:pt x="688" y="987"/>
                  </a:cubicBezTo>
                  <a:cubicBezTo>
                    <a:pt x="686" y="986"/>
                    <a:pt x="683" y="984"/>
                    <a:pt x="680" y="980"/>
                  </a:cubicBezTo>
                  <a:cubicBezTo>
                    <a:pt x="677" y="977"/>
                    <a:pt x="675" y="975"/>
                    <a:pt x="673" y="973"/>
                  </a:cubicBezTo>
                  <a:cubicBezTo>
                    <a:pt x="672" y="970"/>
                    <a:pt x="671" y="968"/>
                    <a:pt x="671" y="967"/>
                  </a:cubicBezTo>
                  <a:cubicBezTo>
                    <a:pt x="671" y="965"/>
                    <a:pt x="671" y="964"/>
                    <a:pt x="673" y="963"/>
                  </a:cubicBezTo>
                  <a:lnTo>
                    <a:pt x="689" y="947"/>
                  </a:lnTo>
                  <a:cubicBezTo>
                    <a:pt x="674" y="947"/>
                    <a:pt x="661" y="945"/>
                    <a:pt x="648" y="941"/>
                  </a:cubicBezTo>
                  <a:cubicBezTo>
                    <a:pt x="635" y="936"/>
                    <a:pt x="624" y="929"/>
                    <a:pt x="615" y="920"/>
                  </a:cubicBezTo>
                  <a:cubicBezTo>
                    <a:pt x="606" y="911"/>
                    <a:pt x="600" y="903"/>
                    <a:pt x="595" y="894"/>
                  </a:cubicBezTo>
                  <a:cubicBezTo>
                    <a:pt x="591" y="885"/>
                    <a:pt x="588" y="876"/>
                    <a:pt x="587" y="867"/>
                  </a:cubicBezTo>
                  <a:cubicBezTo>
                    <a:pt x="587" y="858"/>
                    <a:pt x="588" y="849"/>
                    <a:pt x="591" y="841"/>
                  </a:cubicBezTo>
                  <a:cubicBezTo>
                    <a:pt x="595" y="832"/>
                    <a:pt x="600" y="824"/>
                    <a:pt x="608" y="816"/>
                  </a:cubicBezTo>
                  <a:cubicBezTo>
                    <a:pt x="617" y="807"/>
                    <a:pt x="627" y="801"/>
                    <a:pt x="637" y="798"/>
                  </a:cubicBezTo>
                  <a:cubicBezTo>
                    <a:pt x="647" y="795"/>
                    <a:pt x="658" y="795"/>
                    <a:pt x="669" y="798"/>
                  </a:cubicBezTo>
                  <a:cubicBezTo>
                    <a:pt x="680" y="800"/>
                    <a:pt x="692" y="805"/>
                    <a:pt x="704" y="813"/>
                  </a:cubicBezTo>
                  <a:cubicBezTo>
                    <a:pt x="716" y="821"/>
                    <a:pt x="728" y="831"/>
                    <a:pt x="741" y="843"/>
                  </a:cubicBezTo>
                  <a:lnTo>
                    <a:pt x="763" y="865"/>
                  </a:lnTo>
                  <a:lnTo>
                    <a:pt x="775" y="853"/>
                  </a:lnTo>
                  <a:cubicBezTo>
                    <a:pt x="781" y="846"/>
                    <a:pt x="786" y="840"/>
                    <a:pt x="789" y="834"/>
                  </a:cubicBezTo>
                  <a:cubicBezTo>
                    <a:pt x="793" y="828"/>
                    <a:pt x="794" y="822"/>
                    <a:pt x="795" y="816"/>
                  </a:cubicBezTo>
                  <a:cubicBezTo>
                    <a:pt x="795" y="810"/>
                    <a:pt x="794" y="804"/>
                    <a:pt x="791" y="798"/>
                  </a:cubicBezTo>
                  <a:cubicBezTo>
                    <a:pt x="788" y="792"/>
                    <a:pt x="783" y="785"/>
                    <a:pt x="776" y="779"/>
                  </a:cubicBezTo>
                  <a:cubicBezTo>
                    <a:pt x="769" y="771"/>
                    <a:pt x="761" y="766"/>
                    <a:pt x="754" y="762"/>
                  </a:cubicBezTo>
                  <a:cubicBezTo>
                    <a:pt x="747" y="758"/>
                    <a:pt x="740" y="755"/>
                    <a:pt x="733" y="753"/>
                  </a:cubicBezTo>
                  <a:cubicBezTo>
                    <a:pt x="727" y="750"/>
                    <a:pt x="721" y="749"/>
                    <a:pt x="717" y="747"/>
                  </a:cubicBezTo>
                  <a:cubicBezTo>
                    <a:pt x="712" y="746"/>
                    <a:pt x="709" y="745"/>
                    <a:pt x="708" y="744"/>
                  </a:cubicBezTo>
                  <a:cubicBezTo>
                    <a:pt x="707" y="743"/>
                    <a:pt x="706" y="742"/>
                    <a:pt x="706" y="740"/>
                  </a:cubicBezTo>
                  <a:cubicBezTo>
                    <a:pt x="706" y="739"/>
                    <a:pt x="706" y="738"/>
                    <a:pt x="706" y="736"/>
                  </a:cubicBezTo>
                  <a:cubicBezTo>
                    <a:pt x="707" y="735"/>
                    <a:pt x="708" y="733"/>
                    <a:pt x="709" y="732"/>
                  </a:cubicBezTo>
                  <a:cubicBezTo>
                    <a:pt x="710" y="730"/>
                    <a:pt x="712" y="728"/>
                    <a:pt x="713" y="726"/>
                  </a:cubicBezTo>
                  <a:cubicBezTo>
                    <a:pt x="716" y="723"/>
                    <a:pt x="719" y="721"/>
                    <a:pt x="721" y="720"/>
                  </a:cubicBezTo>
                  <a:cubicBezTo>
                    <a:pt x="723" y="719"/>
                    <a:pt x="726" y="718"/>
                    <a:pt x="729" y="718"/>
                  </a:cubicBezTo>
                  <a:cubicBezTo>
                    <a:pt x="732" y="718"/>
                    <a:pt x="736" y="719"/>
                    <a:pt x="742" y="721"/>
                  </a:cubicBezTo>
                  <a:cubicBezTo>
                    <a:pt x="748" y="723"/>
                    <a:pt x="755" y="725"/>
                    <a:pt x="762" y="729"/>
                  </a:cubicBezTo>
                  <a:cubicBezTo>
                    <a:pt x="768" y="732"/>
                    <a:pt x="775" y="736"/>
                    <a:pt x="782" y="741"/>
                  </a:cubicBezTo>
                  <a:cubicBezTo>
                    <a:pt x="790" y="746"/>
                    <a:pt x="796" y="752"/>
                    <a:pt x="802" y="758"/>
                  </a:cubicBezTo>
                  <a:cubicBezTo>
                    <a:pt x="814" y="769"/>
                    <a:pt x="822" y="780"/>
                    <a:pt x="828" y="791"/>
                  </a:cubicBezTo>
                  <a:cubicBezTo>
                    <a:pt x="833" y="801"/>
                    <a:pt x="836" y="812"/>
                    <a:pt x="836" y="822"/>
                  </a:cubicBezTo>
                  <a:cubicBezTo>
                    <a:pt x="836" y="832"/>
                    <a:pt x="833" y="841"/>
                    <a:pt x="828" y="851"/>
                  </a:cubicBezTo>
                  <a:cubicBezTo>
                    <a:pt x="823" y="861"/>
                    <a:pt x="815" y="870"/>
                    <a:pt x="805" y="880"/>
                  </a:cubicBezTo>
                  <a:lnTo>
                    <a:pt x="698" y="988"/>
                  </a:lnTo>
                  <a:close/>
                  <a:moveTo>
                    <a:pt x="741" y="886"/>
                  </a:moveTo>
                  <a:lnTo>
                    <a:pt x="717" y="861"/>
                  </a:lnTo>
                  <a:cubicBezTo>
                    <a:pt x="709" y="853"/>
                    <a:pt x="701" y="847"/>
                    <a:pt x="694" y="842"/>
                  </a:cubicBezTo>
                  <a:cubicBezTo>
                    <a:pt x="686" y="838"/>
                    <a:pt x="680" y="835"/>
                    <a:pt x="673" y="834"/>
                  </a:cubicBezTo>
                  <a:cubicBezTo>
                    <a:pt x="666" y="832"/>
                    <a:pt x="660" y="833"/>
                    <a:pt x="655" y="835"/>
                  </a:cubicBezTo>
                  <a:cubicBezTo>
                    <a:pt x="649" y="836"/>
                    <a:pt x="644" y="840"/>
                    <a:pt x="639" y="845"/>
                  </a:cubicBezTo>
                  <a:cubicBezTo>
                    <a:pt x="631" y="853"/>
                    <a:pt x="627" y="862"/>
                    <a:pt x="627" y="872"/>
                  </a:cubicBezTo>
                  <a:cubicBezTo>
                    <a:pt x="628" y="882"/>
                    <a:pt x="633" y="892"/>
                    <a:pt x="642" y="902"/>
                  </a:cubicBezTo>
                  <a:cubicBezTo>
                    <a:pt x="650" y="909"/>
                    <a:pt x="659" y="914"/>
                    <a:pt x="669" y="917"/>
                  </a:cubicBezTo>
                  <a:cubicBezTo>
                    <a:pt x="680" y="920"/>
                    <a:pt x="692" y="921"/>
                    <a:pt x="708" y="920"/>
                  </a:cubicBezTo>
                  <a:lnTo>
                    <a:pt x="741" y="886"/>
                  </a:lnTo>
                  <a:close/>
                  <a:moveTo>
                    <a:pt x="1001" y="993"/>
                  </a:moveTo>
                  <a:cubicBezTo>
                    <a:pt x="998" y="996"/>
                    <a:pt x="996" y="998"/>
                    <a:pt x="994" y="999"/>
                  </a:cubicBezTo>
                  <a:cubicBezTo>
                    <a:pt x="992" y="1001"/>
                    <a:pt x="991" y="1002"/>
                    <a:pt x="989" y="1003"/>
                  </a:cubicBezTo>
                  <a:cubicBezTo>
                    <a:pt x="988" y="1003"/>
                    <a:pt x="987" y="1004"/>
                    <a:pt x="986" y="1004"/>
                  </a:cubicBezTo>
                  <a:cubicBezTo>
                    <a:pt x="985" y="1004"/>
                    <a:pt x="984" y="1003"/>
                    <a:pt x="983" y="1002"/>
                  </a:cubicBezTo>
                  <a:cubicBezTo>
                    <a:pt x="982" y="1001"/>
                    <a:pt x="981" y="1000"/>
                    <a:pt x="980" y="998"/>
                  </a:cubicBezTo>
                  <a:cubicBezTo>
                    <a:pt x="979" y="996"/>
                    <a:pt x="978" y="994"/>
                    <a:pt x="977" y="992"/>
                  </a:cubicBezTo>
                  <a:cubicBezTo>
                    <a:pt x="976" y="990"/>
                    <a:pt x="974" y="987"/>
                    <a:pt x="973" y="985"/>
                  </a:cubicBezTo>
                  <a:cubicBezTo>
                    <a:pt x="971" y="982"/>
                    <a:pt x="969" y="980"/>
                    <a:pt x="967" y="977"/>
                  </a:cubicBezTo>
                  <a:cubicBezTo>
                    <a:pt x="964" y="974"/>
                    <a:pt x="960" y="972"/>
                    <a:pt x="956" y="970"/>
                  </a:cubicBezTo>
                  <a:cubicBezTo>
                    <a:pt x="952" y="968"/>
                    <a:pt x="947" y="967"/>
                    <a:pt x="941" y="967"/>
                  </a:cubicBezTo>
                  <a:cubicBezTo>
                    <a:pt x="935" y="967"/>
                    <a:pt x="929" y="967"/>
                    <a:pt x="921" y="968"/>
                  </a:cubicBezTo>
                  <a:cubicBezTo>
                    <a:pt x="913" y="969"/>
                    <a:pt x="904" y="971"/>
                    <a:pt x="893" y="973"/>
                  </a:cubicBezTo>
                  <a:lnTo>
                    <a:pt x="788" y="1078"/>
                  </a:lnTo>
                  <a:cubicBezTo>
                    <a:pt x="787" y="1079"/>
                    <a:pt x="786" y="1079"/>
                    <a:pt x="785" y="1079"/>
                  </a:cubicBezTo>
                  <a:cubicBezTo>
                    <a:pt x="784" y="1080"/>
                    <a:pt x="783" y="1079"/>
                    <a:pt x="781" y="1079"/>
                  </a:cubicBezTo>
                  <a:cubicBezTo>
                    <a:pt x="780" y="1078"/>
                    <a:pt x="778" y="1077"/>
                    <a:pt x="776" y="1075"/>
                  </a:cubicBezTo>
                  <a:cubicBezTo>
                    <a:pt x="774" y="1074"/>
                    <a:pt x="771" y="1072"/>
                    <a:pt x="768" y="1069"/>
                  </a:cubicBezTo>
                  <a:cubicBezTo>
                    <a:pt x="765" y="1066"/>
                    <a:pt x="763" y="1063"/>
                    <a:pt x="761" y="1061"/>
                  </a:cubicBezTo>
                  <a:cubicBezTo>
                    <a:pt x="760" y="1059"/>
                    <a:pt x="759" y="1057"/>
                    <a:pt x="758" y="1056"/>
                  </a:cubicBezTo>
                  <a:cubicBezTo>
                    <a:pt x="757" y="1054"/>
                    <a:pt x="757" y="1053"/>
                    <a:pt x="757" y="1052"/>
                  </a:cubicBezTo>
                  <a:cubicBezTo>
                    <a:pt x="758" y="1051"/>
                    <a:pt x="758" y="1050"/>
                    <a:pt x="759" y="1049"/>
                  </a:cubicBezTo>
                  <a:lnTo>
                    <a:pt x="918" y="890"/>
                  </a:lnTo>
                  <a:cubicBezTo>
                    <a:pt x="919" y="889"/>
                    <a:pt x="920" y="888"/>
                    <a:pt x="921" y="888"/>
                  </a:cubicBezTo>
                  <a:cubicBezTo>
                    <a:pt x="922" y="887"/>
                    <a:pt x="923" y="887"/>
                    <a:pt x="925" y="888"/>
                  </a:cubicBezTo>
                  <a:cubicBezTo>
                    <a:pt x="927" y="889"/>
                    <a:pt x="928" y="890"/>
                    <a:pt x="930" y="891"/>
                  </a:cubicBezTo>
                  <a:cubicBezTo>
                    <a:pt x="932" y="893"/>
                    <a:pt x="934" y="895"/>
                    <a:pt x="937" y="897"/>
                  </a:cubicBezTo>
                  <a:cubicBezTo>
                    <a:pt x="940" y="900"/>
                    <a:pt x="942" y="902"/>
                    <a:pt x="943" y="904"/>
                  </a:cubicBezTo>
                  <a:cubicBezTo>
                    <a:pt x="945" y="906"/>
                    <a:pt x="946" y="908"/>
                    <a:pt x="946" y="909"/>
                  </a:cubicBezTo>
                  <a:cubicBezTo>
                    <a:pt x="946" y="911"/>
                    <a:pt x="947" y="912"/>
                    <a:pt x="946" y="913"/>
                  </a:cubicBezTo>
                  <a:cubicBezTo>
                    <a:pt x="946" y="914"/>
                    <a:pt x="946" y="915"/>
                    <a:pt x="945" y="916"/>
                  </a:cubicBezTo>
                  <a:lnTo>
                    <a:pt x="921" y="939"/>
                  </a:lnTo>
                  <a:cubicBezTo>
                    <a:pt x="932" y="937"/>
                    <a:pt x="941" y="936"/>
                    <a:pt x="949" y="936"/>
                  </a:cubicBezTo>
                  <a:cubicBezTo>
                    <a:pt x="957" y="936"/>
                    <a:pt x="964" y="936"/>
                    <a:pt x="970" y="937"/>
                  </a:cubicBezTo>
                  <a:cubicBezTo>
                    <a:pt x="975" y="938"/>
                    <a:pt x="980" y="940"/>
                    <a:pt x="985" y="943"/>
                  </a:cubicBezTo>
                  <a:cubicBezTo>
                    <a:pt x="989" y="945"/>
                    <a:pt x="993" y="948"/>
                    <a:pt x="996" y="951"/>
                  </a:cubicBezTo>
                  <a:cubicBezTo>
                    <a:pt x="998" y="953"/>
                    <a:pt x="999" y="955"/>
                    <a:pt x="1001" y="957"/>
                  </a:cubicBezTo>
                  <a:cubicBezTo>
                    <a:pt x="1003" y="959"/>
                    <a:pt x="1004" y="961"/>
                    <a:pt x="1006" y="964"/>
                  </a:cubicBezTo>
                  <a:cubicBezTo>
                    <a:pt x="1008" y="967"/>
                    <a:pt x="1009" y="969"/>
                    <a:pt x="1010" y="971"/>
                  </a:cubicBezTo>
                  <a:cubicBezTo>
                    <a:pt x="1011" y="974"/>
                    <a:pt x="1012" y="975"/>
                    <a:pt x="1012" y="977"/>
                  </a:cubicBezTo>
                  <a:cubicBezTo>
                    <a:pt x="1012" y="978"/>
                    <a:pt x="1012" y="979"/>
                    <a:pt x="1012" y="980"/>
                  </a:cubicBezTo>
                  <a:cubicBezTo>
                    <a:pt x="1012" y="981"/>
                    <a:pt x="1011" y="981"/>
                    <a:pt x="1010" y="982"/>
                  </a:cubicBezTo>
                  <a:cubicBezTo>
                    <a:pt x="1010" y="983"/>
                    <a:pt x="1009" y="985"/>
                    <a:pt x="1007" y="986"/>
                  </a:cubicBezTo>
                  <a:cubicBezTo>
                    <a:pt x="1006" y="988"/>
                    <a:pt x="1004" y="990"/>
                    <a:pt x="1001" y="993"/>
                  </a:cubicBezTo>
                  <a:close/>
                  <a:moveTo>
                    <a:pt x="1113" y="1240"/>
                  </a:moveTo>
                  <a:cubicBezTo>
                    <a:pt x="1100" y="1253"/>
                    <a:pt x="1086" y="1263"/>
                    <a:pt x="1072" y="1270"/>
                  </a:cubicBezTo>
                  <a:cubicBezTo>
                    <a:pt x="1058" y="1278"/>
                    <a:pt x="1043" y="1282"/>
                    <a:pt x="1028" y="1283"/>
                  </a:cubicBezTo>
                  <a:cubicBezTo>
                    <a:pt x="1014" y="1284"/>
                    <a:pt x="999" y="1282"/>
                    <a:pt x="985" y="1276"/>
                  </a:cubicBezTo>
                  <a:cubicBezTo>
                    <a:pt x="970" y="1271"/>
                    <a:pt x="956" y="1261"/>
                    <a:pt x="942" y="1247"/>
                  </a:cubicBezTo>
                  <a:cubicBezTo>
                    <a:pt x="929" y="1234"/>
                    <a:pt x="920" y="1221"/>
                    <a:pt x="914" y="1207"/>
                  </a:cubicBezTo>
                  <a:cubicBezTo>
                    <a:pt x="908" y="1194"/>
                    <a:pt x="906" y="1180"/>
                    <a:pt x="907" y="1166"/>
                  </a:cubicBezTo>
                  <a:cubicBezTo>
                    <a:pt x="908" y="1152"/>
                    <a:pt x="912" y="1138"/>
                    <a:pt x="919" y="1125"/>
                  </a:cubicBezTo>
                  <a:cubicBezTo>
                    <a:pt x="927" y="1111"/>
                    <a:pt x="937" y="1097"/>
                    <a:pt x="951" y="1084"/>
                  </a:cubicBezTo>
                  <a:cubicBezTo>
                    <a:pt x="964" y="1071"/>
                    <a:pt x="977" y="1061"/>
                    <a:pt x="991" y="1053"/>
                  </a:cubicBezTo>
                  <a:cubicBezTo>
                    <a:pt x="1006" y="1046"/>
                    <a:pt x="1020" y="1041"/>
                    <a:pt x="1035" y="1040"/>
                  </a:cubicBezTo>
                  <a:cubicBezTo>
                    <a:pt x="1049" y="1039"/>
                    <a:pt x="1064" y="1041"/>
                    <a:pt x="1079" y="1047"/>
                  </a:cubicBezTo>
                  <a:cubicBezTo>
                    <a:pt x="1093" y="1053"/>
                    <a:pt x="1107" y="1062"/>
                    <a:pt x="1121" y="1076"/>
                  </a:cubicBezTo>
                  <a:cubicBezTo>
                    <a:pt x="1134" y="1089"/>
                    <a:pt x="1143" y="1102"/>
                    <a:pt x="1149" y="1116"/>
                  </a:cubicBezTo>
                  <a:cubicBezTo>
                    <a:pt x="1155" y="1130"/>
                    <a:pt x="1157" y="1143"/>
                    <a:pt x="1156" y="1157"/>
                  </a:cubicBezTo>
                  <a:cubicBezTo>
                    <a:pt x="1155" y="1171"/>
                    <a:pt x="1151" y="1185"/>
                    <a:pt x="1144" y="1199"/>
                  </a:cubicBezTo>
                  <a:cubicBezTo>
                    <a:pt x="1137" y="1213"/>
                    <a:pt x="1126" y="1226"/>
                    <a:pt x="1113" y="1240"/>
                  </a:cubicBezTo>
                  <a:close/>
                  <a:moveTo>
                    <a:pt x="1081" y="1211"/>
                  </a:moveTo>
                  <a:cubicBezTo>
                    <a:pt x="1089" y="1203"/>
                    <a:pt x="1097" y="1194"/>
                    <a:pt x="1103" y="1185"/>
                  </a:cubicBezTo>
                  <a:cubicBezTo>
                    <a:pt x="1109" y="1175"/>
                    <a:pt x="1113" y="1166"/>
                    <a:pt x="1115" y="1157"/>
                  </a:cubicBezTo>
                  <a:cubicBezTo>
                    <a:pt x="1117" y="1147"/>
                    <a:pt x="1117" y="1138"/>
                    <a:pt x="1114" y="1128"/>
                  </a:cubicBezTo>
                  <a:cubicBezTo>
                    <a:pt x="1111" y="1118"/>
                    <a:pt x="1105" y="1109"/>
                    <a:pt x="1095" y="1099"/>
                  </a:cubicBezTo>
                  <a:cubicBezTo>
                    <a:pt x="1086" y="1091"/>
                    <a:pt x="1077" y="1085"/>
                    <a:pt x="1068" y="1081"/>
                  </a:cubicBezTo>
                  <a:cubicBezTo>
                    <a:pt x="1059" y="1078"/>
                    <a:pt x="1049" y="1077"/>
                    <a:pt x="1040" y="1079"/>
                  </a:cubicBezTo>
                  <a:cubicBezTo>
                    <a:pt x="1030" y="1081"/>
                    <a:pt x="1020" y="1084"/>
                    <a:pt x="1011" y="1090"/>
                  </a:cubicBezTo>
                  <a:cubicBezTo>
                    <a:pt x="1001" y="1096"/>
                    <a:pt x="992" y="1103"/>
                    <a:pt x="983" y="1112"/>
                  </a:cubicBezTo>
                  <a:cubicBezTo>
                    <a:pt x="974" y="1121"/>
                    <a:pt x="967" y="1130"/>
                    <a:pt x="961" y="1139"/>
                  </a:cubicBezTo>
                  <a:cubicBezTo>
                    <a:pt x="955" y="1148"/>
                    <a:pt x="951" y="1158"/>
                    <a:pt x="949" y="1167"/>
                  </a:cubicBezTo>
                  <a:cubicBezTo>
                    <a:pt x="947" y="1177"/>
                    <a:pt x="947" y="1186"/>
                    <a:pt x="950" y="1196"/>
                  </a:cubicBezTo>
                  <a:cubicBezTo>
                    <a:pt x="953" y="1206"/>
                    <a:pt x="959" y="1215"/>
                    <a:pt x="969" y="1224"/>
                  </a:cubicBezTo>
                  <a:cubicBezTo>
                    <a:pt x="977" y="1233"/>
                    <a:pt x="986" y="1239"/>
                    <a:pt x="995" y="1242"/>
                  </a:cubicBezTo>
                  <a:cubicBezTo>
                    <a:pt x="1005" y="1245"/>
                    <a:pt x="1014" y="1246"/>
                    <a:pt x="1024" y="1245"/>
                  </a:cubicBezTo>
                  <a:cubicBezTo>
                    <a:pt x="1033" y="1243"/>
                    <a:pt x="1043" y="1240"/>
                    <a:pt x="1053" y="1234"/>
                  </a:cubicBezTo>
                  <a:cubicBezTo>
                    <a:pt x="1062" y="1228"/>
                    <a:pt x="1072" y="1221"/>
                    <a:pt x="1081" y="1211"/>
                  </a:cubicBezTo>
                  <a:close/>
                  <a:moveTo>
                    <a:pt x="1458" y="1429"/>
                  </a:moveTo>
                  <a:cubicBezTo>
                    <a:pt x="1457" y="1429"/>
                    <a:pt x="1456" y="1430"/>
                    <a:pt x="1455" y="1431"/>
                  </a:cubicBezTo>
                  <a:cubicBezTo>
                    <a:pt x="1453" y="1432"/>
                    <a:pt x="1451" y="1433"/>
                    <a:pt x="1449" y="1434"/>
                  </a:cubicBezTo>
                  <a:lnTo>
                    <a:pt x="1251" y="1539"/>
                  </a:lnTo>
                  <a:cubicBezTo>
                    <a:pt x="1249" y="1540"/>
                    <a:pt x="1248" y="1540"/>
                    <a:pt x="1246" y="1540"/>
                  </a:cubicBezTo>
                  <a:cubicBezTo>
                    <a:pt x="1244" y="1540"/>
                    <a:pt x="1243" y="1540"/>
                    <a:pt x="1241" y="1539"/>
                  </a:cubicBezTo>
                  <a:cubicBezTo>
                    <a:pt x="1239" y="1538"/>
                    <a:pt x="1237" y="1536"/>
                    <a:pt x="1234" y="1534"/>
                  </a:cubicBezTo>
                  <a:cubicBezTo>
                    <a:pt x="1232" y="1532"/>
                    <a:pt x="1229" y="1529"/>
                    <a:pt x="1225" y="1526"/>
                  </a:cubicBezTo>
                  <a:cubicBezTo>
                    <a:pt x="1222" y="1522"/>
                    <a:pt x="1219" y="1519"/>
                    <a:pt x="1216" y="1516"/>
                  </a:cubicBezTo>
                  <a:cubicBezTo>
                    <a:pt x="1214" y="1513"/>
                    <a:pt x="1213" y="1511"/>
                    <a:pt x="1212" y="1509"/>
                  </a:cubicBezTo>
                  <a:cubicBezTo>
                    <a:pt x="1211" y="1507"/>
                    <a:pt x="1210" y="1506"/>
                    <a:pt x="1210" y="1504"/>
                  </a:cubicBezTo>
                  <a:cubicBezTo>
                    <a:pt x="1210" y="1502"/>
                    <a:pt x="1211" y="1501"/>
                    <a:pt x="1212" y="1499"/>
                  </a:cubicBezTo>
                  <a:lnTo>
                    <a:pt x="1294" y="1351"/>
                  </a:lnTo>
                  <a:lnTo>
                    <a:pt x="1295" y="1349"/>
                  </a:lnTo>
                  <a:lnTo>
                    <a:pt x="1293" y="1350"/>
                  </a:lnTo>
                  <a:lnTo>
                    <a:pt x="1147" y="1434"/>
                  </a:lnTo>
                  <a:cubicBezTo>
                    <a:pt x="1145" y="1435"/>
                    <a:pt x="1143" y="1436"/>
                    <a:pt x="1142" y="1436"/>
                  </a:cubicBezTo>
                  <a:cubicBezTo>
                    <a:pt x="1140" y="1436"/>
                    <a:pt x="1138" y="1435"/>
                    <a:pt x="1136" y="1434"/>
                  </a:cubicBezTo>
                  <a:cubicBezTo>
                    <a:pt x="1134" y="1433"/>
                    <a:pt x="1132" y="1432"/>
                    <a:pt x="1129" y="1429"/>
                  </a:cubicBezTo>
                  <a:cubicBezTo>
                    <a:pt x="1127" y="1427"/>
                    <a:pt x="1124" y="1424"/>
                    <a:pt x="1120" y="1421"/>
                  </a:cubicBezTo>
                  <a:cubicBezTo>
                    <a:pt x="1117" y="1417"/>
                    <a:pt x="1114" y="1414"/>
                    <a:pt x="1112" y="1411"/>
                  </a:cubicBezTo>
                  <a:cubicBezTo>
                    <a:pt x="1110" y="1409"/>
                    <a:pt x="1108" y="1407"/>
                    <a:pt x="1107" y="1405"/>
                  </a:cubicBezTo>
                  <a:cubicBezTo>
                    <a:pt x="1106" y="1403"/>
                    <a:pt x="1106" y="1401"/>
                    <a:pt x="1106" y="1400"/>
                  </a:cubicBezTo>
                  <a:cubicBezTo>
                    <a:pt x="1106" y="1398"/>
                    <a:pt x="1106" y="1396"/>
                    <a:pt x="1107" y="1395"/>
                  </a:cubicBezTo>
                  <a:lnTo>
                    <a:pt x="1212" y="1197"/>
                  </a:lnTo>
                  <a:cubicBezTo>
                    <a:pt x="1213" y="1195"/>
                    <a:pt x="1214" y="1193"/>
                    <a:pt x="1215" y="1192"/>
                  </a:cubicBezTo>
                  <a:cubicBezTo>
                    <a:pt x="1216" y="1190"/>
                    <a:pt x="1217" y="1189"/>
                    <a:pt x="1218" y="1188"/>
                  </a:cubicBezTo>
                  <a:cubicBezTo>
                    <a:pt x="1219" y="1187"/>
                    <a:pt x="1220" y="1187"/>
                    <a:pt x="1221" y="1186"/>
                  </a:cubicBezTo>
                  <a:cubicBezTo>
                    <a:pt x="1222" y="1186"/>
                    <a:pt x="1223" y="1187"/>
                    <a:pt x="1225" y="1187"/>
                  </a:cubicBezTo>
                  <a:cubicBezTo>
                    <a:pt x="1226" y="1188"/>
                    <a:pt x="1228" y="1189"/>
                    <a:pt x="1230" y="1191"/>
                  </a:cubicBezTo>
                  <a:cubicBezTo>
                    <a:pt x="1232" y="1193"/>
                    <a:pt x="1235" y="1195"/>
                    <a:pt x="1237" y="1198"/>
                  </a:cubicBezTo>
                  <a:cubicBezTo>
                    <a:pt x="1241" y="1201"/>
                    <a:pt x="1243" y="1204"/>
                    <a:pt x="1245" y="1206"/>
                  </a:cubicBezTo>
                  <a:cubicBezTo>
                    <a:pt x="1247" y="1208"/>
                    <a:pt x="1248" y="1210"/>
                    <a:pt x="1249" y="1211"/>
                  </a:cubicBezTo>
                  <a:cubicBezTo>
                    <a:pt x="1249" y="1213"/>
                    <a:pt x="1250" y="1214"/>
                    <a:pt x="1249" y="1215"/>
                  </a:cubicBezTo>
                  <a:cubicBezTo>
                    <a:pt x="1249" y="1217"/>
                    <a:pt x="1248" y="1218"/>
                    <a:pt x="1248" y="1219"/>
                  </a:cubicBezTo>
                  <a:lnTo>
                    <a:pt x="1155" y="1389"/>
                  </a:lnTo>
                  <a:lnTo>
                    <a:pt x="1154" y="1391"/>
                  </a:lnTo>
                  <a:lnTo>
                    <a:pt x="1156" y="1390"/>
                  </a:lnTo>
                  <a:lnTo>
                    <a:pt x="1322" y="1294"/>
                  </a:lnTo>
                  <a:cubicBezTo>
                    <a:pt x="1323" y="1293"/>
                    <a:pt x="1325" y="1292"/>
                    <a:pt x="1326" y="1292"/>
                  </a:cubicBezTo>
                  <a:cubicBezTo>
                    <a:pt x="1327" y="1292"/>
                    <a:pt x="1329" y="1292"/>
                    <a:pt x="1330" y="1293"/>
                  </a:cubicBezTo>
                  <a:cubicBezTo>
                    <a:pt x="1332" y="1293"/>
                    <a:pt x="1333" y="1294"/>
                    <a:pt x="1335" y="1296"/>
                  </a:cubicBezTo>
                  <a:cubicBezTo>
                    <a:pt x="1337" y="1298"/>
                    <a:pt x="1340" y="1300"/>
                    <a:pt x="1343" y="1303"/>
                  </a:cubicBezTo>
                  <a:cubicBezTo>
                    <a:pt x="1346" y="1306"/>
                    <a:pt x="1348" y="1308"/>
                    <a:pt x="1349" y="1310"/>
                  </a:cubicBezTo>
                  <a:cubicBezTo>
                    <a:pt x="1351" y="1312"/>
                    <a:pt x="1352" y="1314"/>
                    <a:pt x="1353" y="1315"/>
                  </a:cubicBezTo>
                  <a:cubicBezTo>
                    <a:pt x="1353" y="1317"/>
                    <a:pt x="1354" y="1318"/>
                    <a:pt x="1353" y="1319"/>
                  </a:cubicBezTo>
                  <a:cubicBezTo>
                    <a:pt x="1353" y="1321"/>
                    <a:pt x="1353" y="1322"/>
                    <a:pt x="1352" y="1323"/>
                  </a:cubicBezTo>
                  <a:lnTo>
                    <a:pt x="1259" y="1493"/>
                  </a:lnTo>
                  <a:lnTo>
                    <a:pt x="1257" y="1494"/>
                  </a:lnTo>
                  <a:lnTo>
                    <a:pt x="1259" y="1493"/>
                  </a:lnTo>
                  <a:lnTo>
                    <a:pt x="1428" y="1400"/>
                  </a:lnTo>
                  <a:cubicBezTo>
                    <a:pt x="1429" y="1399"/>
                    <a:pt x="1431" y="1398"/>
                    <a:pt x="1432" y="1398"/>
                  </a:cubicBezTo>
                  <a:cubicBezTo>
                    <a:pt x="1433" y="1398"/>
                    <a:pt x="1435" y="1398"/>
                    <a:pt x="1436" y="1399"/>
                  </a:cubicBezTo>
                  <a:cubicBezTo>
                    <a:pt x="1438" y="1400"/>
                    <a:pt x="1440" y="1401"/>
                    <a:pt x="1442" y="1403"/>
                  </a:cubicBezTo>
                  <a:cubicBezTo>
                    <a:pt x="1444" y="1404"/>
                    <a:pt x="1446" y="1407"/>
                    <a:pt x="1449" y="1410"/>
                  </a:cubicBezTo>
                  <a:cubicBezTo>
                    <a:pt x="1452" y="1413"/>
                    <a:pt x="1454" y="1415"/>
                    <a:pt x="1456" y="1417"/>
                  </a:cubicBezTo>
                  <a:cubicBezTo>
                    <a:pt x="1458" y="1419"/>
                    <a:pt x="1459" y="1420"/>
                    <a:pt x="1459" y="1422"/>
                  </a:cubicBezTo>
                  <a:cubicBezTo>
                    <a:pt x="1460" y="1423"/>
                    <a:pt x="1460" y="1424"/>
                    <a:pt x="1460" y="1425"/>
                  </a:cubicBezTo>
                  <a:cubicBezTo>
                    <a:pt x="1460" y="1426"/>
                    <a:pt x="1459" y="1427"/>
                    <a:pt x="1458" y="1429"/>
                  </a:cubicBezTo>
                  <a:close/>
                  <a:moveTo>
                    <a:pt x="1404" y="1703"/>
                  </a:moveTo>
                  <a:lnTo>
                    <a:pt x="1324" y="1740"/>
                  </a:lnTo>
                  <a:cubicBezTo>
                    <a:pt x="1322" y="1741"/>
                    <a:pt x="1319" y="1741"/>
                    <a:pt x="1315" y="1739"/>
                  </a:cubicBezTo>
                  <a:cubicBezTo>
                    <a:pt x="1311" y="1737"/>
                    <a:pt x="1306" y="1733"/>
                    <a:pt x="1300" y="1727"/>
                  </a:cubicBezTo>
                  <a:cubicBezTo>
                    <a:pt x="1297" y="1724"/>
                    <a:pt x="1295" y="1721"/>
                    <a:pt x="1293" y="1719"/>
                  </a:cubicBezTo>
                  <a:cubicBezTo>
                    <a:pt x="1292" y="1717"/>
                    <a:pt x="1291" y="1715"/>
                    <a:pt x="1290" y="1713"/>
                  </a:cubicBezTo>
                  <a:cubicBezTo>
                    <a:pt x="1290" y="1712"/>
                    <a:pt x="1290" y="1710"/>
                    <a:pt x="1291" y="1709"/>
                  </a:cubicBezTo>
                  <a:cubicBezTo>
                    <a:pt x="1292" y="1708"/>
                    <a:pt x="1294" y="1706"/>
                    <a:pt x="1297" y="1706"/>
                  </a:cubicBezTo>
                  <a:lnTo>
                    <a:pt x="1374" y="1672"/>
                  </a:lnTo>
                  <a:cubicBezTo>
                    <a:pt x="1373" y="1671"/>
                    <a:pt x="1373" y="1669"/>
                    <a:pt x="1373" y="1667"/>
                  </a:cubicBezTo>
                  <a:cubicBezTo>
                    <a:pt x="1373" y="1665"/>
                    <a:pt x="1374" y="1663"/>
                    <a:pt x="1375" y="1662"/>
                  </a:cubicBezTo>
                  <a:lnTo>
                    <a:pt x="1470" y="1453"/>
                  </a:lnTo>
                  <a:cubicBezTo>
                    <a:pt x="1471" y="1449"/>
                    <a:pt x="1473" y="1447"/>
                    <a:pt x="1474" y="1445"/>
                  </a:cubicBezTo>
                  <a:cubicBezTo>
                    <a:pt x="1476" y="1444"/>
                    <a:pt x="1477" y="1443"/>
                    <a:pt x="1479" y="1444"/>
                  </a:cubicBezTo>
                  <a:cubicBezTo>
                    <a:pt x="1481" y="1444"/>
                    <a:pt x="1483" y="1445"/>
                    <a:pt x="1485" y="1446"/>
                  </a:cubicBezTo>
                  <a:cubicBezTo>
                    <a:pt x="1488" y="1448"/>
                    <a:pt x="1491" y="1451"/>
                    <a:pt x="1494" y="1455"/>
                  </a:cubicBezTo>
                  <a:cubicBezTo>
                    <a:pt x="1498" y="1458"/>
                    <a:pt x="1500" y="1461"/>
                    <a:pt x="1502" y="1463"/>
                  </a:cubicBezTo>
                  <a:cubicBezTo>
                    <a:pt x="1504" y="1465"/>
                    <a:pt x="1505" y="1467"/>
                    <a:pt x="1506" y="1469"/>
                  </a:cubicBezTo>
                  <a:cubicBezTo>
                    <a:pt x="1507" y="1470"/>
                    <a:pt x="1507" y="1472"/>
                    <a:pt x="1507" y="1473"/>
                  </a:cubicBezTo>
                  <a:cubicBezTo>
                    <a:pt x="1506" y="1475"/>
                    <a:pt x="1506" y="1477"/>
                    <a:pt x="1505" y="1479"/>
                  </a:cubicBezTo>
                  <a:lnTo>
                    <a:pt x="1422" y="1652"/>
                  </a:lnTo>
                  <a:lnTo>
                    <a:pt x="1423" y="1652"/>
                  </a:lnTo>
                  <a:lnTo>
                    <a:pt x="1595" y="1568"/>
                  </a:lnTo>
                  <a:cubicBezTo>
                    <a:pt x="1598" y="1566"/>
                    <a:pt x="1600" y="1566"/>
                    <a:pt x="1602" y="1566"/>
                  </a:cubicBezTo>
                  <a:cubicBezTo>
                    <a:pt x="1604" y="1566"/>
                    <a:pt x="1606" y="1567"/>
                    <a:pt x="1608" y="1569"/>
                  </a:cubicBezTo>
                  <a:cubicBezTo>
                    <a:pt x="1610" y="1571"/>
                    <a:pt x="1613" y="1574"/>
                    <a:pt x="1617" y="1577"/>
                  </a:cubicBezTo>
                  <a:cubicBezTo>
                    <a:pt x="1620" y="1581"/>
                    <a:pt x="1623" y="1584"/>
                    <a:pt x="1625" y="1586"/>
                  </a:cubicBezTo>
                  <a:cubicBezTo>
                    <a:pt x="1627" y="1588"/>
                    <a:pt x="1628" y="1590"/>
                    <a:pt x="1628" y="1592"/>
                  </a:cubicBezTo>
                  <a:cubicBezTo>
                    <a:pt x="1628" y="1594"/>
                    <a:pt x="1627" y="1596"/>
                    <a:pt x="1626" y="1597"/>
                  </a:cubicBezTo>
                  <a:cubicBezTo>
                    <a:pt x="1624" y="1599"/>
                    <a:pt x="1622" y="1600"/>
                    <a:pt x="1620" y="1601"/>
                  </a:cubicBezTo>
                  <a:lnTo>
                    <a:pt x="1404" y="1703"/>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92" name="Freeform 139"/>
            <p:cNvSpPr>
              <a:spLocks noEditPoints="1"/>
            </p:cNvSpPr>
            <p:nvPr/>
          </p:nvSpPr>
          <p:spPr bwMode="auto">
            <a:xfrm>
              <a:off x="2737" y="1590"/>
              <a:ext cx="147" cy="153"/>
            </a:xfrm>
            <a:custGeom>
              <a:avLst/>
              <a:gdLst>
                <a:gd name="T0" fmla="*/ 230 w 1388"/>
                <a:gd name="T1" fmla="*/ 123 h 1453"/>
                <a:gd name="T2" fmla="*/ 4 w 1388"/>
                <a:gd name="T3" fmla="*/ 304 h 1453"/>
                <a:gd name="T4" fmla="*/ 134 w 1388"/>
                <a:gd name="T5" fmla="*/ 25 h 1453"/>
                <a:gd name="T6" fmla="*/ 158 w 1388"/>
                <a:gd name="T7" fmla="*/ 1 h 1453"/>
                <a:gd name="T8" fmla="*/ 314 w 1388"/>
                <a:gd name="T9" fmla="*/ 181 h 1453"/>
                <a:gd name="T10" fmla="*/ 357 w 1388"/>
                <a:gd name="T11" fmla="*/ 376 h 1453"/>
                <a:gd name="T12" fmla="*/ 298 w 1388"/>
                <a:gd name="T13" fmla="*/ 346 h 1453"/>
                <a:gd name="T14" fmla="*/ 146 w 1388"/>
                <a:gd name="T15" fmla="*/ 446 h 1453"/>
                <a:gd name="T16" fmla="*/ 299 w 1388"/>
                <a:gd name="T17" fmla="*/ 265 h 1453"/>
                <a:gd name="T18" fmla="*/ 324 w 1388"/>
                <a:gd name="T19" fmla="*/ 291 h 1453"/>
                <a:gd name="T20" fmla="*/ 373 w 1388"/>
                <a:gd name="T21" fmla="*/ 329 h 1453"/>
                <a:gd name="T22" fmla="*/ 388 w 1388"/>
                <a:gd name="T23" fmla="*/ 360 h 1453"/>
                <a:gd name="T24" fmla="*/ 363 w 1388"/>
                <a:gd name="T25" fmla="*/ 664 h 1453"/>
                <a:gd name="T26" fmla="*/ 298 w 1388"/>
                <a:gd name="T27" fmla="*/ 603 h 1453"/>
                <a:gd name="T28" fmla="*/ 352 w 1388"/>
                <a:gd name="T29" fmla="*/ 481 h 1453"/>
                <a:gd name="T30" fmla="*/ 478 w 1388"/>
                <a:gd name="T31" fmla="*/ 500 h 1453"/>
                <a:gd name="T32" fmla="*/ 391 w 1388"/>
                <a:gd name="T33" fmla="*/ 427 h 1453"/>
                <a:gd name="T34" fmla="*/ 412 w 1388"/>
                <a:gd name="T35" fmla="*/ 401 h 1453"/>
                <a:gd name="T36" fmla="*/ 519 w 1388"/>
                <a:gd name="T37" fmla="*/ 505 h 1453"/>
                <a:gd name="T38" fmla="*/ 377 w 1388"/>
                <a:gd name="T39" fmla="*/ 525 h 1453"/>
                <a:gd name="T40" fmla="*/ 352 w 1388"/>
                <a:gd name="T41" fmla="*/ 600 h 1453"/>
                <a:gd name="T42" fmla="*/ 548 w 1388"/>
                <a:gd name="T43" fmla="*/ 848 h 1453"/>
                <a:gd name="T44" fmla="*/ 548 w 1388"/>
                <a:gd name="T45" fmla="*/ 661 h 1453"/>
                <a:gd name="T46" fmla="*/ 433 w 1388"/>
                <a:gd name="T47" fmla="*/ 733 h 1453"/>
                <a:gd name="T48" fmla="*/ 674 w 1388"/>
                <a:gd name="T49" fmla="*/ 483 h 1453"/>
                <a:gd name="T50" fmla="*/ 696 w 1388"/>
                <a:gd name="T51" fmla="*/ 513 h 1453"/>
                <a:gd name="T52" fmla="*/ 704 w 1388"/>
                <a:gd name="T53" fmla="*/ 664 h 1453"/>
                <a:gd name="T54" fmla="*/ 700 w 1388"/>
                <a:gd name="T55" fmla="*/ 690 h 1453"/>
                <a:gd name="T56" fmla="*/ 627 w 1388"/>
                <a:gd name="T57" fmla="*/ 921 h 1453"/>
                <a:gd name="T58" fmla="*/ 599 w 1388"/>
                <a:gd name="T59" fmla="*/ 893 h 1453"/>
                <a:gd name="T60" fmla="*/ 780 w 1388"/>
                <a:gd name="T61" fmla="*/ 740 h 1453"/>
                <a:gd name="T62" fmla="*/ 846 w 1388"/>
                <a:gd name="T63" fmla="*/ 710 h 1453"/>
                <a:gd name="T64" fmla="*/ 845 w 1388"/>
                <a:gd name="T65" fmla="*/ 675 h 1453"/>
                <a:gd name="T66" fmla="*/ 738 w 1388"/>
                <a:gd name="T67" fmla="*/ 1037 h 1453"/>
                <a:gd name="T68" fmla="*/ 678 w 1388"/>
                <a:gd name="T69" fmla="*/ 947 h 1453"/>
                <a:gd name="T70" fmla="*/ 706 w 1388"/>
                <a:gd name="T71" fmla="*/ 939 h 1453"/>
                <a:gd name="T72" fmla="*/ 778 w 1388"/>
                <a:gd name="T73" fmla="*/ 1008 h 1453"/>
                <a:gd name="T74" fmla="*/ 775 w 1388"/>
                <a:gd name="T75" fmla="*/ 907 h 1453"/>
                <a:gd name="T76" fmla="*/ 867 w 1388"/>
                <a:gd name="T77" fmla="*/ 830 h 1453"/>
                <a:gd name="T78" fmla="*/ 924 w 1388"/>
                <a:gd name="T79" fmla="*/ 905 h 1453"/>
                <a:gd name="T80" fmla="*/ 902 w 1388"/>
                <a:gd name="T81" fmla="*/ 926 h 1453"/>
                <a:gd name="T82" fmla="*/ 858 w 1388"/>
                <a:gd name="T83" fmla="*/ 862 h 1453"/>
                <a:gd name="T84" fmla="*/ 820 w 1388"/>
                <a:gd name="T85" fmla="*/ 919 h 1453"/>
                <a:gd name="T86" fmla="*/ 925 w 1388"/>
                <a:gd name="T87" fmla="*/ 1199 h 1453"/>
                <a:gd name="T88" fmla="*/ 805 w 1388"/>
                <a:gd name="T89" fmla="*/ 1098 h 1453"/>
                <a:gd name="T90" fmla="*/ 840 w 1388"/>
                <a:gd name="T91" fmla="*/ 1070 h 1453"/>
                <a:gd name="T92" fmla="*/ 969 w 1388"/>
                <a:gd name="T93" fmla="*/ 937 h 1453"/>
                <a:gd name="T94" fmla="*/ 1070 w 1388"/>
                <a:gd name="T95" fmla="*/ 1043 h 1453"/>
                <a:gd name="T96" fmla="*/ 1035 w 1388"/>
                <a:gd name="T97" fmla="*/ 1066 h 1453"/>
                <a:gd name="T98" fmla="*/ 925 w 1388"/>
                <a:gd name="T99" fmla="*/ 1199 h 1453"/>
                <a:gd name="T100" fmla="*/ 1065 w 1388"/>
                <a:gd name="T101" fmla="*/ 1365 h 1453"/>
                <a:gd name="T102" fmla="*/ 989 w 1388"/>
                <a:gd name="T103" fmla="*/ 1283 h 1453"/>
                <a:gd name="T104" fmla="*/ 961 w 1388"/>
                <a:gd name="T105" fmla="*/ 1255 h 1453"/>
                <a:gd name="T106" fmla="*/ 1219 w 1388"/>
                <a:gd name="T107" fmla="*/ 1025 h 1453"/>
                <a:gd name="T108" fmla="*/ 1210 w 1388"/>
                <a:gd name="T109" fmla="*/ 1183 h 1453"/>
                <a:gd name="T110" fmla="*/ 1247 w 1388"/>
                <a:gd name="T111" fmla="*/ 1210 h 1453"/>
                <a:gd name="T112" fmla="*/ 1097 w 1388"/>
                <a:gd name="T113" fmla="*/ 1370 h 1453"/>
                <a:gd name="T114" fmla="*/ 1149 w 1388"/>
                <a:gd name="T115" fmla="*/ 1449 h 1453"/>
                <a:gd name="T116" fmla="*/ 1291 w 1388"/>
                <a:gd name="T117" fmla="*/ 1263 h 1453"/>
                <a:gd name="T118" fmla="*/ 1322 w 1388"/>
                <a:gd name="T119" fmla="*/ 1285 h 1453"/>
                <a:gd name="T120" fmla="*/ 1342 w 1388"/>
                <a:gd name="T121" fmla="*/ 1241 h 1453"/>
                <a:gd name="T122" fmla="*/ 1378 w 1388"/>
                <a:gd name="T123" fmla="*/ 1242 h 1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88" h="1453">
                  <a:moveTo>
                    <a:pt x="314" y="181"/>
                  </a:moveTo>
                  <a:cubicBezTo>
                    <a:pt x="311" y="183"/>
                    <a:pt x="309" y="185"/>
                    <a:pt x="307" y="186"/>
                  </a:cubicBezTo>
                  <a:cubicBezTo>
                    <a:pt x="305" y="188"/>
                    <a:pt x="304" y="189"/>
                    <a:pt x="302" y="189"/>
                  </a:cubicBezTo>
                  <a:cubicBezTo>
                    <a:pt x="301" y="190"/>
                    <a:pt x="299" y="190"/>
                    <a:pt x="298" y="189"/>
                  </a:cubicBezTo>
                  <a:cubicBezTo>
                    <a:pt x="297" y="189"/>
                    <a:pt x="296" y="188"/>
                    <a:pt x="295" y="188"/>
                  </a:cubicBezTo>
                  <a:lnTo>
                    <a:pt x="230" y="123"/>
                  </a:lnTo>
                  <a:lnTo>
                    <a:pt x="32" y="322"/>
                  </a:lnTo>
                  <a:cubicBezTo>
                    <a:pt x="31" y="322"/>
                    <a:pt x="30" y="323"/>
                    <a:pt x="29" y="323"/>
                  </a:cubicBezTo>
                  <a:cubicBezTo>
                    <a:pt x="28" y="324"/>
                    <a:pt x="26" y="323"/>
                    <a:pt x="25" y="322"/>
                  </a:cubicBezTo>
                  <a:cubicBezTo>
                    <a:pt x="23" y="322"/>
                    <a:pt x="21" y="321"/>
                    <a:pt x="19" y="319"/>
                  </a:cubicBezTo>
                  <a:cubicBezTo>
                    <a:pt x="17" y="317"/>
                    <a:pt x="14" y="315"/>
                    <a:pt x="11" y="312"/>
                  </a:cubicBezTo>
                  <a:cubicBezTo>
                    <a:pt x="8" y="309"/>
                    <a:pt x="6" y="307"/>
                    <a:pt x="4" y="304"/>
                  </a:cubicBezTo>
                  <a:cubicBezTo>
                    <a:pt x="3" y="302"/>
                    <a:pt x="1" y="300"/>
                    <a:pt x="1" y="298"/>
                  </a:cubicBezTo>
                  <a:cubicBezTo>
                    <a:pt x="0" y="297"/>
                    <a:pt x="0" y="295"/>
                    <a:pt x="0" y="294"/>
                  </a:cubicBezTo>
                  <a:cubicBezTo>
                    <a:pt x="0" y="293"/>
                    <a:pt x="1" y="292"/>
                    <a:pt x="2" y="291"/>
                  </a:cubicBezTo>
                  <a:lnTo>
                    <a:pt x="200" y="93"/>
                  </a:lnTo>
                  <a:lnTo>
                    <a:pt x="136" y="28"/>
                  </a:lnTo>
                  <a:cubicBezTo>
                    <a:pt x="135" y="27"/>
                    <a:pt x="134" y="26"/>
                    <a:pt x="134" y="25"/>
                  </a:cubicBezTo>
                  <a:cubicBezTo>
                    <a:pt x="134" y="24"/>
                    <a:pt x="134" y="23"/>
                    <a:pt x="134" y="21"/>
                  </a:cubicBezTo>
                  <a:cubicBezTo>
                    <a:pt x="135" y="20"/>
                    <a:pt x="136" y="18"/>
                    <a:pt x="137" y="16"/>
                  </a:cubicBezTo>
                  <a:cubicBezTo>
                    <a:pt x="138" y="14"/>
                    <a:pt x="140" y="12"/>
                    <a:pt x="142" y="10"/>
                  </a:cubicBezTo>
                  <a:cubicBezTo>
                    <a:pt x="145" y="7"/>
                    <a:pt x="147" y="6"/>
                    <a:pt x="149" y="4"/>
                  </a:cubicBezTo>
                  <a:cubicBezTo>
                    <a:pt x="151" y="3"/>
                    <a:pt x="153" y="2"/>
                    <a:pt x="154" y="1"/>
                  </a:cubicBezTo>
                  <a:cubicBezTo>
                    <a:pt x="156" y="1"/>
                    <a:pt x="157" y="0"/>
                    <a:pt x="158" y="1"/>
                  </a:cubicBezTo>
                  <a:cubicBezTo>
                    <a:pt x="159" y="1"/>
                    <a:pt x="161" y="2"/>
                    <a:pt x="162" y="3"/>
                  </a:cubicBezTo>
                  <a:lnTo>
                    <a:pt x="321" y="162"/>
                  </a:lnTo>
                  <a:cubicBezTo>
                    <a:pt x="322" y="163"/>
                    <a:pt x="322" y="164"/>
                    <a:pt x="322" y="165"/>
                  </a:cubicBezTo>
                  <a:cubicBezTo>
                    <a:pt x="323" y="166"/>
                    <a:pt x="323" y="168"/>
                    <a:pt x="322" y="169"/>
                  </a:cubicBezTo>
                  <a:cubicBezTo>
                    <a:pt x="322" y="171"/>
                    <a:pt x="321" y="173"/>
                    <a:pt x="319" y="175"/>
                  </a:cubicBezTo>
                  <a:cubicBezTo>
                    <a:pt x="318" y="176"/>
                    <a:pt x="316" y="179"/>
                    <a:pt x="314" y="181"/>
                  </a:cubicBezTo>
                  <a:close/>
                  <a:moveTo>
                    <a:pt x="378" y="371"/>
                  </a:moveTo>
                  <a:cubicBezTo>
                    <a:pt x="376" y="373"/>
                    <a:pt x="373" y="375"/>
                    <a:pt x="372" y="377"/>
                  </a:cubicBezTo>
                  <a:cubicBezTo>
                    <a:pt x="370" y="379"/>
                    <a:pt x="368" y="380"/>
                    <a:pt x="367" y="380"/>
                  </a:cubicBezTo>
                  <a:cubicBezTo>
                    <a:pt x="365" y="381"/>
                    <a:pt x="364" y="381"/>
                    <a:pt x="363" y="381"/>
                  </a:cubicBezTo>
                  <a:cubicBezTo>
                    <a:pt x="362" y="381"/>
                    <a:pt x="361" y="381"/>
                    <a:pt x="360" y="380"/>
                  </a:cubicBezTo>
                  <a:cubicBezTo>
                    <a:pt x="359" y="379"/>
                    <a:pt x="358" y="378"/>
                    <a:pt x="357" y="376"/>
                  </a:cubicBezTo>
                  <a:cubicBezTo>
                    <a:pt x="357" y="374"/>
                    <a:pt x="356" y="372"/>
                    <a:pt x="354" y="370"/>
                  </a:cubicBezTo>
                  <a:cubicBezTo>
                    <a:pt x="353" y="367"/>
                    <a:pt x="352" y="365"/>
                    <a:pt x="350" y="362"/>
                  </a:cubicBezTo>
                  <a:cubicBezTo>
                    <a:pt x="348" y="360"/>
                    <a:pt x="346" y="357"/>
                    <a:pt x="344" y="355"/>
                  </a:cubicBezTo>
                  <a:cubicBezTo>
                    <a:pt x="341" y="352"/>
                    <a:pt x="338" y="349"/>
                    <a:pt x="334" y="348"/>
                  </a:cubicBezTo>
                  <a:cubicBezTo>
                    <a:pt x="330" y="346"/>
                    <a:pt x="325" y="345"/>
                    <a:pt x="319" y="345"/>
                  </a:cubicBezTo>
                  <a:cubicBezTo>
                    <a:pt x="313" y="344"/>
                    <a:pt x="306" y="345"/>
                    <a:pt x="298" y="346"/>
                  </a:cubicBezTo>
                  <a:cubicBezTo>
                    <a:pt x="290" y="347"/>
                    <a:pt x="281" y="348"/>
                    <a:pt x="270" y="351"/>
                  </a:cubicBezTo>
                  <a:lnTo>
                    <a:pt x="166" y="455"/>
                  </a:lnTo>
                  <a:cubicBezTo>
                    <a:pt x="165" y="456"/>
                    <a:pt x="164" y="457"/>
                    <a:pt x="163" y="457"/>
                  </a:cubicBezTo>
                  <a:cubicBezTo>
                    <a:pt x="162" y="457"/>
                    <a:pt x="160" y="457"/>
                    <a:pt x="159" y="457"/>
                  </a:cubicBezTo>
                  <a:cubicBezTo>
                    <a:pt x="157" y="456"/>
                    <a:pt x="155" y="455"/>
                    <a:pt x="153" y="453"/>
                  </a:cubicBezTo>
                  <a:cubicBezTo>
                    <a:pt x="151" y="452"/>
                    <a:pt x="149" y="449"/>
                    <a:pt x="146" y="446"/>
                  </a:cubicBezTo>
                  <a:cubicBezTo>
                    <a:pt x="143" y="443"/>
                    <a:pt x="141" y="441"/>
                    <a:pt x="139" y="439"/>
                  </a:cubicBezTo>
                  <a:cubicBezTo>
                    <a:pt x="137" y="437"/>
                    <a:pt x="136" y="435"/>
                    <a:pt x="135" y="433"/>
                  </a:cubicBezTo>
                  <a:cubicBezTo>
                    <a:pt x="135" y="432"/>
                    <a:pt x="135" y="430"/>
                    <a:pt x="135" y="429"/>
                  </a:cubicBezTo>
                  <a:cubicBezTo>
                    <a:pt x="135" y="428"/>
                    <a:pt x="136" y="427"/>
                    <a:pt x="137" y="426"/>
                  </a:cubicBezTo>
                  <a:lnTo>
                    <a:pt x="296" y="267"/>
                  </a:lnTo>
                  <a:cubicBezTo>
                    <a:pt x="297" y="266"/>
                    <a:pt x="298" y="266"/>
                    <a:pt x="299" y="265"/>
                  </a:cubicBezTo>
                  <a:cubicBezTo>
                    <a:pt x="300" y="265"/>
                    <a:pt x="301" y="265"/>
                    <a:pt x="302" y="266"/>
                  </a:cubicBezTo>
                  <a:cubicBezTo>
                    <a:pt x="304" y="266"/>
                    <a:pt x="306" y="267"/>
                    <a:pt x="308" y="269"/>
                  </a:cubicBezTo>
                  <a:cubicBezTo>
                    <a:pt x="309" y="270"/>
                    <a:pt x="312" y="272"/>
                    <a:pt x="314" y="275"/>
                  </a:cubicBezTo>
                  <a:cubicBezTo>
                    <a:pt x="317" y="278"/>
                    <a:pt x="319" y="280"/>
                    <a:pt x="321" y="282"/>
                  </a:cubicBezTo>
                  <a:cubicBezTo>
                    <a:pt x="322" y="284"/>
                    <a:pt x="323" y="285"/>
                    <a:pt x="324" y="287"/>
                  </a:cubicBezTo>
                  <a:cubicBezTo>
                    <a:pt x="324" y="288"/>
                    <a:pt x="324" y="290"/>
                    <a:pt x="324" y="291"/>
                  </a:cubicBezTo>
                  <a:cubicBezTo>
                    <a:pt x="324" y="292"/>
                    <a:pt x="323" y="293"/>
                    <a:pt x="322" y="294"/>
                  </a:cubicBezTo>
                  <a:lnTo>
                    <a:pt x="299" y="317"/>
                  </a:lnTo>
                  <a:cubicBezTo>
                    <a:pt x="310" y="315"/>
                    <a:pt x="319" y="314"/>
                    <a:pt x="327" y="313"/>
                  </a:cubicBezTo>
                  <a:cubicBezTo>
                    <a:pt x="335" y="313"/>
                    <a:pt x="341" y="314"/>
                    <a:pt x="347" y="315"/>
                  </a:cubicBezTo>
                  <a:cubicBezTo>
                    <a:pt x="353" y="316"/>
                    <a:pt x="358" y="318"/>
                    <a:pt x="362" y="320"/>
                  </a:cubicBezTo>
                  <a:cubicBezTo>
                    <a:pt x="366" y="323"/>
                    <a:pt x="370" y="326"/>
                    <a:pt x="373" y="329"/>
                  </a:cubicBezTo>
                  <a:cubicBezTo>
                    <a:pt x="375" y="331"/>
                    <a:pt x="377" y="332"/>
                    <a:pt x="378" y="335"/>
                  </a:cubicBezTo>
                  <a:cubicBezTo>
                    <a:pt x="380" y="337"/>
                    <a:pt x="382" y="339"/>
                    <a:pt x="384" y="342"/>
                  </a:cubicBezTo>
                  <a:cubicBezTo>
                    <a:pt x="385" y="344"/>
                    <a:pt x="387" y="347"/>
                    <a:pt x="388" y="349"/>
                  </a:cubicBezTo>
                  <a:cubicBezTo>
                    <a:pt x="389" y="351"/>
                    <a:pt x="389" y="353"/>
                    <a:pt x="390" y="354"/>
                  </a:cubicBezTo>
                  <a:cubicBezTo>
                    <a:pt x="390" y="356"/>
                    <a:pt x="390" y="357"/>
                    <a:pt x="389" y="357"/>
                  </a:cubicBezTo>
                  <a:cubicBezTo>
                    <a:pt x="389" y="358"/>
                    <a:pt x="389" y="359"/>
                    <a:pt x="388" y="360"/>
                  </a:cubicBezTo>
                  <a:cubicBezTo>
                    <a:pt x="387" y="361"/>
                    <a:pt x="386" y="362"/>
                    <a:pt x="385" y="364"/>
                  </a:cubicBezTo>
                  <a:cubicBezTo>
                    <a:pt x="383" y="366"/>
                    <a:pt x="381" y="368"/>
                    <a:pt x="378" y="371"/>
                  </a:cubicBezTo>
                  <a:close/>
                  <a:moveTo>
                    <a:pt x="381" y="671"/>
                  </a:moveTo>
                  <a:cubicBezTo>
                    <a:pt x="379" y="672"/>
                    <a:pt x="378" y="673"/>
                    <a:pt x="376" y="673"/>
                  </a:cubicBezTo>
                  <a:cubicBezTo>
                    <a:pt x="374" y="672"/>
                    <a:pt x="373" y="672"/>
                    <a:pt x="371" y="670"/>
                  </a:cubicBezTo>
                  <a:cubicBezTo>
                    <a:pt x="369" y="669"/>
                    <a:pt x="366" y="667"/>
                    <a:pt x="363" y="664"/>
                  </a:cubicBezTo>
                  <a:cubicBezTo>
                    <a:pt x="360" y="661"/>
                    <a:pt x="358" y="658"/>
                    <a:pt x="356" y="656"/>
                  </a:cubicBezTo>
                  <a:cubicBezTo>
                    <a:pt x="355" y="654"/>
                    <a:pt x="354" y="652"/>
                    <a:pt x="354" y="650"/>
                  </a:cubicBezTo>
                  <a:cubicBezTo>
                    <a:pt x="354" y="649"/>
                    <a:pt x="354" y="647"/>
                    <a:pt x="356" y="646"/>
                  </a:cubicBezTo>
                  <a:lnTo>
                    <a:pt x="372" y="630"/>
                  </a:lnTo>
                  <a:cubicBezTo>
                    <a:pt x="357" y="630"/>
                    <a:pt x="344" y="628"/>
                    <a:pt x="331" y="624"/>
                  </a:cubicBezTo>
                  <a:cubicBezTo>
                    <a:pt x="318" y="619"/>
                    <a:pt x="307" y="612"/>
                    <a:pt x="298" y="603"/>
                  </a:cubicBezTo>
                  <a:cubicBezTo>
                    <a:pt x="289" y="595"/>
                    <a:pt x="283" y="586"/>
                    <a:pt x="278" y="577"/>
                  </a:cubicBezTo>
                  <a:cubicBezTo>
                    <a:pt x="274" y="568"/>
                    <a:pt x="271" y="559"/>
                    <a:pt x="270" y="550"/>
                  </a:cubicBezTo>
                  <a:cubicBezTo>
                    <a:pt x="270" y="541"/>
                    <a:pt x="271" y="532"/>
                    <a:pt x="274" y="524"/>
                  </a:cubicBezTo>
                  <a:cubicBezTo>
                    <a:pt x="278" y="515"/>
                    <a:pt x="283" y="507"/>
                    <a:pt x="291" y="499"/>
                  </a:cubicBezTo>
                  <a:cubicBezTo>
                    <a:pt x="300" y="490"/>
                    <a:pt x="309" y="484"/>
                    <a:pt x="320" y="481"/>
                  </a:cubicBezTo>
                  <a:cubicBezTo>
                    <a:pt x="330" y="479"/>
                    <a:pt x="341" y="478"/>
                    <a:pt x="352" y="481"/>
                  </a:cubicBezTo>
                  <a:cubicBezTo>
                    <a:pt x="363" y="483"/>
                    <a:pt x="375" y="488"/>
                    <a:pt x="387" y="496"/>
                  </a:cubicBezTo>
                  <a:cubicBezTo>
                    <a:pt x="399" y="504"/>
                    <a:pt x="411" y="514"/>
                    <a:pt x="423" y="526"/>
                  </a:cubicBezTo>
                  <a:lnTo>
                    <a:pt x="445" y="548"/>
                  </a:lnTo>
                  <a:lnTo>
                    <a:pt x="458" y="536"/>
                  </a:lnTo>
                  <a:cubicBezTo>
                    <a:pt x="464" y="530"/>
                    <a:pt x="469" y="524"/>
                    <a:pt x="472" y="518"/>
                  </a:cubicBezTo>
                  <a:cubicBezTo>
                    <a:pt x="476" y="512"/>
                    <a:pt x="477" y="506"/>
                    <a:pt x="478" y="500"/>
                  </a:cubicBezTo>
                  <a:cubicBezTo>
                    <a:pt x="478" y="494"/>
                    <a:pt x="476" y="487"/>
                    <a:pt x="473" y="481"/>
                  </a:cubicBezTo>
                  <a:cubicBezTo>
                    <a:pt x="470" y="475"/>
                    <a:pt x="466" y="469"/>
                    <a:pt x="459" y="462"/>
                  </a:cubicBezTo>
                  <a:cubicBezTo>
                    <a:pt x="452" y="455"/>
                    <a:pt x="444" y="449"/>
                    <a:pt x="437" y="445"/>
                  </a:cubicBezTo>
                  <a:cubicBezTo>
                    <a:pt x="430" y="441"/>
                    <a:pt x="423" y="438"/>
                    <a:pt x="416" y="436"/>
                  </a:cubicBezTo>
                  <a:cubicBezTo>
                    <a:pt x="410" y="433"/>
                    <a:pt x="404" y="432"/>
                    <a:pt x="400" y="431"/>
                  </a:cubicBezTo>
                  <a:cubicBezTo>
                    <a:pt x="395" y="429"/>
                    <a:pt x="392" y="428"/>
                    <a:pt x="391" y="427"/>
                  </a:cubicBezTo>
                  <a:cubicBezTo>
                    <a:pt x="390" y="426"/>
                    <a:pt x="389" y="425"/>
                    <a:pt x="389" y="424"/>
                  </a:cubicBezTo>
                  <a:cubicBezTo>
                    <a:pt x="389" y="422"/>
                    <a:pt x="389" y="421"/>
                    <a:pt x="389" y="420"/>
                  </a:cubicBezTo>
                  <a:cubicBezTo>
                    <a:pt x="390" y="418"/>
                    <a:pt x="391" y="416"/>
                    <a:pt x="392" y="415"/>
                  </a:cubicBezTo>
                  <a:cubicBezTo>
                    <a:pt x="393" y="413"/>
                    <a:pt x="394" y="411"/>
                    <a:pt x="396" y="410"/>
                  </a:cubicBezTo>
                  <a:cubicBezTo>
                    <a:pt x="399" y="407"/>
                    <a:pt x="402" y="404"/>
                    <a:pt x="404" y="403"/>
                  </a:cubicBezTo>
                  <a:cubicBezTo>
                    <a:pt x="406" y="402"/>
                    <a:pt x="409" y="401"/>
                    <a:pt x="412" y="401"/>
                  </a:cubicBezTo>
                  <a:cubicBezTo>
                    <a:pt x="415" y="401"/>
                    <a:pt x="419" y="402"/>
                    <a:pt x="425" y="404"/>
                  </a:cubicBezTo>
                  <a:cubicBezTo>
                    <a:pt x="431" y="406"/>
                    <a:pt x="438" y="409"/>
                    <a:pt x="444" y="412"/>
                  </a:cubicBezTo>
                  <a:cubicBezTo>
                    <a:pt x="451" y="415"/>
                    <a:pt x="458" y="419"/>
                    <a:pt x="465" y="424"/>
                  </a:cubicBezTo>
                  <a:cubicBezTo>
                    <a:pt x="472" y="429"/>
                    <a:pt x="479" y="435"/>
                    <a:pt x="485" y="441"/>
                  </a:cubicBezTo>
                  <a:cubicBezTo>
                    <a:pt x="497" y="452"/>
                    <a:pt x="505" y="463"/>
                    <a:pt x="510" y="474"/>
                  </a:cubicBezTo>
                  <a:cubicBezTo>
                    <a:pt x="516" y="484"/>
                    <a:pt x="519" y="495"/>
                    <a:pt x="519" y="505"/>
                  </a:cubicBezTo>
                  <a:cubicBezTo>
                    <a:pt x="518" y="515"/>
                    <a:pt x="516" y="525"/>
                    <a:pt x="511" y="534"/>
                  </a:cubicBezTo>
                  <a:cubicBezTo>
                    <a:pt x="505" y="544"/>
                    <a:pt x="498" y="554"/>
                    <a:pt x="488" y="564"/>
                  </a:cubicBezTo>
                  <a:lnTo>
                    <a:pt x="381" y="671"/>
                  </a:lnTo>
                  <a:close/>
                  <a:moveTo>
                    <a:pt x="424" y="569"/>
                  </a:moveTo>
                  <a:lnTo>
                    <a:pt x="399" y="544"/>
                  </a:lnTo>
                  <a:cubicBezTo>
                    <a:pt x="391" y="536"/>
                    <a:pt x="384" y="530"/>
                    <a:pt x="377" y="525"/>
                  </a:cubicBezTo>
                  <a:cubicBezTo>
                    <a:pt x="369" y="521"/>
                    <a:pt x="362" y="518"/>
                    <a:pt x="356" y="517"/>
                  </a:cubicBezTo>
                  <a:cubicBezTo>
                    <a:pt x="349" y="516"/>
                    <a:pt x="343" y="516"/>
                    <a:pt x="338" y="518"/>
                  </a:cubicBezTo>
                  <a:cubicBezTo>
                    <a:pt x="332" y="520"/>
                    <a:pt x="327" y="523"/>
                    <a:pt x="322" y="528"/>
                  </a:cubicBezTo>
                  <a:cubicBezTo>
                    <a:pt x="314" y="536"/>
                    <a:pt x="310" y="545"/>
                    <a:pt x="310" y="555"/>
                  </a:cubicBezTo>
                  <a:cubicBezTo>
                    <a:pt x="311" y="566"/>
                    <a:pt x="316" y="575"/>
                    <a:pt x="325" y="585"/>
                  </a:cubicBezTo>
                  <a:cubicBezTo>
                    <a:pt x="333" y="592"/>
                    <a:pt x="342" y="598"/>
                    <a:pt x="352" y="600"/>
                  </a:cubicBezTo>
                  <a:cubicBezTo>
                    <a:pt x="363" y="603"/>
                    <a:pt x="375" y="604"/>
                    <a:pt x="391" y="603"/>
                  </a:cubicBezTo>
                  <a:lnTo>
                    <a:pt x="424" y="569"/>
                  </a:lnTo>
                  <a:close/>
                  <a:moveTo>
                    <a:pt x="562" y="851"/>
                  </a:moveTo>
                  <a:cubicBezTo>
                    <a:pt x="561" y="852"/>
                    <a:pt x="560" y="852"/>
                    <a:pt x="558" y="853"/>
                  </a:cubicBezTo>
                  <a:cubicBezTo>
                    <a:pt x="557" y="853"/>
                    <a:pt x="556" y="853"/>
                    <a:pt x="554" y="852"/>
                  </a:cubicBezTo>
                  <a:cubicBezTo>
                    <a:pt x="553" y="851"/>
                    <a:pt x="551" y="850"/>
                    <a:pt x="548" y="848"/>
                  </a:cubicBezTo>
                  <a:cubicBezTo>
                    <a:pt x="546" y="847"/>
                    <a:pt x="544" y="844"/>
                    <a:pt x="541" y="841"/>
                  </a:cubicBezTo>
                  <a:cubicBezTo>
                    <a:pt x="537" y="838"/>
                    <a:pt x="535" y="835"/>
                    <a:pt x="533" y="833"/>
                  </a:cubicBezTo>
                  <a:cubicBezTo>
                    <a:pt x="531" y="831"/>
                    <a:pt x="530" y="829"/>
                    <a:pt x="529" y="827"/>
                  </a:cubicBezTo>
                  <a:cubicBezTo>
                    <a:pt x="528" y="825"/>
                    <a:pt x="527" y="823"/>
                    <a:pt x="527" y="822"/>
                  </a:cubicBezTo>
                  <a:cubicBezTo>
                    <a:pt x="527" y="820"/>
                    <a:pt x="527" y="818"/>
                    <a:pt x="527" y="817"/>
                  </a:cubicBezTo>
                  <a:lnTo>
                    <a:pt x="548" y="661"/>
                  </a:lnTo>
                  <a:lnTo>
                    <a:pt x="460" y="750"/>
                  </a:lnTo>
                  <a:cubicBezTo>
                    <a:pt x="459" y="751"/>
                    <a:pt x="458" y="751"/>
                    <a:pt x="457" y="751"/>
                  </a:cubicBezTo>
                  <a:cubicBezTo>
                    <a:pt x="456" y="752"/>
                    <a:pt x="454" y="751"/>
                    <a:pt x="453" y="751"/>
                  </a:cubicBezTo>
                  <a:cubicBezTo>
                    <a:pt x="451" y="750"/>
                    <a:pt x="449" y="749"/>
                    <a:pt x="447" y="747"/>
                  </a:cubicBezTo>
                  <a:cubicBezTo>
                    <a:pt x="445" y="746"/>
                    <a:pt x="443" y="743"/>
                    <a:pt x="440" y="740"/>
                  </a:cubicBezTo>
                  <a:cubicBezTo>
                    <a:pt x="437" y="738"/>
                    <a:pt x="435" y="735"/>
                    <a:pt x="433" y="733"/>
                  </a:cubicBezTo>
                  <a:cubicBezTo>
                    <a:pt x="431" y="731"/>
                    <a:pt x="430" y="729"/>
                    <a:pt x="430" y="727"/>
                  </a:cubicBezTo>
                  <a:cubicBezTo>
                    <a:pt x="429" y="726"/>
                    <a:pt x="429" y="725"/>
                    <a:pt x="429" y="723"/>
                  </a:cubicBezTo>
                  <a:cubicBezTo>
                    <a:pt x="429" y="722"/>
                    <a:pt x="430" y="721"/>
                    <a:pt x="431" y="720"/>
                  </a:cubicBezTo>
                  <a:lnTo>
                    <a:pt x="667" y="484"/>
                  </a:lnTo>
                  <a:cubicBezTo>
                    <a:pt x="668" y="483"/>
                    <a:pt x="669" y="483"/>
                    <a:pt x="670" y="482"/>
                  </a:cubicBezTo>
                  <a:cubicBezTo>
                    <a:pt x="671" y="482"/>
                    <a:pt x="672" y="482"/>
                    <a:pt x="674" y="483"/>
                  </a:cubicBezTo>
                  <a:cubicBezTo>
                    <a:pt x="676" y="484"/>
                    <a:pt x="678" y="485"/>
                    <a:pt x="680" y="486"/>
                  </a:cubicBezTo>
                  <a:cubicBezTo>
                    <a:pt x="682" y="488"/>
                    <a:pt x="684" y="490"/>
                    <a:pt x="687" y="493"/>
                  </a:cubicBezTo>
                  <a:cubicBezTo>
                    <a:pt x="690" y="496"/>
                    <a:pt x="692" y="499"/>
                    <a:pt x="694" y="501"/>
                  </a:cubicBezTo>
                  <a:cubicBezTo>
                    <a:pt x="696" y="503"/>
                    <a:pt x="697" y="505"/>
                    <a:pt x="697" y="506"/>
                  </a:cubicBezTo>
                  <a:cubicBezTo>
                    <a:pt x="698" y="508"/>
                    <a:pt x="698" y="509"/>
                    <a:pt x="698" y="510"/>
                  </a:cubicBezTo>
                  <a:cubicBezTo>
                    <a:pt x="698" y="511"/>
                    <a:pt x="697" y="513"/>
                    <a:pt x="696" y="513"/>
                  </a:cubicBezTo>
                  <a:lnTo>
                    <a:pt x="552" y="657"/>
                  </a:lnTo>
                  <a:lnTo>
                    <a:pt x="678" y="651"/>
                  </a:lnTo>
                  <a:cubicBezTo>
                    <a:pt x="681" y="651"/>
                    <a:pt x="682" y="651"/>
                    <a:pt x="684" y="651"/>
                  </a:cubicBezTo>
                  <a:cubicBezTo>
                    <a:pt x="686" y="652"/>
                    <a:pt x="688" y="652"/>
                    <a:pt x="690" y="653"/>
                  </a:cubicBezTo>
                  <a:cubicBezTo>
                    <a:pt x="692" y="654"/>
                    <a:pt x="694" y="656"/>
                    <a:pt x="696" y="657"/>
                  </a:cubicBezTo>
                  <a:cubicBezTo>
                    <a:pt x="699" y="659"/>
                    <a:pt x="701" y="662"/>
                    <a:pt x="704" y="664"/>
                  </a:cubicBezTo>
                  <a:cubicBezTo>
                    <a:pt x="707" y="667"/>
                    <a:pt x="709" y="670"/>
                    <a:pt x="711" y="672"/>
                  </a:cubicBezTo>
                  <a:cubicBezTo>
                    <a:pt x="713" y="674"/>
                    <a:pt x="714" y="676"/>
                    <a:pt x="715" y="678"/>
                  </a:cubicBezTo>
                  <a:cubicBezTo>
                    <a:pt x="716" y="680"/>
                    <a:pt x="716" y="681"/>
                    <a:pt x="716" y="682"/>
                  </a:cubicBezTo>
                  <a:cubicBezTo>
                    <a:pt x="716" y="683"/>
                    <a:pt x="715" y="684"/>
                    <a:pt x="714" y="685"/>
                  </a:cubicBezTo>
                  <a:cubicBezTo>
                    <a:pt x="713" y="687"/>
                    <a:pt x="711" y="688"/>
                    <a:pt x="709" y="689"/>
                  </a:cubicBezTo>
                  <a:cubicBezTo>
                    <a:pt x="707" y="689"/>
                    <a:pt x="704" y="690"/>
                    <a:pt x="700" y="690"/>
                  </a:cubicBezTo>
                  <a:lnTo>
                    <a:pt x="585" y="690"/>
                  </a:lnTo>
                  <a:lnTo>
                    <a:pt x="566" y="838"/>
                  </a:lnTo>
                  <a:cubicBezTo>
                    <a:pt x="565" y="842"/>
                    <a:pt x="565" y="845"/>
                    <a:pt x="564" y="847"/>
                  </a:cubicBezTo>
                  <a:cubicBezTo>
                    <a:pt x="563" y="848"/>
                    <a:pt x="563" y="850"/>
                    <a:pt x="562" y="851"/>
                  </a:cubicBezTo>
                  <a:close/>
                  <a:moveTo>
                    <a:pt x="630" y="919"/>
                  </a:moveTo>
                  <a:cubicBezTo>
                    <a:pt x="629" y="920"/>
                    <a:pt x="628" y="921"/>
                    <a:pt x="627" y="921"/>
                  </a:cubicBezTo>
                  <a:cubicBezTo>
                    <a:pt x="625" y="921"/>
                    <a:pt x="624" y="921"/>
                    <a:pt x="623" y="920"/>
                  </a:cubicBezTo>
                  <a:cubicBezTo>
                    <a:pt x="621" y="920"/>
                    <a:pt x="619" y="919"/>
                    <a:pt x="617" y="917"/>
                  </a:cubicBezTo>
                  <a:cubicBezTo>
                    <a:pt x="615" y="915"/>
                    <a:pt x="612" y="913"/>
                    <a:pt x="609" y="910"/>
                  </a:cubicBezTo>
                  <a:cubicBezTo>
                    <a:pt x="607" y="907"/>
                    <a:pt x="604" y="905"/>
                    <a:pt x="603" y="903"/>
                  </a:cubicBezTo>
                  <a:cubicBezTo>
                    <a:pt x="601" y="901"/>
                    <a:pt x="600" y="899"/>
                    <a:pt x="599" y="897"/>
                  </a:cubicBezTo>
                  <a:cubicBezTo>
                    <a:pt x="599" y="896"/>
                    <a:pt x="598" y="894"/>
                    <a:pt x="599" y="893"/>
                  </a:cubicBezTo>
                  <a:cubicBezTo>
                    <a:pt x="599" y="892"/>
                    <a:pt x="600" y="891"/>
                    <a:pt x="600" y="890"/>
                  </a:cubicBezTo>
                  <a:lnTo>
                    <a:pt x="760" y="731"/>
                  </a:lnTo>
                  <a:cubicBezTo>
                    <a:pt x="760" y="730"/>
                    <a:pt x="761" y="730"/>
                    <a:pt x="762" y="729"/>
                  </a:cubicBezTo>
                  <a:cubicBezTo>
                    <a:pt x="764" y="729"/>
                    <a:pt x="765" y="729"/>
                    <a:pt x="767" y="730"/>
                  </a:cubicBezTo>
                  <a:cubicBezTo>
                    <a:pt x="768" y="731"/>
                    <a:pt x="770" y="732"/>
                    <a:pt x="772" y="733"/>
                  </a:cubicBezTo>
                  <a:cubicBezTo>
                    <a:pt x="774" y="735"/>
                    <a:pt x="777" y="737"/>
                    <a:pt x="780" y="740"/>
                  </a:cubicBezTo>
                  <a:cubicBezTo>
                    <a:pt x="782" y="743"/>
                    <a:pt x="785" y="746"/>
                    <a:pt x="786" y="748"/>
                  </a:cubicBezTo>
                  <a:cubicBezTo>
                    <a:pt x="788" y="750"/>
                    <a:pt x="789" y="752"/>
                    <a:pt x="790" y="753"/>
                  </a:cubicBezTo>
                  <a:cubicBezTo>
                    <a:pt x="790" y="755"/>
                    <a:pt x="791" y="756"/>
                    <a:pt x="790" y="757"/>
                  </a:cubicBezTo>
                  <a:cubicBezTo>
                    <a:pt x="790" y="758"/>
                    <a:pt x="790" y="759"/>
                    <a:pt x="789" y="760"/>
                  </a:cubicBezTo>
                  <a:lnTo>
                    <a:pt x="630" y="919"/>
                  </a:lnTo>
                  <a:close/>
                  <a:moveTo>
                    <a:pt x="846" y="710"/>
                  </a:moveTo>
                  <a:cubicBezTo>
                    <a:pt x="839" y="717"/>
                    <a:pt x="833" y="720"/>
                    <a:pt x="828" y="720"/>
                  </a:cubicBezTo>
                  <a:cubicBezTo>
                    <a:pt x="823" y="720"/>
                    <a:pt x="817" y="716"/>
                    <a:pt x="810" y="709"/>
                  </a:cubicBezTo>
                  <a:cubicBezTo>
                    <a:pt x="803" y="703"/>
                    <a:pt x="800" y="697"/>
                    <a:pt x="799" y="692"/>
                  </a:cubicBezTo>
                  <a:cubicBezTo>
                    <a:pt x="799" y="687"/>
                    <a:pt x="803" y="681"/>
                    <a:pt x="809" y="674"/>
                  </a:cubicBezTo>
                  <a:cubicBezTo>
                    <a:pt x="816" y="667"/>
                    <a:pt x="822" y="664"/>
                    <a:pt x="827" y="664"/>
                  </a:cubicBezTo>
                  <a:cubicBezTo>
                    <a:pt x="832" y="664"/>
                    <a:pt x="838" y="668"/>
                    <a:pt x="845" y="675"/>
                  </a:cubicBezTo>
                  <a:cubicBezTo>
                    <a:pt x="852" y="682"/>
                    <a:pt x="856" y="687"/>
                    <a:pt x="856" y="692"/>
                  </a:cubicBezTo>
                  <a:cubicBezTo>
                    <a:pt x="856" y="697"/>
                    <a:pt x="853" y="703"/>
                    <a:pt x="846" y="710"/>
                  </a:cubicBezTo>
                  <a:close/>
                  <a:moveTo>
                    <a:pt x="823" y="1026"/>
                  </a:moveTo>
                  <a:cubicBezTo>
                    <a:pt x="815" y="1034"/>
                    <a:pt x="806" y="1040"/>
                    <a:pt x="797" y="1043"/>
                  </a:cubicBezTo>
                  <a:cubicBezTo>
                    <a:pt x="787" y="1047"/>
                    <a:pt x="778" y="1048"/>
                    <a:pt x="768" y="1046"/>
                  </a:cubicBezTo>
                  <a:cubicBezTo>
                    <a:pt x="758" y="1045"/>
                    <a:pt x="748" y="1042"/>
                    <a:pt x="738" y="1037"/>
                  </a:cubicBezTo>
                  <a:cubicBezTo>
                    <a:pt x="728" y="1031"/>
                    <a:pt x="719" y="1024"/>
                    <a:pt x="709" y="1015"/>
                  </a:cubicBezTo>
                  <a:cubicBezTo>
                    <a:pt x="704" y="1009"/>
                    <a:pt x="699" y="1003"/>
                    <a:pt x="694" y="997"/>
                  </a:cubicBezTo>
                  <a:cubicBezTo>
                    <a:pt x="690" y="991"/>
                    <a:pt x="687" y="985"/>
                    <a:pt x="684" y="980"/>
                  </a:cubicBezTo>
                  <a:cubicBezTo>
                    <a:pt x="681" y="975"/>
                    <a:pt x="679" y="970"/>
                    <a:pt x="678" y="965"/>
                  </a:cubicBezTo>
                  <a:cubicBezTo>
                    <a:pt x="677" y="961"/>
                    <a:pt x="676" y="958"/>
                    <a:pt x="676" y="955"/>
                  </a:cubicBezTo>
                  <a:cubicBezTo>
                    <a:pt x="676" y="953"/>
                    <a:pt x="676" y="950"/>
                    <a:pt x="678" y="947"/>
                  </a:cubicBezTo>
                  <a:cubicBezTo>
                    <a:pt x="679" y="945"/>
                    <a:pt x="682" y="942"/>
                    <a:pt x="686" y="938"/>
                  </a:cubicBezTo>
                  <a:cubicBezTo>
                    <a:pt x="688" y="936"/>
                    <a:pt x="690" y="934"/>
                    <a:pt x="692" y="933"/>
                  </a:cubicBezTo>
                  <a:cubicBezTo>
                    <a:pt x="693" y="931"/>
                    <a:pt x="695" y="930"/>
                    <a:pt x="696" y="930"/>
                  </a:cubicBezTo>
                  <a:cubicBezTo>
                    <a:pt x="698" y="929"/>
                    <a:pt x="699" y="929"/>
                    <a:pt x="700" y="929"/>
                  </a:cubicBezTo>
                  <a:cubicBezTo>
                    <a:pt x="701" y="929"/>
                    <a:pt x="702" y="930"/>
                    <a:pt x="703" y="931"/>
                  </a:cubicBezTo>
                  <a:cubicBezTo>
                    <a:pt x="704" y="932"/>
                    <a:pt x="705" y="935"/>
                    <a:pt x="706" y="939"/>
                  </a:cubicBezTo>
                  <a:cubicBezTo>
                    <a:pt x="707" y="943"/>
                    <a:pt x="708" y="948"/>
                    <a:pt x="710" y="954"/>
                  </a:cubicBezTo>
                  <a:cubicBezTo>
                    <a:pt x="712" y="959"/>
                    <a:pt x="715" y="965"/>
                    <a:pt x="718" y="972"/>
                  </a:cubicBezTo>
                  <a:cubicBezTo>
                    <a:pt x="722" y="979"/>
                    <a:pt x="727" y="985"/>
                    <a:pt x="733" y="992"/>
                  </a:cubicBezTo>
                  <a:cubicBezTo>
                    <a:pt x="738" y="997"/>
                    <a:pt x="743" y="1001"/>
                    <a:pt x="748" y="1004"/>
                  </a:cubicBezTo>
                  <a:cubicBezTo>
                    <a:pt x="753" y="1007"/>
                    <a:pt x="758" y="1009"/>
                    <a:pt x="763" y="1009"/>
                  </a:cubicBezTo>
                  <a:cubicBezTo>
                    <a:pt x="768" y="1010"/>
                    <a:pt x="773" y="1010"/>
                    <a:pt x="778" y="1008"/>
                  </a:cubicBezTo>
                  <a:cubicBezTo>
                    <a:pt x="783" y="1007"/>
                    <a:pt x="787" y="1004"/>
                    <a:pt x="792" y="999"/>
                  </a:cubicBezTo>
                  <a:cubicBezTo>
                    <a:pt x="796" y="995"/>
                    <a:pt x="799" y="990"/>
                    <a:pt x="800" y="985"/>
                  </a:cubicBezTo>
                  <a:cubicBezTo>
                    <a:pt x="800" y="979"/>
                    <a:pt x="800" y="974"/>
                    <a:pt x="799" y="967"/>
                  </a:cubicBezTo>
                  <a:cubicBezTo>
                    <a:pt x="797" y="961"/>
                    <a:pt x="795" y="955"/>
                    <a:pt x="792" y="948"/>
                  </a:cubicBezTo>
                  <a:cubicBezTo>
                    <a:pt x="789" y="942"/>
                    <a:pt x="786" y="935"/>
                    <a:pt x="783" y="928"/>
                  </a:cubicBezTo>
                  <a:cubicBezTo>
                    <a:pt x="780" y="921"/>
                    <a:pt x="778" y="914"/>
                    <a:pt x="775" y="907"/>
                  </a:cubicBezTo>
                  <a:cubicBezTo>
                    <a:pt x="773" y="899"/>
                    <a:pt x="772" y="892"/>
                    <a:pt x="772" y="885"/>
                  </a:cubicBezTo>
                  <a:cubicBezTo>
                    <a:pt x="772" y="877"/>
                    <a:pt x="773" y="870"/>
                    <a:pt x="776" y="862"/>
                  </a:cubicBezTo>
                  <a:cubicBezTo>
                    <a:pt x="779" y="855"/>
                    <a:pt x="784" y="848"/>
                    <a:pt x="791" y="841"/>
                  </a:cubicBezTo>
                  <a:cubicBezTo>
                    <a:pt x="797" y="834"/>
                    <a:pt x="804" y="830"/>
                    <a:pt x="812" y="826"/>
                  </a:cubicBezTo>
                  <a:cubicBezTo>
                    <a:pt x="820" y="823"/>
                    <a:pt x="829" y="822"/>
                    <a:pt x="838" y="822"/>
                  </a:cubicBezTo>
                  <a:cubicBezTo>
                    <a:pt x="847" y="823"/>
                    <a:pt x="857" y="825"/>
                    <a:pt x="867" y="830"/>
                  </a:cubicBezTo>
                  <a:cubicBezTo>
                    <a:pt x="876" y="835"/>
                    <a:pt x="886" y="842"/>
                    <a:pt x="896" y="851"/>
                  </a:cubicBezTo>
                  <a:cubicBezTo>
                    <a:pt x="900" y="856"/>
                    <a:pt x="904" y="860"/>
                    <a:pt x="908" y="865"/>
                  </a:cubicBezTo>
                  <a:cubicBezTo>
                    <a:pt x="911" y="870"/>
                    <a:pt x="914" y="875"/>
                    <a:pt x="916" y="879"/>
                  </a:cubicBezTo>
                  <a:cubicBezTo>
                    <a:pt x="919" y="884"/>
                    <a:pt x="920" y="888"/>
                    <a:pt x="922" y="892"/>
                  </a:cubicBezTo>
                  <a:cubicBezTo>
                    <a:pt x="923" y="895"/>
                    <a:pt x="924" y="898"/>
                    <a:pt x="924" y="900"/>
                  </a:cubicBezTo>
                  <a:cubicBezTo>
                    <a:pt x="924" y="903"/>
                    <a:pt x="924" y="904"/>
                    <a:pt x="924" y="905"/>
                  </a:cubicBezTo>
                  <a:cubicBezTo>
                    <a:pt x="924" y="906"/>
                    <a:pt x="923" y="908"/>
                    <a:pt x="922" y="909"/>
                  </a:cubicBezTo>
                  <a:cubicBezTo>
                    <a:pt x="922" y="910"/>
                    <a:pt x="921" y="911"/>
                    <a:pt x="920" y="912"/>
                  </a:cubicBezTo>
                  <a:cubicBezTo>
                    <a:pt x="918" y="914"/>
                    <a:pt x="917" y="916"/>
                    <a:pt x="915" y="917"/>
                  </a:cubicBezTo>
                  <a:cubicBezTo>
                    <a:pt x="913" y="919"/>
                    <a:pt x="911" y="921"/>
                    <a:pt x="910" y="922"/>
                  </a:cubicBezTo>
                  <a:cubicBezTo>
                    <a:pt x="908" y="924"/>
                    <a:pt x="906" y="925"/>
                    <a:pt x="905" y="925"/>
                  </a:cubicBezTo>
                  <a:cubicBezTo>
                    <a:pt x="904" y="926"/>
                    <a:pt x="903" y="926"/>
                    <a:pt x="902" y="926"/>
                  </a:cubicBezTo>
                  <a:cubicBezTo>
                    <a:pt x="901" y="925"/>
                    <a:pt x="900" y="925"/>
                    <a:pt x="899" y="924"/>
                  </a:cubicBezTo>
                  <a:cubicBezTo>
                    <a:pt x="898" y="923"/>
                    <a:pt x="897" y="921"/>
                    <a:pt x="896" y="918"/>
                  </a:cubicBezTo>
                  <a:cubicBezTo>
                    <a:pt x="896" y="914"/>
                    <a:pt x="894" y="910"/>
                    <a:pt x="893" y="906"/>
                  </a:cubicBezTo>
                  <a:cubicBezTo>
                    <a:pt x="891" y="901"/>
                    <a:pt x="889" y="896"/>
                    <a:pt x="886" y="890"/>
                  </a:cubicBezTo>
                  <a:cubicBezTo>
                    <a:pt x="883" y="885"/>
                    <a:pt x="878" y="879"/>
                    <a:pt x="873" y="874"/>
                  </a:cubicBezTo>
                  <a:cubicBezTo>
                    <a:pt x="868" y="869"/>
                    <a:pt x="863" y="865"/>
                    <a:pt x="858" y="862"/>
                  </a:cubicBezTo>
                  <a:cubicBezTo>
                    <a:pt x="853" y="860"/>
                    <a:pt x="849" y="858"/>
                    <a:pt x="844" y="858"/>
                  </a:cubicBezTo>
                  <a:cubicBezTo>
                    <a:pt x="840" y="857"/>
                    <a:pt x="835" y="858"/>
                    <a:pt x="831" y="860"/>
                  </a:cubicBezTo>
                  <a:cubicBezTo>
                    <a:pt x="827" y="861"/>
                    <a:pt x="823" y="864"/>
                    <a:pt x="820" y="867"/>
                  </a:cubicBezTo>
                  <a:cubicBezTo>
                    <a:pt x="816" y="872"/>
                    <a:pt x="813" y="877"/>
                    <a:pt x="812" y="882"/>
                  </a:cubicBezTo>
                  <a:cubicBezTo>
                    <a:pt x="811" y="888"/>
                    <a:pt x="812" y="893"/>
                    <a:pt x="813" y="900"/>
                  </a:cubicBezTo>
                  <a:cubicBezTo>
                    <a:pt x="815" y="906"/>
                    <a:pt x="817" y="912"/>
                    <a:pt x="820" y="919"/>
                  </a:cubicBezTo>
                  <a:cubicBezTo>
                    <a:pt x="823" y="926"/>
                    <a:pt x="826" y="932"/>
                    <a:pt x="829" y="939"/>
                  </a:cubicBezTo>
                  <a:cubicBezTo>
                    <a:pt x="832" y="946"/>
                    <a:pt x="834" y="954"/>
                    <a:pt x="837" y="961"/>
                  </a:cubicBezTo>
                  <a:cubicBezTo>
                    <a:pt x="839" y="968"/>
                    <a:pt x="840" y="976"/>
                    <a:pt x="841" y="983"/>
                  </a:cubicBezTo>
                  <a:cubicBezTo>
                    <a:pt x="841" y="990"/>
                    <a:pt x="840" y="998"/>
                    <a:pt x="837" y="1005"/>
                  </a:cubicBezTo>
                  <a:cubicBezTo>
                    <a:pt x="834" y="1012"/>
                    <a:pt x="830" y="1019"/>
                    <a:pt x="823" y="1026"/>
                  </a:cubicBezTo>
                  <a:close/>
                  <a:moveTo>
                    <a:pt x="925" y="1199"/>
                  </a:moveTo>
                  <a:cubicBezTo>
                    <a:pt x="923" y="1201"/>
                    <a:pt x="920" y="1203"/>
                    <a:pt x="919" y="1204"/>
                  </a:cubicBezTo>
                  <a:cubicBezTo>
                    <a:pt x="917" y="1205"/>
                    <a:pt x="915" y="1206"/>
                    <a:pt x="913" y="1207"/>
                  </a:cubicBezTo>
                  <a:cubicBezTo>
                    <a:pt x="912" y="1207"/>
                    <a:pt x="911" y="1207"/>
                    <a:pt x="909" y="1207"/>
                  </a:cubicBezTo>
                  <a:cubicBezTo>
                    <a:pt x="908" y="1206"/>
                    <a:pt x="907" y="1206"/>
                    <a:pt x="906" y="1205"/>
                  </a:cubicBezTo>
                  <a:lnTo>
                    <a:pt x="808" y="1107"/>
                  </a:lnTo>
                  <a:cubicBezTo>
                    <a:pt x="806" y="1104"/>
                    <a:pt x="804" y="1101"/>
                    <a:pt x="805" y="1098"/>
                  </a:cubicBezTo>
                  <a:cubicBezTo>
                    <a:pt x="805" y="1095"/>
                    <a:pt x="807" y="1091"/>
                    <a:pt x="810" y="1087"/>
                  </a:cubicBezTo>
                  <a:lnTo>
                    <a:pt x="816" y="1081"/>
                  </a:lnTo>
                  <a:cubicBezTo>
                    <a:pt x="818" y="1080"/>
                    <a:pt x="820" y="1078"/>
                    <a:pt x="821" y="1077"/>
                  </a:cubicBezTo>
                  <a:cubicBezTo>
                    <a:pt x="823" y="1076"/>
                    <a:pt x="824" y="1075"/>
                    <a:pt x="826" y="1075"/>
                  </a:cubicBezTo>
                  <a:cubicBezTo>
                    <a:pt x="828" y="1074"/>
                    <a:pt x="830" y="1073"/>
                    <a:pt x="832" y="1072"/>
                  </a:cubicBezTo>
                  <a:cubicBezTo>
                    <a:pt x="835" y="1072"/>
                    <a:pt x="837" y="1071"/>
                    <a:pt x="840" y="1070"/>
                  </a:cubicBezTo>
                  <a:lnTo>
                    <a:pt x="1020" y="1031"/>
                  </a:lnTo>
                  <a:lnTo>
                    <a:pt x="952" y="963"/>
                  </a:lnTo>
                  <a:cubicBezTo>
                    <a:pt x="950" y="961"/>
                    <a:pt x="949" y="959"/>
                    <a:pt x="950" y="956"/>
                  </a:cubicBezTo>
                  <a:cubicBezTo>
                    <a:pt x="951" y="953"/>
                    <a:pt x="954" y="949"/>
                    <a:pt x="958" y="945"/>
                  </a:cubicBezTo>
                  <a:cubicBezTo>
                    <a:pt x="960" y="943"/>
                    <a:pt x="962" y="941"/>
                    <a:pt x="964" y="939"/>
                  </a:cubicBezTo>
                  <a:cubicBezTo>
                    <a:pt x="966" y="938"/>
                    <a:pt x="967" y="937"/>
                    <a:pt x="969" y="937"/>
                  </a:cubicBezTo>
                  <a:cubicBezTo>
                    <a:pt x="970" y="936"/>
                    <a:pt x="972" y="936"/>
                    <a:pt x="973" y="937"/>
                  </a:cubicBezTo>
                  <a:cubicBezTo>
                    <a:pt x="974" y="937"/>
                    <a:pt x="975" y="938"/>
                    <a:pt x="976" y="939"/>
                  </a:cubicBezTo>
                  <a:lnTo>
                    <a:pt x="1067" y="1030"/>
                  </a:lnTo>
                  <a:cubicBezTo>
                    <a:pt x="1069" y="1031"/>
                    <a:pt x="1070" y="1032"/>
                    <a:pt x="1070" y="1034"/>
                  </a:cubicBezTo>
                  <a:cubicBezTo>
                    <a:pt x="1071" y="1035"/>
                    <a:pt x="1071" y="1037"/>
                    <a:pt x="1071" y="1038"/>
                  </a:cubicBezTo>
                  <a:cubicBezTo>
                    <a:pt x="1071" y="1040"/>
                    <a:pt x="1071" y="1041"/>
                    <a:pt x="1070" y="1043"/>
                  </a:cubicBezTo>
                  <a:cubicBezTo>
                    <a:pt x="1069" y="1045"/>
                    <a:pt x="1067" y="1047"/>
                    <a:pt x="1065" y="1049"/>
                  </a:cubicBezTo>
                  <a:lnTo>
                    <a:pt x="1060" y="1054"/>
                  </a:lnTo>
                  <a:cubicBezTo>
                    <a:pt x="1058" y="1056"/>
                    <a:pt x="1056" y="1057"/>
                    <a:pt x="1055" y="1058"/>
                  </a:cubicBezTo>
                  <a:cubicBezTo>
                    <a:pt x="1053" y="1060"/>
                    <a:pt x="1051" y="1061"/>
                    <a:pt x="1050" y="1062"/>
                  </a:cubicBezTo>
                  <a:cubicBezTo>
                    <a:pt x="1048" y="1062"/>
                    <a:pt x="1046" y="1063"/>
                    <a:pt x="1043" y="1064"/>
                  </a:cubicBezTo>
                  <a:cubicBezTo>
                    <a:pt x="1041" y="1065"/>
                    <a:pt x="1038" y="1065"/>
                    <a:pt x="1035" y="1066"/>
                  </a:cubicBezTo>
                  <a:lnTo>
                    <a:pt x="856" y="1106"/>
                  </a:lnTo>
                  <a:lnTo>
                    <a:pt x="931" y="1180"/>
                  </a:lnTo>
                  <a:cubicBezTo>
                    <a:pt x="932" y="1181"/>
                    <a:pt x="932" y="1182"/>
                    <a:pt x="933" y="1183"/>
                  </a:cubicBezTo>
                  <a:cubicBezTo>
                    <a:pt x="933" y="1184"/>
                    <a:pt x="933" y="1186"/>
                    <a:pt x="933" y="1187"/>
                  </a:cubicBezTo>
                  <a:cubicBezTo>
                    <a:pt x="932" y="1189"/>
                    <a:pt x="931" y="1190"/>
                    <a:pt x="930" y="1192"/>
                  </a:cubicBezTo>
                  <a:cubicBezTo>
                    <a:pt x="929" y="1194"/>
                    <a:pt x="927" y="1196"/>
                    <a:pt x="925" y="1199"/>
                  </a:cubicBezTo>
                  <a:close/>
                  <a:moveTo>
                    <a:pt x="1093" y="1383"/>
                  </a:moveTo>
                  <a:cubicBezTo>
                    <a:pt x="1092" y="1384"/>
                    <a:pt x="1091" y="1384"/>
                    <a:pt x="1090" y="1384"/>
                  </a:cubicBezTo>
                  <a:cubicBezTo>
                    <a:pt x="1089" y="1385"/>
                    <a:pt x="1088" y="1384"/>
                    <a:pt x="1086" y="1384"/>
                  </a:cubicBezTo>
                  <a:cubicBezTo>
                    <a:pt x="1084" y="1383"/>
                    <a:pt x="1082" y="1382"/>
                    <a:pt x="1080" y="1380"/>
                  </a:cubicBezTo>
                  <a:cubicBezTo>
                    <a:pt x="1078" y="1378"/>
                    <a:pt x="1075" y="1376"/>
                    <a:pt x="1072" y="1373"/>
                  </a:cubicBezTo>
                  <a:cubicBezTo>
                    <a:pt x="1069" y="1370"/>
                    <a:pt x="1067" y="1367"/>
                    <a:pt x="1065" y="1365"/>
                  </a:cubicBezTo>
                  <a:cubicBezTo>
                    <a:pt x="1063" y="1363"/>
                    <a:pt x="1061" y="1361"/>
                    <a:pt x="1060" y="1359"/>
                  </a:cubicBezTo>
                  <a:cubicBezTo>
                    <a:pt x="1059" y="1357"/>
                    <a:pt x="1059" y="1355"/>
                    <a:pt x="1059" y="1354"/>
                  </a:cubicBezTo>
                  <a:cubicBezTo>
                    <a:pt x="1059" y="1352"/>
                    <a:pt x="1059" y="1350"/>
                    <a:pt x="1059" y="1348"/>
                  </a:cubicBezTo>
                  <a:lnTo>
                    <a:pt x="1080" y="1193"/>
                  </a:lnTo>
                  <a:lnTo>
                    <a:pt x="992" y="1281"/>
                  </a:lnTo>
                  <a:cubicBezTo>
                    <a:pt x="991" y="1282"/>
                    <a:pt x="990" y="1283"/>
                    <a:pt x="989" y="1283"/>
                  </a:cubicBezTo>
                  <a:cubicBezTo>
                    <a:pt x="987" y="1283"/>
                    <a:pt x="986" y="1283"/>
                    <a:pt x="985" y="1282"/>
                  </a:cubicBezTo>
                  <a:cubicBezTo>
                    <a:pt x="983" y="1282"/>
                    <a:pt x="981" y="1281"/>
                    <a:pt x="979" y="1279"/>
                  </a:cubicBezTo>
                  <a:cubicBezTo>
                    <a:pt x="977" y="1277"/>
                    <a:pt x="974" y="1275"/>
                    <a:pt x="971" y="1272"/>
                  </a:cubicBezTo>
                  <a:cubicBezTo>
                    <a:pt x="969" y="1269"/>
                    <a:pt x="966" y="1267"/>
                    <a:pt x="965" y="1265"/>
                  </a:cubicBezTo>
                  <a:cubicBezTo>
                    <a:pt x="963" y="1263"/>
                    <a:pt x="962" y="1261"/>
                    <a:pt x="961" y="1259"/>
                  </a:cubicBezTo>
                  <a:cubicBezTo>
                    <a:pt x="961" y="1258"/>
                    <a:pt x="960" y="1256"/>
                    <a:pt x="961" y="1255"/>
                  </a:cubicBezTo>
                  <a:cubicBezTo>
                    <a:pt x="961" y="1254"/>
                    <a:pt x="962" y="1253"/>
                    <a:pt x="962" y="1252"/>
                  </a:cubicBezTo>
                  <a:lnTo>
                    <a:pt x="1199" y="1016"/>
                  </a:lnTo>
                  <a:cubicBezTo>
                    <a:pt x="1200" y="1015"/>
                    <a:pt x="1201" y="1014"/>
                    <a:pt x="1202" y="1014"/>
                  </a:cubicBezTo>
                  <a:cubicBezTo>
                    <a:pt x="1203" y="1014"/>
                    <a:pt x="1204" y="1014"/>
                    <a:pt x="1206" y="1015"/>
                  </a:cubicBezTo>
                  <a:cubicBezTo>
                    <a:pt x="1207" y="1015"/>
                    <a:pt x="1209" y="1017"/>
                    <a:pt x="1211" y="1018"/>
                  </a:cubicBezTo>
                  <a:cubicBezTo>
                    <a:pt x="1214" y="1020"/>
                    <a:pt x="1216" y="1022"/>
                    <a:pt x="1219" y="1025"/>
                  </a:cubicBezTo>
                  <a:cubicBezTo>
                    <a:pt x="1222" y="1028"/>
                    <a:pt x="1224" y="1030"/>
                    <a:pt x="1226" y="1032"/>
                  </a:cubicBezTo>
                  <a:cubicBezTo>
                    <a:pt x="1227" y="1035"/>
                    <a:pt x="1228" y="1036"/>
                    <a:pt x="1229" y="1038"/>
                  </a:cubicBezTo>
                  <a:cubicBezTo>
                    <a:pt x="1230" y="1040"/>
                    <a:pt x="1230" y="1041"/>
                    <a:pt x="1230" y="1042"/>
                  </a:cubicBezTo>
                  <a:cubicBezTo>
                    <a:pt x="1229" y="1043"/>
                    <a:pt x="1229" y="1044"/>
                    <a:pt x="1228" y="1045"/>
                  </a:cubicBezTo>
                  <a:lnTo>
                    <a:pt x="1084" y="1189"/>
                  </a:lnTo>
                  <a:lnTo>
                    <a:pt x="1210" y="1183"/>
                  </a:lnTo>
                  <a:cubicBezTo>
                    <a:pt x="1212" y="1183"/>
                    <a:pt x="1214" y="1183"/>
                    <a:pt x="1216" y="1183"/>
                  </a:cubicBezTo>
                  <a:cubicBezTo>
                    <a:pt x="1218" y="1183"/>
                    <a:pt x="1220" y="1184"/>
                    <a:pt x="1222" y="1185"/>
                  </a:cubicBezTo>
                  <a:cubicBezTo>
                    <a:pt x="1224" y="1186"/>
                    <a:pt x="1226" y="1187"/>
                    <a:pt x="1228" y="1189"/>
                  </a:cubicBezTo>
                  <a:cubicBezTo>
                    <a:pt x="1230" y="1191"/>
                    <a:pt x="1233" y="1193"/>
                    <a:pt x="1236" y="1196"/>
                  </a:cubicBezTo>
                  <a:cubicBezTo>
                    <a:pt x="1239" y="1199"/>
                    <a:pt x="1241" y="1202"/>
                    <a:pt x="1243" y="1204"/>
                  </a:cubicBezTo>
                  <a:cubicBezTo>
                    <a:pt x="1245" y="1206"/>
                    <a:pt x="1246" y="1208"/>
                    <a:pt x="1247" y="1210"/>
                  </a:cubicBezTo>
                  <a:cubicBezTo>
                    <a:pt x="1248" y="1211"/>
                    <a:pt x="1248" y="1213"/>
                    <a:pt x="1248" y="1214"/>
                  </a:cubicBezTo>
                  <a:cubicBezTo>
                    <a:pt x="1248" y="1215"/>
                    <a:pt x="1247" y="1216"/>
                    <a:pt x="1246" y="1217"/>
                  </a:cubicBezTo>
                  <a:cubicBezTo>
                    <a:pt x="1245" y="1219"/>
                    <a:pt x="1243" y="1220"/>
                    <a:pt x="1241" y="1220"/>
                  </a:cubicBezTo>
                  <a:cubicBezTo>
                    <a:pt x="1238" y="1221"/>
                    <a:pt x="1236" y="1221"/>
                    <a:pt x="1232" y="1221"/>
                  </a:cubicBezTo>
                  <a:lnTo>
                    <a:pt x="1117" y="1221"/>
                  </a:lnTo>
                  <a:lnTo>
                    <a:pt x="1097" y="1370"/>
                  </a:lnTo>
                  <a:cubicBezTo>
                    <a:pt x="1097" y="1374"/>
                    <a:pt x="1096" y="1376"/>
                    <a:pt x="1096" y="1378"/>
                  </a:cubicBezTo>
                  <a:cubicBezTo>
                    <a:pt x="1095" y="1380"/>
                    <a:pt x="1094" y="1382"/>
                    <a:pt x="1093" y="1383"/>
                  </a:cubicBezTo>
                  <a:close/>
                  <a:moveTo>
                    <a:pt x="1161" y="1451"/>
                  </a:moveTo>
                  <a:cubicBezTo>
                    <a:pt x="1160" y="1452"/>
                    <a:pt x="1159" y="1453"/>
                    <a:pt x="1158" y="1453"/>
                  </a:cubicBezTo>
                  <a:cubicBezTo>
                    <a:pt x="1157" y="1453"/>
                    <a:pt x="1156" y="1453"/>
                    <a:pt x="1154" y="1452"/>
                  </a:cubicBezTo>
                  <a:cubicBezTo>
                    <a:pt x="1153" y="1452"/>
                    <a:pt x="1151" y="1450"/>
                    <a:pt x="1149" y="1449"/>
                  </a:cubicBezTo>
                  <a:cubicBezTo>
                    <a:pt x="1147" y="1447"/>
                    <a:pt x="1144" y="1445"/>
                    <a:pt x="1141" y="1442"/>
                  </a:cubicBezTo>
                  <a:cubicBezTo>
                    <a:pt x="1138" y="1439"/>
                    <a:pt x="1136" y="1437"/>
                    <a:pt x="1134" y="1434"/>
                  </a:cubicBezTo>
                  <a:cubicBezTo>
                    <a:pt x="1133" y="1432"/>
                    <a:pt x="1132" y="1431"/>
                    <a:pt x="1131" y="1429"/>
                  </a:cubicBezTo>
                  <a:cubicBezTo>
                    <a:pt x="1130" y="1427"/>
                    <a:pt x="1130" y="1426"/>
                    <a:pt x="1130" y="1425"/>
                  </a:cubicBezTo>
                  <a:cubicBezTo>
                    <a:pt x="1131" y="1424"/>
                    <a:pt x="1131" y="1423"/>
                    <a:pt x="1132" y="1422"/>
                  </a:cubicBezTo>
                  <a:lnTo>
                    <a:pt x="1291" y="1263"/>
                  </a:lnTo>
                  <a:cubicBezTo>
                    <a:pt x="1292" y="1262"/>
                    <a:pt x="1293" y="1261"/>
                    <a:pt x="1294" y="1261"/>
                  </a:cubicBezTo>
                  <a:cubicBezTo>
                    <a:pt x="1295" y="1261"/>
                    <a:pt x="1297" y="1261"/>
                    <a:pt x="1298" y="1262"/>
                  </a:cubicBezTo>
                  <a:cubicBezTo>
                    <a:pt x="1300" y="1262"/>
                    <a:pt x="1302" y="1263"/>
                    <a:pt x="1304" y="1265"/>
                  </a:cubicBezTo>
                  <a:cubicBezTo>
                    <a:pt x="1306" y="1267"/>
                    <a:pt x="1308" y="1269"/>
                    <a:pt x="1311" y="1272"/>
                  </a:cubicBezTo>
                  <a:cubicBezTo>
                    <a:pt x="1314" y="1275"/>
                    <a:pt x="1317" y="1277"/>
                    <a:pt x="1318" y="1279"/>
                  </a:cubicBezTo>
                  <a:cubicBezTo>
                    <a:pt x="1320" y="1282"/>
                    <a:pt x="1321" y="1283"/>
                    <a:pt x="1322" y="1285"/>
                  </a:cubicBezTo>
                  <a:cubicBezTo>
                    <a:pt x="1322" y="1286"/>
                    <a:pt x="1322" y="1288"/>
                    <a:pt x="1322" y="1289"/>
                  </a:cubicBezTo>
                  <a:cubicBezTo>
                    <a:pt x="1322" y="1290"/>
                    <a:pt x="1321" y="1291"/>
                    <a:pt x="1320" y="1292"/>
                  </a:cubicBezTo>
                  <a:lnTo>
                    <a:pt x="1161" y="1451"/>
                  </a:lnTo>
                  <a:close/>
                  <a:moveTo>
                    <a:pt x="1378" y="1242"/>
                  </a:moveTo>
                  <a:cubicBezTo>
                    <a:pt x="1371" y="1248"/>
                    <a:pt x="1365" y="1252"/>
                    <a:pt x="1360" y="1252"/>
                  </a:cubicBezTo>
                  <a:cubicBezTo>
                    <a:pt x="1355" y="1252"/>
                    <a:pt x="1349" y="1248"/>
                    <a:pt x="1342" y="1241"/>
                  </a:cubicBezTo>
                  <a:cubicBezTo>
                    <a:pt x="1335" y="1234"/>
                    <a:pt x="1331" y="1228"/>
                    <a:pt x="1331" y="1223"/>
                  </a:cubicBezTo>
                  <a:cubicBezTo>
                    <a:pt x="1331" y="1218"/>
                    <a:pt x="1334" y="1213"/>
                    <a:pt x="1341" y="1206"/>
                  </a:cubicBezTo>
                  <a:cubicBezTo>
                    <a:pt x="1348" y="1199"/>
                    <a:pt x="1354" y="1196"/>
                    <a:pt x="1359" y="1196"/>
                  </a:cubicBezTo>
                  <a:cubicBezTo>
                    <a:pt x="1364" y="1196"/>
                    <a:pt x="1370" y="1199"/>
                    <a:pt x="1377" y="1206"/>
                  </a:cubicBezTo>
                  <a:cubicBezTo>
                    <a:pt x="1384" y="1213"/>
                    <a:pt x="1387" y="1219"/>
                    <a:pt x="1387" y="1224"/>
                  </a:cubicBezTo>
                  <a:cubicBezTo>
                    <a:pt x="1388" y="1229"/>
                    <a:pt x="1384" y="1235"/>
                    <a:pt x="1378" y="1242"/>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93" name="Freeform 140"/>
            <p:cNvSpPr>
              <a:spLocks noEditPoints="1"/>
            </p:cNvSpPr>
            <p:nvPr/>
          </p:nvSpPr>
          <p:spPr bwMode="auto">
            <a:xfrm>
              <a:off x="2548" y="1610"/>
              <a:ext cx="137" cy="135"/>
            </a:xfrm>
            <a:custGeom>
              <a:avLst/>
              <a:gdLst>
                <a:gd name="T0" fmla="*/ 42 w 1297"/>
                <a:gd name="T1" fmla="*/ 259 h 1274"/>
                <a:gd name="T2" fmla="*/ 3 w 1297"/>
                <a:gd name="T3" fmla="*/ 174 h 1274"/>
                <a:gd name="T4" fmla="*/ 30 w 1297"/>
                <a:gd name="T5" fmla="*/ 156 h 1274"/>
                <a:gd name="T6" fmla="*/ 90 w 1297"/>
                <a:gd name="T7" fmla="*/ 249 h 1274"/>
                <a:gd name="T8" fmla="*/ 165 w 1297"/>
                <a:gd name="T9" fmla="*/ 196 h 1274"/>
                <a:gd name="T10" fmla="*/ 141 w 1297"/>
                <a:gd name="T11" fmla="*/ 54 h 1274"/>
                <a:gd name="T12" fmla="*/ 289 w 1297"/>
                <a:gd name="T13" fmla="*/ 35 h 1274"/>
                <a:gd name="T14" fmla="*/ 324 w 1297"/>
                <a:gd name="T15" fmla="*/ 103 h 1274"/>
                <a:gd name="T16" fmla="*/ 303 w 1297"/>
                <a:gd name="T17" fmla="*/ 125 h 1274"/>
                <a:gd name="T18" fmla="*/ 279 w 1297"/>
                <a:gd name="T19" fmla="*/ 81 h 1274"/>
                <a:gd name="T20" fmla="*/ 194 w 1297"/>
                <a:gd name="T21" fmla="*/ 54 h 1274"/>
                <a:gd name="T22" fmla="*/ 208 w 1297"/>
                <a:gd name="T23" fmla="*/ 182 h 1274"/>
                <a:gd name="T24" fmla="*/ 304 w 1297"/>
                <a:gd name="T25" fmla="*/ 510 h 1274"/>
                <a:gd name="T26" fmla="*/ 279 w 1297"/>
                <a:gd name="T27" fmla="*/ 488 h 1274"/>
                <a:gd name="T28" fmla="*/ 219 w 1297"/>
                <a:gd name="T29" fmla="*/ 436 h 1274"/>
                <a:gd name="T30" fmla="*/ 329 w 1297"/>
                <a:gd name="T31" fmla="*/ 212 h 1274"/>
                <a:gd name="T32" fmla="*/ 356 w 1297"/>
                <a:gd name="T33" fmla="*/ 229 h 1274"/>
                <a:gd name="T34" fmla="*/ 245 w 1297"/>
                <a:gd name="T35" fmla="*/ 358 h 1274"/>
                <a:gd name="T36" fmla="*/ 326 w 1297"/>
                <a:gd name="T37" fmla="*/ 431 h 1274"/>
                <a:gd name="T38" fmla="*/ 457 w 1297"/>
                <a:gd name="T39" fmla="*/ 329 h 1274"/>
                <a:gd name="T40" fmla="*/ 307 w 1297"/>
                <a:gd name="T41" fmla="*/ 508 h 1274"/>
                <a:gd name="T42" fmla="*/ 533 w 1297"/>
                <a:gd name="T43" fmla="*/ 739 h 1274"/>
                <a:gd name="T44" fmla="*/ 499 w 1297"/>
                <a:gd name="T45" fmla="*/ 708 h 1274"/>
                <a:gd name="T46" fmla="*/ 580 w 1297"/>
                <a:gd name="T47" fmla="*/ 549 h 1274"/>
                <a:gd name="T48" fmla="*/ 407 w 1297"/>
                <a:gd name="T49" fmla="*/ 620 h 1274"/>
                <a:gd name="T50" fmla="*/ 499 w 1297"/>
                <a:gd name="T51" fmla="*/ 396 h 1274"/>
                <a:gd name="T52" fmla="*/ 517 w 1297"/>
                <a:gd name="T53" fmla="*/ 390 h 1274"/>
                <a:gd name="T54" fmla="*/ 535 w 1297"/>
                <a:gd name="T55" fmla="*/ 418 h 1274"/>
                <a:gd name="T56" fmla="*/ 613 w 1297"/>
                <a:gd name="T57" fmla="*/ 491 h 1274"/>
                <a:gd name="T58" fmla="*/ 640 w 1297"/>
                <a:gd name="T59" fmla="*/ 514 h 1274"/>
                <a:gd name="T60" fmla="*/ 546 w 1297"/>
                <a:gd name="T61" fmla="*/ 692 h 1274"/>
                <a:gd name="T62" fmla="*/ 737 w 1297"/>
                <a:gd name="T63" fmla="*/ 609 h 1274"/>
                <a:gd name="T64" fmla="*/ 732 w 1297"/>
                <a:gd name="T65" fmla="*/ 933 h 1274"/>
                <a:gd name="T66" fmla="*/ 705 w 1297"/>
                <a:gd name="T67" fmla="*/ 913 h 1274"/>
                <a:gd name="T68" fmla="*/ 629 w 1297"/>
                <a:gd name="T69" fmla="*/ 839 h 1274"/>
                <a:gd name="T70" fmla="*/ 703 w 1297"/>
                <a:gd name="T71" fmla="*/ 743 h 1274"/>
                <a:gd name="T72" fmla="*/ 823 w 1297"/>
                <a:gd name="T73" fmla="*/ 780 h 1274"/>
                <a:gd name="T74" fmla="*/ 767 w 1297"/>
                <a:gd name="T75" fmla="*/ 698 h 1274"/>
                <a:gd name="T76" fmla="*/ 743 w 1297"/>
                <a:gd name="T77" fmla="*/ 677 h 1274"/>
                <a:gd name="T78" fmla="*/ 795 w 1297"/>
                <a:gd name="T79" fmla="*/ 674 h 1274"/>
                <a:gd name="T80" fmla="*/ 862 w 1297"/>
                <a:gd name="T81" fmla="*/ 797 h 1274"/>
                <a:gd name="T82" fmla="*/ 728 w 1297"/>
                <a:gd name="T83" fmla="*/ 788 h 1274"/>
                <a:gd name="T84" fmla="*/ 676 w 1297"/>
                <a:gd name="T85" fmla="*/ 847 h 1274"/>
                <a:gd name="T86" fmla="*/ 819 w 1297"/>
                <a:gd name="T87" fmla="*/ 1025 h 1274"/>
                <a:gd name="T88" fmla="*/ 792 w 1297"/>
                <a:gd name="T89" fmla="*/ 1001 h 1274"/>
                <a:gd name="T90" fmla="*/ 1036 w 1297"/>
                <a:gd name="T91" fmla="*/ 757 h 1274"/>
                <a:gd name="T92" fmla="*/ 1060 w 1297"/>
                <a:gd name="T93" fmla="*/ 784 h 1274"/>
                <a:gd name="T94" fmla="*/ 996 w 1297"/>
                <a:gd name="T95" fmla="*/ 1205 h 1274"/>
                <a:gd name="T96" fmla="*/ 968 w 1297"/>
                <a:gd name="T97" fmla="*/ 1175 h 1274"/>
                <a:gd name="T98" fmla="*/ 894 w 1297"/>
                <a:gd name="T99" fmla="*/ 1104 h 1274"/>
                <a:gd name="T100" fmla="*/ 870 w 1297"/>
                <a:gd name="T101" fmla="*/ 1077 h 1274"/>
                <a:gd name="T102" fmla="*/ 1121 w 1297"/>
                <a:gd name="T103" fmla="*/ 839 h 1274"/>
                <a:gd name="T104" fmla="*/ 1138 w 1297"/>
                <a:gd name="T105" fmla="*/ 867 h 1274"/>
                <a:gd name="T106" fmla="*/ 1138 w 1297"/>
                <a:gd name="T107" fmla="*/ 1010 h 1274"/>
                <a:gd name="T108" fmla="*/ 1156 w 1297"/>
                <a:gd name="T109" fmla="*/ 1039 h 1274"/>
                <a:gd name="T110" fmla="*/ 1006 w 1297"/>
                <a:gd name="T111" fmla="*/ 1200 h 1274"/>
                <a:gd name="T112" fmla="*/ 1059 w 1297"/>
                <a:gd name="T113" fmla="*/ 1270 h 1274"/>
                <a:gd name="T114" fmla="*/ 1042 w 1297"/>
                <a:gd name="T115" fmla="*/ 1243 h 1274"/>
                <a:gd name="T116" fmla="*/ 1221 w 1297"/>
                <a:gd name="T117" fmla="*/ 1093 h 1274"/>
                <a:gd name="T118" fmla="*/ 1071 w 1297"/>
                <a:gd name="T119" fmla="*/ 1272 h 1274"/>
                <a:gd name="T120" fmla="*/ 1251 w 1297"/>
                <a:gd name="T121" fmla="*/ 1027 h 1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7" h="1274">
                  <a:moveTo>
                    <a:pt x="187" y="269"/>
                  </a:moveTo>
                  <a:cubicBezTo>
                    <a:pt x="176" y="280"/>
                    <a:pt x="165" y="287"/>
                    <a:pt x="152" y="292"/>
                  </a:cubicBezTo>
                  <a:cubicBezTo>
                    <a:pt x="140" y="296"/>
                    <a:pt x="128" y="298"/>
                    <a:pt x="115" y="296"/>
                  </a:cubicBezTo>
                  <a:cubicBezTo>
                    <a:pt x="102" y="295"/>
                    <a:pt x="89" y="291"/>
                    <a:pt x="77" y="285"/>
                  </a:cubicBezTo>
                  <a:cubicBezTo>
                    <a:pt x="64" y="278"/>
                    <a:pt x="53" y="270"/>
                    <a:pt x="42" y="259"/>
                  </a:cubicBezTo>
                  <a:cubicBezTo>
                    <a:pt x="34" y="251"/>
                    <a:pt x="28" y="243"/>
                    <a:pt x="22" y="235"/>
                  </a:cubicBezTo>
                  <a:cubicBezTo>
                    <a:pt x="17" y="227"/>
                    <a:pt x="13" y="220"/>
                    <a:pt x="10" y="213"/>
                  </a:cubicBezTo>
                  <a:cubicBezTo>
                    <a:pt x="6" y="206"/>
                    <a:pt x="4" y="200"/>
                    <a:pt x="3" y="194"/>
                  </a:cubicBezTo>
                  <a:cubicBezTo>
                    <a:pt x="1" y="189"/>
                    <a:pt x="0" y="185"/>
                    <a:pt x="0" y="182"/>
                  </a:cubicBezTo>
                  <a:cubicBezTo>
                    <a:pt x="1" y="179"/>
                    <a:pt x="1" y="176"/>
                    <a:pt x="3" y="174"/>
                  </a:cubicBezTo>
                  <a:cubicBezTo>
                    <a:pt x="4" y="171"/>
                    <a:pt x="7" y="167"/>
                    <a:pt x="11" y="164"/>
                  </a:cubicBezTo>
                  <a:cubicBezTo>
                    <a:pt x="13" y="161"/>
                    <a:pt x="15" y="159"/>
                    <a:pt x="17" y="158"/>
                  </a:cubicBezTo>
                  <a:cubicBezTo>
                    <a:pt x="19" y="156"/>
                    <a:pt x="21" y="155"/>
                    <a:pt x="23" y="155"/>
                  </a:cubicBezTo>
                  <a:cubicBezTo>
                    <a:pt x="24" y="154"/>
                    <a:pt x="26" y="154"/>
                    <a:pt x="27" y="154"/>
                  </a:cubicBezTo>
                  <a:cubicBezTo>
                    <a:pt x="28" y="154"/>
                    <a:pt x="29" y="155"/>
                    <a:pt x="30" y="156"/>
                  </a:cubicBezTo>
                  <a:cubicBezTo>
                    <a:pt x="31" y="158"/>
                    <a:pt x="33" y="161"/>
                    <a:pt x="34" y="166"/>
                  </a:cubicBezTo>
                  <a:cubicBezTo>
                    <a:pt x="35" y="171"/>
                    <a:pt x="36" y="177"/>
                    <a:pt x="39" y="184"/>
                  </a:cubicBezTo>
                  <a:cubicBezTo>
                    <a:pt x="41" y="191"/>
                    <a:pt x="45" y="199"/>
                    <a:pt x="49" y="208"/>
                  </a:cubicBezTo>
                  <a:cubicBezTo>
                    <a:pt x="54" y="217"/>
                    <a:pt x="60" y="225"/>
                    <a:pt x="69" y="234"/>
                  </a:cubicBezTo>
                  <a:cubicBezTo>
                    <a:pt x="76" y="241"/>
                    <a:pt x="83" y="246"/>
                    <a:pt x="90" y="249"/>
                  </a:cubicBezTo>
                  <a:cubicBezTo>
                    <a:pt x="97" y="253"/>
                    <a:pt x="104" y="255"/>
                    <a:pt x="112" y="256"/>
                  </a:cubicBezTo>
                  <a:cubicBezTo>
                    <a:pt x="119" y="257"/>
                    <a:pt x="126" y="256"/>
                    <a:pt x="133" y="253"/>
                  </a:cubicBezTo>
                  <a:cubicBezTo>
                    <a:pt x="139" y="251"/>
                    <a:pt x="146" y="246"/>
                    <a:pt x="152" y="240"/>
                  </a:cubicBezTo>
                  <a:cubicBezTo>
                    <a:pt x="158" y="234"/>
                    <a:pt x="162" y="227"/>
                    <a:pt x="164" y="219"/>
                  </a:cubicBezTo>
                  <a:cubicBezTo>
                    <a:pt x="166" y="212"/>
                    <a:pt x="166" y="204"/>
                    <a:pt x="165" y="196"/>
                  </a:cubicBezTo>
                  <a:cubicBezTo>
                    <a:pt x="163" y="187"/>
                    <a:pt x="161" y="179"/>
                    <a:pt x="158" y="169"/>
                  </a:cubicBezTo>
                  <a:cubicBezTo>
                    <a:pt x="154" y="160"/>
                    <a:pt x="151" y="151"/>
                    <a:pt x="147" y="142"/>
                  </a:cubicBezTo>
                  <a:cubicBezTo>
                    <a:pt x="144" y="132"/>
                    <a:pt x="141" y="123"/>
                    <a:pt x="138" y="113"/>
                  </a:cubicBezTo>
                  <a:cubicBezTo>
                    <a:pt x="136" y="103"/>
                    <a:pt x="135" y="93"/>
                    <a:pt x="135" y="83"/>
                  </a:cubicBezTo>
                  <a:cubicBezTo>
                    <a:pt x="135" y="74"/>
                    <a:pt x="137" y="64"/>
                    <a:pt x="141" y="54"/>
                  </a:cubicBezTo>
                  <a:cubicBezTo>
                    <a:pt x="144" y="45"/>
                    <a:pt x="151" y="35"/>
                    <a:pt x="160" y="26"/>
                  </a:cubicBezTo>
                  <a:cubicBezTo>
                    <a:pt x="170" y="16"/>
                    <a:pt x="180" y="9"/>
                    <a:pt x="191" y="5"/>
                  </a:cubicBezTo>
                  <a:cubicBezTo>
                    <a:pt x="202" y="1"/>
                    <a:pt x="213" y="0"/>
                    <a:pt x="224" y="1"/>
                  </a:cubicBezTo>
                  <a:cubicBezTo>
                    <a:pt x="235" y="2"/>
                    <a:pt x="247" y="6"/>
                    <a:pt x="258" y="12"/>
                  </a:cubicBezTo>
                  <a:cubicBezTo>
                    <a:pt x="269" y="18"/>
                    <a:pt x="279" y="25"/>
                    <a:pt x="289" y="35"/>
                  </a:cubicBezTo>
                  <a:cubicBezTo>
                    <a:pt x="294" y="40"/>
                    <a:pt x="299" y="46"/>
                    <a:pt x="303" y="52"/>
                  </a:cubicBezTo>
                  <a:cubicBezTo>
                    <a:pt x="308" y="58"/>
                    <a:pt x="311" y="64"/>
                    <a:pt x="314" y="70"/>
                  </a:cubicBezTo>
                  <a:cubicBezTo>
                    <a:pt x="317" y="76"/>
                    <a:pt x="320" y="82"/>
                    <a:pt x="321" y="87"/>
                  </a:cubicBezTo>
                  <a:cubicBezTo>
                    <a:pt x="323" y="92"/>
                    <a:pt x="324" y="96"/>
                    <a:pt x="324" y="98"/>
                  </a:cubicBezTo>
                  <a:cubicBezTo>
                    <a:pt x="324" y="101"/>
                    <a:pt x="324" y="102"/>
                    <a:pt x="324" y="103"/>
                  </a:cubicBezTo>
                  <a:cubicBezTo>
                    <a:pt x="323" y="104"/>
                    <a:pt x="323" y="105"/>
                    <a:pt x="322" y="107"/>
                  </a:cubicBezTo>
                  <a:cubicBezTo>
                    <a:pt x="321" y="108"/>
                    <a:pt x="320" y="109"/>
                    <a:pt x="319" y="111"/>
                  </a:cubicBezTo>
                  <a:cubicBezTo>
                    <a:pt x="318" y="112"/>
                    <a:pt x="316" y="114"/>
                    <a:pt x="314" y="116"/>
                  </a:cubicBezTo>
                  <a:cubicBezTo>
                    <a:pt x="311" y="119"/>
                    <a:pt x="310" y="120"/>
                    <a:pt x="308" y="122"/>
                  </a:cubicBezTo>
                  <a:cubicBezTo>
                    <a:pt x="306" y="123"/>
                    <a:pt x="304" y="124"/>
                    <a:pt x="303" y="125"/>
                  </a:cubicBezTo>
                  <a:cubicBezTo>
                    <a:pt x="301" y="126"/>
                    <a:pt x="300" y="126"/>
                    <a:pt x="299" y="126"/>
                  </a:cubicBezTo>
                  <a:cubicBezTo>
                    <a:pt x="298" y="126"/>
                    <a:pt x="297" y="126"/>
                    <a:pt x="296" y="125"/>
                  </a:cubicBezTo>
                  <a:cubicBezTo>
                    <a:pt x="294" y="123"/>
                    <a:pt x="293" y="121"/>
                    <a:pt x="292" y="116"/>
                  </a:cubicBezTo>
                  <a:cubicBezTo>
                    <a:pt x="291" y="112"/>
                    <a:pt x="289" y="107"/>
                    <a:pt x="288" y="100"/>
                  </a:cubicBezTo>
                  <a:cubicBezTo>
                    <a:pt x="286" y="94"/>
                    <a:pt x="283" y="88"/>
                    <a:pt x="279" y="81"/>
                  </a:cubicBezTo>
                  <a:cubicBezTo>
                    <a:pt x="275" y="73"/>
                    <a:pt x="270" y="66"/>
                    <a:pt x="263" y="60"/>
                  </a:cubicBezTo>
                  <a:cubicBezTo>
                    <a:pt x="257" y="53"/>
                    <a:pt x="250" y="48"/>
                    <a:pt x="244" y="45"/>
                  </a:cubicBezTo>
                  <a:cubicBezTo>
                    <a:pt x="237" y="42"/>
                    <a:pt x="231" y="41"/>
                    <a:pt x="225" y="41"/>
                  </a:cubicBezTo>
                  <a:cubicBezTo>
                    <a:pt x="220" y="40"/>
                    <a:pt x="214" y="41"/>
                    <a:pt x="208" y="44"/>
                  </a:cubicBezTo>
                  <a:cubicBezTo>
                    <a:pt x="203" y="46"/>
                    <a:pt x="198" y="50"/>
                    <a:pt x="194" y="54"/>
                  </a:cubicBezTo>
                  <a:cubicBezTo>
                    <a:pt x="187" y="60"/>
                    <a:pt x="183" y="67"/>
                    <a:pt x="182" y="75"/>
                  </a:cubicBezTo>
                  <a:cubicBezTo>
                    <a:pt x="180" y="82"/>
                    <a:pt x="180" y="90"/>
                    <a:pt x="181" y="99"/>
                  </a:cubicBezTo>
                  <a:cubicBezTo>
                    <a:pt x="183" y="107"/>
                    <a:pt x="185" y="116"/>
                    <a:pt x="188" y="125"/>
                  </a:cubicBezTo>
                  <a:cubicBezTo>
                    <a:pt x="192" y="134"/>
                    <a:pt x="195" y="144"/>
                    <a:pt x="198" y="153"/>
                  </a:cubicBezTo>
                  <a:cubicBezTo>
                    <a:pt x="202" y="163"/>
                    <a:pt x="205" y="172"/>
                    <a:pt x="208" y="182"/>
                  </a:cubicBezTo>
                  <a:cubicBezTo>
                    <a:pt x="210" y="192"/>
                    <a:pt x="212" y="202"/>
                    <a:pt x="212" y="212"/>
                  </a:cubicBezTo>
                  <a:cubicBezTo>
                    <a:pt x="212" y="221"/>
                    <a:pt x="210" y="231"/>
                    <a:pt x="206" y="241"/>
                  </a:cubicBezTo>
                  <a:cubicBezTo>
                    <a:pt x="202" y="250"/>
                    <a:pt x="196" y="260"/>
                    <a:pt x="187" y="269"/>
                  </a:cubicBezTo>
                  <a:close/>
                  <a:moveTo>
                    <a:pt x="307" y="508"/>
                  </a:moveTo>
                  <a:cubicBezTo>
                    <a:pt x="306" y="509"/>
                    <a:pt x="305" y="510"/>
                    <a:pt x="304" y="510"/>
                  </a:cubicBezTo>
                  <a:cubicBezTo>
                    <a:pt x="303" y="510"/>
                    <a:pt x="302" y="510"/>
                    <a:pt x="300" y="510"/>
                  </a:cubicBezTo>
                  <a:cubicBezTo>
                    <a:pt x="299" y="509"/>
                    <a:pt x="297" y="508"/>
                    <a:pt x="295" y="506"/>
                  </a:cubicBezTo>
                  <a:cubicBezTo>
                    <a:pt x="293" y="505"/>
                    <a:pt x="291" y="503"/>
                    <a:pt x="288" y="501"/>
                  </a:cubicBezTo>
                  <a:cubicBezTo>
                    <a:pt x="286" y="498"/>
                    <a:pt x="284" y="496"/>
                    <a:pt x="282" y="494"/>
                  </a:cubicBezTo>
                  <a:cubicBezTo>
                    <a:pt x="281" y="492"/>
                    <a:pt x="280" y="490"/>
                    <a:pt x="279" y="488"/>
                  </a:cubicBezTo>
                  <a:cubicBezTo>
                    <a:pt x="279" y="487"/>
                    <a:pt x="278" y="486"/>
                    <a:pt x="279" y="485"/>
                  </a:cubicBezTo>
                  <a:cubicBezTo>
                    <a:pt x="279" y="484"/>
                    <a:pt x="280" y="483"/>
                    <a:pt x="281" y="482"/>
                  </a:cubicBezTo>
                  <a:lnTo>
                    <a:pt x="302" y="461"/>
                  </a:lnTo>
                  <a:cubicBezTo>
                    <a:pt x="283" y="462"/>
                    <a:pt x="266" y="460"/>
                    <a:pt x="253" y="456"/>
                  </a:cubicBezTo>
                  <a:cubicBezTo>
                    <a:pt x="239" y="452"/>
                    <a:pt x="228" y="445"/>
                    <a:pt x="219" y="436"/>
                  </a:cubicBezTo>
                  <a:cubicBezTo>
                    <a:pt x="208" y="425"/>
                    <a:pt x="201" y="415"/>
                    <a:pt x="198" y="404"/>
                  </a:cubicBezTo>
                  <a:cubicBezTo>
                    <a:pt x="194" y="393"/>
                    <a:pt x="193" y="382"/>
                    <a:pt x="194" y="372"/>
                  </a:cubicBezTo>
                  <a:cubicBezTo>
                    <a:pt x="196" y="361"/>
                    <a:pt x="200" y="351"/>
                    <a:pt x="206" y="341"/>
                  </a:cubicBezTo>
                  <a:cubicBezTo>
                    <a:pt x="212" y="331"/>
                    <a:pt x="221" y="320"/>
                    <a:pt x="232" y="309"/>
                  </a:cubicBezTo>
                  <a:lnTo>
                    <a:pt x="329" y="212"/>
                  </a:lnTo>
                  <a:cubicBezTo>
                    <a:pt x="330" y="211"/>
                    <a:pt x="331" y="211"/>
                    <a:pt x="332" y="210"/>
                  </a:cubicBezTo>
                  <a:cubicBezTo>
                    <a:pt x="333" y="210"/>
                    <a:pt x="334" y="210"/>
                    <a:pt x="336" y="211"/>
                  </a:cubicBezTo>
                  <a:cubicBezTo>
                    <a:pt x="338" y="212"/>
                    <a:pt x="340" y="213"/>
                    <a:pt x="342" y="214"/>
                  </a:cubicBezTo>
                  <a:cubicBezTo>
                    <a:pt x="344" y="216"/>
                    <a:pt x="346" y="218"/>
                    <a:pt x="349" y="221"/>
                  </a:cubicBezTo>
                  <a:cubicBezTo>
                    <a:pt x="352" y="224"/>
                    <a:pt x="354" y="227"/>
                    <a:pt x="356" y="229"/>
                  </a:cubicBezTo>
                  <a:cubicBezTo>
                    <a:pt x="358" y="231"/>
                    <a:pt x="359" y="233"/>
                    <a:pt x="359" y="234"/>
                  </a:cubicBezTo>
                  <a:cubicBezTo>
                    <a:pt x="360" y="236"/>
                    <a:pt x="360" y="237"/>
                    <a:pt x="360" y="238"/>
                  </a:cubicBezTo>
                  <a:cubicBezTo>
                    <a:pt x="360" y="239"/>
                    <a:pt x="359" y="240"/>
                    <a:pt x="358" y="241"/>
                  </a:cubicBezTo>
                  <a:lnTo>
                    <a:pt x="266" y="334"/>
                  </a:lnTo>
                  <a:cubicBezTo>
                    <a:pt x="256" y="343"/>
                    <a:pt x="250" y="351"/>
                    <a:pt x="245" y="358"/>
                  </a:cubicBezTo>
                  <a:cubicBezTo>
                    <a:pt x="241" y="365"/>
                    <a:pt x="238" y="372"/>
                    <a:pt x="237" y="379"/>
                  </a:cubicBezTo>
                  <a:cubicBezTo>
                    <a:pt x="236" y="386"/>
                    <a:pt x="237" y="392"/>
                    <a:pt x="239" y="399"/>
                  </a:cubicBezTo>
                  <a:cubicBezTo>
                    <a:pt x="241" y="405"/>
                    <a:pt x="244" y="411"/>
                    <a:pt x="250" y="417"/>
                  </a:cubicBezTo>
                  <a:cubicBezTo>
                    <a:pt x="257" y="424"/>
                    <a:pt x="267" y="429"/>
                    <a:pt x="280" y="431"/>
                  </a:cubicBezTo>
                  <a:cubicBezTo>
                    <a:pt x="292" y="433"/>
                    <a:pt x="307" y="433"/>
                    <a:pt x="326" y="431"/>
                  </a:cubicBezTo>
                  <a:lnTo>
                    <a:pt x="437" y="320"/>
                  </a:lnTo>
                  <a:cubicBezTo>
                    <a:pt x="438" y="319"/>
                    <a:pt x="439" y="318"/>
                    <a:pt x="440" y="318"/>
                  </a:cubicBezTo>
                  <a:cubicBezTo>
                    <a:pt x="441" y="318"/>
                    <a:pt x="442" y="318"/>
                    <a:pt x="444" y="319"/>
                  </a:cubicBezTo>
                  <a:cubicBezTo>
                    <a:pt x="446" y="319"/>
                    <a:pt x="448" y="321"/>
                    <a:pt x="450" y="322"/>
                  </a:cubicBezTo>
                  <a:cubicBezTo>
                    <a:pt x="452" y="324"/>
                    <a:pt x="454" y="326"/>
                    <a:pt x="457" y="329"/>
                  </a:cubicBezTo>
                  <a:cubicBezTo>
                    <a:pt x="460" y="332"/>
                    <a:pt x="462" y="334"/>
                    <a:pt x="464" y="336"/>
                  </a:cubicBezTo>
                  <a:cubicBezTo>
                    <a:pt x="465" y="339"/>
                    <a:pt x="467" y="340"/>
                    <a:pt x="467" y="342"/>
                  </a:cubicBezTo>
                  <a:cubicBezTo>
                    <a:pt x="468" y="344"/>
                    <a:pt x="468" y="345"/>
                    <a:pt x="468" y="346"/>
                  </a:cubicBezTo>
                  <a:cubicBezTo>
                    <a:pt x="468" y="347"/>
                    <a:pt x="467" y="348"/>
                    <a:pt x="466" y="349"/>
                  </a:cubicBezTo>
                  <a:lnTo>
                    <a:pt x="307" y="508"/>
                  </a:lnTo>
                  <a:close/>
                  <a:moveTo>
                    <a:pt x="745" y="628"/>
                  </a:moveTo>
                  <a:cubicBezTo>
                    <a:pt x="744" y="628"/>
                    <a:pt x="743" y="629"/>
                    <a:pt x="742" y="630"/>
                  </a:cubicBezTo>
                  <a:cubicBezTo>
                    <a:pt x="740" y="631"/>
                    <a:pt x="738" y="632"/>
                    <a:pt x="736" y="633"/>
                  </a:cubicBezTo>
                  <a:lnTo>
                    <a:pt x="538" y="738"/>
                  </a:lnTo>
                  <a:cubicBezTo>
                    <a:pt x="536" y="739"/>
                    <a:pt x="535" y="739"/>
                    <a:pt x="533" y="739"/>
                  </a:cubicBezTo>
                  <a:cubicBezTo>
                    <a:pt x="532" y="739"/>
                    <a:pt x="530" y="739"/>
                    <a:pt x="528" y="738"/>
                  </a:cubicBezTo>
                  <a:cubicBezTo>
                    <a:pt x="526" y="737"/>
                    <a:pt x="524" y="735"/>
                    <a:pt x="522" y="733"/>
                  </a:cubicBezTo>
                  <a:cubicBezTo>
                    <a:pt x="519" y="731"/>
                    <a:pt x="516" y="728"/>
                    <a:pt x="512" y="725"/>
                  </a:cubicBezTo>
                  <a:cubicBezTo>
                    <a:pt x="509" y="721"/>
                    <a:pt x="506" y="718"/>
                    <a:pt x="504" y="715"/>
                  </a:cubicBezTo>
                  <a:cubicBezTo>
                    <a:pt x="501" y="712"/>
                    <a:pt x="500" y="710"/>
                    <a:pt x="499" y="708"/>
                  </a:cubicBezTo>
                  <a:cubicBezTo>
                    <a:pt x="498" y="706"/>
                    <a:pt x="497" y="705"/>
                    <a:pt x="497" y="703"/>
                  </a:cubicBezTo>
                  <a:cubicBezTo>
                    <a:pt x="498" y="701"/>
                    <a:pt x="498" y="700"/>
                    <a:pt x="499" y="698"/>
                  </a:cubicBezTo>
                  <a:lnTo>
                    <a:pt x="581" y="550"/>
                  </a:lnTo>
                  <a:lnTo>
                    <a:pt x="582" y="548"/>
                  </a:lnTo>
                  <a:lnTo>
                    <a:pt x="580" y="549"/>
                  </a:lnTo>
                  <a:lnTo>
                    <a:pt x="434" y="633"/>
                  </a:lnTo>
                  <a:cubicBezTo>
                    <a:pt x="432" y="634"/>
                    <a:pt x="431" y="635"/>
                    <a:pt x="429" y="635"/>
                  </a:cubicBezTo>
                  <a:cubicBezTo>
                    <a:pt x="427" y="635"/>
                    <a:pt x="426" y="634"/>
                    <a:pt x="424" y="633"/>
                  </a:cubicBezTo>
                  <a:cubicBezTo>
                    <a:pt x="422" y="632"/>
                    <a:pt x="419" y="631"/>
                    <a:pt x="417" y="628"/>
                  </a:cubicBezTo>
                  <a:cubicBezTo>
                    <a:pt x="414" y="626"/>
                    <a:pt x="411" y="623"/>
                    <a:pt x="407" y="620"/>
                  </a:cubicBezTo>
                  <a:cubicBezTo>
                    <a:pt x="404" y="616"/>
                    <a:pt x="401" y="613"/>
                    <a:pt x="399" y="610"/>
                  </a:cubicBezTo>
                  <a:cubicBezTo>
                    <a:pt x="397" y="608"/>
                    <a:pt x="395" y="606"/>
                    <a:pt x="394" y="604"/>
                  </a:cubicBezTo>
                  <a:cubicBezTo>
                    <a:pt x="393" y="602"/>
                    <a:pt x="393" y="600"/>
                    <a:pt x="393" y="599"/>
                  </a:cubicBezTo>
                  <a:cubicBezTo>
                    <a:pt x="393" y="597"/>
                    <a:pt x="394" y="595"/>
                    <a:pt x="394" y="594"/>
                  </a:cubicBezTo>
                  <a:lnTo>
                    <a:pt x="499" y="396"/>
                  </a:lnTo>
                  <a:cubicBezTo>
                    <a:pt x="500" y="394"/>
                    <a:pt x="501" y="392"/>
                    <a:pt x="502" y="391"/>
                  </a:cubicBezTo>
                  <a:cubicBezTo>
                    <a:pt x="503" y="389"/>
                    <a:pt x="504" y="388"/>
                    <a:pt x="505" y="387"/>
                  </a:cubicBezTo>
                  <a:cubicBezTo>
                    <a:pt x="506" y="386"/>
                    <a:pt x="507" y="386"/>
                    <a:pt x="508" y="385"/>
                  </a:cubicBezTo>
                  <a:cubicBezTo>
                    <a:pt x="509" y="385"/>
                    <a:pt x="511" y="385"/>
                    <a:pt x="512" y="386"/>
                  </a:cubicBezTo>
                  <a:cubicBezTo>
                    <a:pt x="514" y="387"/>
                    <a:pt x="515" y="388"/>
                    <a:pt x="517" y="390"/>
                  </a:cubicBezTo>
                  <a:cubicBezTo>
                    <a:pt x="519" y="392"/>
                    <a:pt x="522" y="394"/>
                    <a:pt x="525" y="397"/>
                  </a:cubicBezTo>
                  <a:cubicBezTo>
                    <a:pt x="528" y="400"/>
                    <a:pt x="530" y="403"/>
                    <a:pt x="532" y="405"/>
                  </a:cubicBezTo>
                  <a:cubicBezTo>
                    <a:pt x="534" y="407"/>
                    <a:pt x="535" y="409"/>
                    <a:pt x="536" y="410"/>
                  </a:cubicBezTo>
                  <a:cubicBezTo>
                    <a:pt x="537" y="412"/>
                    <a:pt x="537" y="413"/>
                    <a:pt x="536" y="414"/>
                  </a:cubicBezTo>
                  <a:cubicBezTo>
                    <a:pt x="536" y="416"/>
                    <a:pt x="536" y="417"/>
                    <a:pt x="535" y="418"/>
                  </a:cubicBezTo>
                  <a:lnTo>
                    <a:pt x="442" y="588"/>
                  </a:lnTo>
                  <a:lnTo>
                    <a:pt x="441" y="590"/>
                  </a:lnTo>
                  <a:lnTo>
                    <a:pt x="443" y="589"/>
                  </a:lnTo>
                  <a:lnTo>
                    <a:pt x="609" y="493"/>
                  </a:lnTo>
                  <a:cubicBezTo>
                    <a:pt x="610" y="492"/>
                    <a:pt x="612" y="491"/>
                    <a:pt x="613" y="491"/>
                  </a:cubicBezTo>
                  <a:cubicBezTo>
                    <a:pt x="614" y="491"/>
                    <a:pt x="616" y="491"/>
                    <a:pt x="617" y="492"/>
                  </a:cubicBezTo>
                  <a:cubicBezTo>
                    <a:pt x="619" y="492"/>
                    <a:pt x="620" y="493"/>
                    <a:pt x="622" y="495"/>
                  </a:cubicBezTo>
                  <a:cubicBezTo>
                    <a:pt x="624" y="497"/>
                    <a:pt x="627" y="499"/>
                    <a:pt x="630" y="502"/>
                  </a:cubicBezTo>
                  <a:cubicBezTo>
                    <a:pt x="633" y="505"/>
                    <a:pt x="635" y="507"/>
                    <a:pt x="637" y="509"/>
                  </a:cubicBezTo>
                  <a:cubicBezTo>
                    <a:pt x="638" y="511"/>
                    <a:pt x="639" y="513"/>
                    <a:pt x="640" y="514"/>
                  </a:cubicBezTo>
                  <a:cubicBezTo>
                    <a:pt x="641" y="516"/>
                    <a:pt x="641" y="517"/>
                    <a:pt x="641" y="518"/>
                  </a:cubicBezTo>
                  <a:cubicBezTo>
                    <a:pt x="640" y="520"/>
                    <a:pt x="640" y="521"/>
                    <a:pt x="639" y="522"/>
                  </a:cubicBezTo>
                  <a:lnTo>
                    <a:pt x="546" y="691"/>
                  </a:lnTo>
                  <a:lnTo>
                    <a:pt x="544" y="693"/>
                  </a:lnTo>
                  <a:lnTo>
                    <a:pt x="546" y="692"/>
                  </a:lnTo>
                  <a:lnTo>
                    <a:pt x="715" y="599"/>
                  </a:lnTo>
                  <a:cubicBezTo>
                    <a:pt x="717" y="598"/>
                    <a:pt x="718" y="597"/>
                    <a:pt x="719" y="597"/>
                  </a:cubicBezTo>
                  <a:cubicBezTo>
                    <a:pt x="720" y="597"/>
                    <a:pt x="722" y="597"/>
                    <a:pt x="723" y="598"/>
                  </a:cubicBezTo>
                  <a:cubicBezTo>
                    <a:pt x="725" y="599"/>
                    <a:pt x="727" y="600"/>
                    <a:pt x="729" y="602"/>
                  </a:cubicBezTo>
                  <a:cubicBezTo>
                    <a:pt x="731" y="603"/>
                    <a:pt x="734" y="606"/>
                    <a:pt x="737" y="609"/>
                  </a:cubicBezTo>
                  <a:cubicBezTo>
                    <a:pt x="739" y="612"/>
                    <a:pt x="742" y="614"/>
                    <a:pt x="743" y="616"/>
                  </a:cubicBezTo>
                  <a:cubicBezTo>
                    <a:pt x="745" y="618"/>
                    <a:pt x="746" y="619"/>
                    <a:pt x="746" y="621"/>
                  </a:cubicBezTo>
                  <a:cubicBezTo>
                    <a:pt x="747" y="622"/>
                    <a:pt x="747" y="623"/>
                    <a:pt x="747" y="624"/>
                  </a:cubicBezTo>
                  <a:cubicBezTo>
                    <a:pt x="747" y="625"/>
                    <a:pt x="746" y="626"/>
                    <a:pt x="745" y="628"/>
                  </a:cubicBezTo>
                  <a:close/>
                  <a:moveTo>
                    <a:pt x="732" y="933"/>
                  </a:moveTo>
                  <a:cubicBezTo>
                    <a:pt x="730" y="935"/>
                    <a:pt x="729" y="935"/>
                    <a:pt x="727" y="935"/>
                  </a:cubicBezTo>
                  <a:cubicBezTo>
                    <a:pt x="725" y="935"/>
                    <a:pt x="724" y="934"/>
                    <a:pt x="722" y="933"/>
                  </a:cubicBezTo>
                  <a:cubicBezTo>
                    <a:pt x="720" y="931"/>
                    <a:pt x="717" y="929"/>
                    <a:pt x="714" y="926"/>
                  </a:cubicBezTo>
                  <a:cubicBezTo>
                    <a:pt x="711" y="923"/>
                    <a:pt x="709" y="920"/>
                    <a:pt x="707" y="918"/>
                  </a:cubicBezTo>
                  <a:cubicBezTo>
                    <a:pt x="706" y="916"/>
                    <a:pt x="705" y="914"/>
                    <a:pt x="705" y="913"/>
                  </a:cubicBezTo>
                  <a:cubicBezTo>
                    <a:pt x="705" y="911"/>
                    <a:pt x="705" y="910"/>
                    <a:pt x="707" y="908"/>
                  </a:cubicBezTo>
                  <a:lnTo>
                    <a:pt x="723" y="892"/>
                  </a:lnTo>
                  <a:cubicBezTo>
                    <a:pt x="708" y="893"/>
                    <a:pt x="695" y="891"/>
                    <a:pt x="682" y="886"/>
                  </a:cubicBezTo>
                  <a:cubicBezTo>
                    <a:pt x="669" y="882"/>
                    <a:pt x="658" y="875"/>
                    <a:pt x="649" y="865"/>
                  </a:cubicBezTo>
                  <a:cubicBezTo>
                    <a:pt x="640" y="857"/>
                    <a:pt x="634" y="848"/>
                    <a:pt x="629" y="839"/>
                  </a:cubicBezTo>
                  <a:cubicBezTo>
                    <a:pt x="625" y="830"/>
                    <a:pt x="622" y="822"/>
                    <a:pt x="621" y="813"/>
                  </a:cubicBezTo>
                  <a:cubicBezTo>
                    <a:pt x="621" y="804"/>
                    <a:pt x="622" y="795"/>
                    <a:pt x="625" y="786"/>
                  </a:cubicBezTo>
                  <a:cubicBezTo>
                    <a:pt x="629" y="778"/>
                    <a:pt x="634" y="770"/>
                    <a:pt x="642" y="762"/>
                  </a:cubicBezTo>
                  <a:cubicBezTo>
                    <a:pt x="651" y="753"/>
                    <a:pt x="660" y="747"/>
                    <a:pt x="671" y="744"/>
                  </a:cubicBezTo>
                  <a:cubicBezTo>
                    <a:pt x="681" y="741"/>
                    <a:pt x="692" y="741"/>
                    <a:pt x="703" y="743"/>
                  </a:cubicBezTo>
                  <a:cubicBezTo>
                    <a:pt x="714" y="746"/>
                    <a:pt x="726" y="751"/>
                    <a:pt x="738" y="759"/>
                  </a:cubicBezTo>
                  <a:cubicBezTo>
                    <a:pt x="750" y="766"/>
                    <a:pt x="762" y="776"/>
                    <a:pt x="774" y="789"/>
                  </a:cubicBezTo>
                  <a:lnTo>
                    <a:pt x="796" y="811"/>
                  </a:lnTo>
                  <a:lnTo>
                    <a:pt x="809" y="798"/>
                  </a:lnTo>
                  <a:cubicBezTo>
                    <a:pt x="815" y="792"/>
                    <a:pt x="820" y="786"/>
                    <a:pt x="823" y="780"/>
                  </a:cubicBezTo>
                  <a:cubicBezTo>
                    <a:pt x="827" y="774"/>
                    <a:pt x="828" y="768"/>
                    <a:pt x="829" y="762"/>
                  </a:cubicBezTo>
                  <a:cubicBezTo>
                    <a:pt x="829" y="756"/>
                    <a:pt x="827" y="750"/>
                    <a:pt x="824" y="744"/>
                  </a:cubicBezTo>
                  <a:cubicBezTo>
                    <a:pt x="821" y="738"/>
                    <a:pt x="817" y="731"/>
                    <a:pt x="810" y="724"/>
                  </a:cubicBezTo>
                  <a:cubicBezTo>
                    <a:pt x="803" y="717"/>
                    <a:pt x="795" y="712"/>
                    <a:pt x="788" y="708"/>
                  </a:cubicBezTo>
                  <a:cubicBezTo>
                    <a:pt x="780" y="704"/>
                    <a:pt x="774" y="700"/>
                    <a:pt x="767" y="698"/>
                  </a:cubicBezTo>
                  <a:cubicBezTo>
                    <a:pt x="761" y="696"/>
                    <a:pt x="755" y="694"/>
                    <a:pt x="751" y="693"/>
                  </a:cubicBezTo>
                  <a:cubicBezTo>
                    <a:pt x="746" y="692"/>
                    <a:pt x="743" y="691"/>
                    <a:pt x="742" y="689"/>
                  </a:cubicBezTo>
                  <a:cubicBezTo>
                    <a:pt x="741" y="688"/>
                    <a:pt x="740" y="687"/>
                    <a:pt x="740" y="686"/>
                  </a:cubicBezTo>
                  <a:cubicBezTo>
                    <a:pt x="740" y="685"/>
                    <a:pt x="740" y="684"/>
                    <a:pt x="740" y="682"/>
                  </a:cubicBezTo>
                  <a:cubicBezTo>
                    <a:pt x="741" y="681"/>
                    <a:pt x="742" y="679"/>
                    <a:pt x="743" y="677"/>
                  </a:cubicBezTo>
                  <a:cubicBezTo>
                    <a:pt x="744" y="676"/>
                    <a:pt x="745" y="674"/>
                    <a:pt x="747" y="672"/>
                  </a:cubicBezTo>
                  <a:cubicBezTo>
                    <a:pt x="750" y="669"/>
                    <a:pt x="753" y="667"/>
                    <a:pt x="755" y="666"/>
                  </a:cubicBezTo>
                  <a:cubicBezTo>
                    <a:pt x="757" y="664"/>
                    <a:pt x="760" y="664"/>
                    <a:pt x="763" y="664"/>
                  </a:cubicBezTo>
                  <a:cubicBezTo>
                    <a:pt x="766" y="664"/>
                    <a:pt x="770" y="665"/>
                    <a:pt x="776" y="667"/>
                  </a:cubicBezTo>
                  <a:cubicBezTo>
                    <a:pt x="782" y="668"/>
                    <a:pt x="789" y="671"/>
                    <a:pt x="795" y="674"/>
                  </a:cubicBezTo>
                  <a:cubicBezTo>
                    <a:pt x="802" y="678"/>
                    <a:pt x="809" y="682"/>
                    <a:pt x="816" y="687"/>
                  </a:cubicBezTo>
                  <a:cubicBezTo>
                    <a:pt x="823" y="692"/>
                    <a:pt x="830" y="697"/>
                    <a:pt x="836" y="703"/>
                  </a:cubicBezTo>
                  <a:cubicBezTo>
                    <a:pt x="848" y="715"/>
                    <a:pt x="856" y="726"/>
                    <a:pt x="861" y="736"/>
                  </a:cubicBezTo>
                  <a:cubicBezTo>
                    <a:pt x="867" y="747"/>
                    <a:pt x="870" y="757"/>
                    <a:pt x="869" y="767"/>
                  </a:cubicBezTo>
                  <a:cubicBezTo>
                    <a:pt x="869" y="777"/>
                    <a:pt x="867" y="787"/>
                    <a:pt x="862" y="797"/>
                  </a:cubicBezTo>
                  <a:cubicBezTo>
                    <a:pt x="856" y="806"/>
                    <a:pt x="849" y="816"/>
                    <a:pt x="839" y="826"/>
                  </a:cubicBezTo>
                  <a:lnTo>
                    <a:pt x="732" y="933"/>
                  </a:lnTo>
                  <a:close/>
                  <a:moveTo>
                    <a:pt x="775" y="832"/>
                  </a:moveTo>
                  <a:lnTo>
                    <a:pt x="750" y="807"/>
                  </a:lnTo>
                  <a:cubicBezTo>
                    <a:pt x="742" y="799"/>
                    <a:pt x="735" y="792"/>
                    <a:pt x="728" y="788"/>
                  </a:cubicBezTo>
                  <a:cubicBezTo>
                    <a:pt x="720" y="783"/>
                    <a:pt x="713" y="781"/>
                    <a:pt x="707" y="779"/>
                  </a:cubicBezTo>
                  <a:cubicBezTo>
                    <a:pt x="700" y="778"/>
                    <a:pt x="694" y="778"/>
                    <a:pt x="689" y="780"/>
                  </a:cubicBezTo>
                  <a:cubicBezTo>
                    <a:pt x="683" y="782"/>
                    <a:pt x="678" y="785"/>
                    <a:pt x="673" y="790"/>
                  </a:cubicBezTo>
                  <a:cubicBezTo>
                    <a:pt x="665" y="799"/>
                    <a:pt x="661" y="808"/>
                    <a:pt x="661" y="818"/>
                  </a:cubicBezTo>
                  <a:cubicBezTo>
                    <a:pt x="662" y="828"/>
                    <a:pt x="667" y="838"/>
                    <a:pt x="676" y="847"/>
                  </a:cubicBezTo>
                  <a:cubicBezTo>
                    <a:pt x="684" y="855"/>
                    <a:pt x="693" y="860"/>
                    <a:pt x="703" y="863"/>
                  </a:cubicBezTo>
                  <a:cubicBezTo>
                    <a:pt x="714" y="865"/>
                    <a:pt x="726" y="866"/>
                    <a:pt x="742" y="865"/>
                  </a:cubicBezTo>
                  <a:lnTo>
                    <a:pt x="775" y="832"/>
                  </a:lnTo>
                  <a:close/>
                  <a:moveTo>
                    <a:pt x="822" y="1023"/>
                  </a:moveTo>
                  <a:cubicBezTo>
                    <a:pt x="821" y="1024"/>
                    <a:pt x="820" y="1025"/>
                    <a:pt x="819" y="1025"/>
                  </a:cubicBezTo>
                  <a:cubicBezTo>
                    <a:pt x="818" y="1025"/>
                    <a:pt x="817" y="1025"/>
                    <a:pt x="815" y="1025"/>
                  </a:cubicBezTo>
                  <a:cubicBezTo>
                    <a:pt x="814" y="1024"/>
                    <a:pt x="812" y="1023"/>
                    <a:pt x="810" y="1021"/>
                  </a:cubicBezTo>
                  <a:cubicBezTo>
                    <a:pt x="808" y="1020"/>
                    <a:pt x="805" y="1017"/>
                    <a:pt x="802" y="1014"/>
                  </a:cubicBezTo>
                  <a:cubicBezTo>
                    <a:pt x="799" y="1011"/>
                    <a:pt x="797" y="1009"/>
                    <a:pt x="795" y="1007"/>
                  </a:cubicBezTo>
                  <a:cubicBezTo>
                    <a:pt x="794" y="1005"/>
                    <a:pt x="793" y="1003"/>
                    <a:pt x="792" y="1001"/>
                  </a:cubicBezTo>
                  <a:cubicBezTo>
                    <a:pt x="791" y="1000"/>
                    <a:pt x="791" y="998"/>
                    <a:pt x="791" y="997"/>
                  </a:cubicBezTo>
                  <a:cubicBezTo>
                    <a:pt x="792" y="996"/>
                    <a:pt x="792" y="995"/>
                    <a:pt x="793" y="994"/>
                  </a:cubicBezTo>
                  <a:lnTo>
                    <a:pt x="1029" y="758"/>
                  </a:lnTo>
                  <a:cubicBezTo>
                    <a:pt x="1030" y="757"/>
                    <a:pt x="1031" y="757"/>
                    <a:pt x="1032" y="756"/>
                  </a:cubicBezTo>
                  <a:cubicBezTo>
                    <a:pt x="1033" y="756"/>
                    <a:pt x="1035" y="756"/>
                    <a:pt x="1036" y="757"/>
                  </a:cubicBezTo>
                  <a:cubicBezTo>
                    <a:pt x="1038" y="757"/>
                    <a:pt x="1040" y="759"/>
                    <a:pt x="1042" y="760"/>
                  </a:cubicBezTo>
                  <a:cubicBezTo>
                    <a:pt x="1044" y="762"/>
                    <a:pt x="1047" y="764"/>
                    <a:pt x="1049" y="767"/>
                  </a:cubicBezTo>
                  <a:cubicBezTo>
                    <a:pt x="1052" y="770"/>
                    <a:pt x="1055" y="772"/>
                    <a:pt x="1056" y="775"/>
                  </a:cubicBezTo>
                  <a:cubicBezTo>
                    <a:pt x="1058" y="777"/>
                    <a:pt x="1059" y="779"/>
                    <a:pt x="1060" y="780"/>
                  </a:cubicBezTo>
                  <a:cubicBezTo>
                    <a:pt x="1060" y="782"/>
                    <a:pt x="1060" y="783"/>
                    <a:pt x="1060" y="784"/>
                  </a:cubicBezTo>
                  <a:cubicBezTo>
                    <a:pt x="1060" y="785"/>
                    <a:pt x="1059" y="786"/>
                    <a:pt x="1058" y="787"/>
                  </a:cubicBezTo>
                  <a:lnTo>
                    <a:pt x="822" y="1023"/>
                  </a:lnTo>
                  <a:close/>
                  <a:moveTo>
                    <a:pt x="1003" y="1204"/>
                  </a:moveTo>
                  <a:cubicBezTo>
                    <a:pt x="1002" y="1205"/>
                    <a:pt x="1001" y="1206"/>
                    <a:pt x="1000" y="1206"/>
                  </a:cubicBezTo>
                  <a:cubicBezTo>
                    <a:pt x="999" y="1206"/>
                    <a:pt x="997" y="1206"/>
                    <a:pt x="996" y="1205"/>
                  </a:cubicBezTo>
                  <a:cubicBezTo>
                    <a:pt x="994" y="1204"/>
                    <a:pt x="992" y="1203"/>
                    <a:pt x="990" y="1201"/>
                  </a:cubicBezTo>
                  <a:cubicBezTo>
                    <a:pt x="988" y="1200"/>
                    <a:pt x="985" y="1197"/>
                    <a:pt x="982" y="1194"/>
                  </a:cubicBezTo>
                  <a:cubicBezTo>
                    <a:pt x="979" y="1191"/>
                    <a:pt x="976" y="1188"/>
                    <a:pt x="974" y="1186"/>
                  </a:cubicBezTo>
                  <a:cubicBezTo>
                    <a:pt x="973" y="1184"/>
                    <a:pt x="971" y="1182"/>
                    <a:pt x="970" y="1180"/>
                  </a:cubicBezTo>
                  <a:cubicBezTo>
                    <a:pt x="969" y="1178"/>
                    <a:pt x="969" y="1176"/>
                    <a:pt x="968" y="1175"/>
                  </a:cubicBezTo>
                  <a:cubicBezTo>
                    <a:pt x="968" y="1173"/>
                    <a:pt x="968" y="1171"/>
                    <a:pt x="969" y="1170"/>
                  </a:cubicBezTo>
                  <a:lnTo>
                    <a:pt x="990" y="1014"/>
                  </a:lnTo>
                  <a:lnTo>
                    <a:pt x="901" y="1103"/>
                  </a:lnTo>
                  <a:cubicBezTo>
                    <a:pt x="900" y="1104"/>
                    <a:pt x="899" y="1104"/>
                    <a:pt x="898" y="1104"/>
                  </a:cubicBezTo>
                  <a:cubicBezTo>
                    <a:pt x="897" y="1105"/>
                    <a:pt x="896" y="1104"/>
                    <a:pt x="894" y="1104"/>
                  </a:cubicBezTo>
                  <a:cubicBezTo>
                    <a:pt x="893" y="1103"/>
                    <a:pt x="891" y="1102"/>
                    <a:pt x="889" y="1100"/>
                  </a:cubicBezTo>
                  <a:cubicBezTo>
                    <a:pt x="887" y="1099"/>
                    <a:pt x="884" y="1096"/>
                    <a:pt x="881" y="1093"/>
                  </a:cubicBezTo>
                  <a:cubicBezTo>
                    <a:pt x="878" y="1091"/>
                    <a:pt x="876" y="1088"/>
                    <a:pt x="875" y="1086"/>
                  </a:cubicBezTo>
                  <a:cubicBezTo>
                    <a:pt x="873" y="1084"/>
                    <a:pt x="872" y="1082"/>
                    <a:pt x="871" y="1080"/>
                  </a:cubicBezTo>
                  <a:cubicBezTo>
                    <a:pt x="870" y="1079"/>
                    <a:pt x="870" y="1078"/>
                    <a:pt x="870" y="1077"/>
                  </a:cubicBezTo>
                  <a:cubicBezTo>
                    <a:pt x="871" y="1075"/>
                    <a:pt x="871" y="1074"/>
                    <a:pt x="872" y="1074"/>
                  </a:cubicBezTo>
                  <a:lnTo>
                    <a:pt x="1108" y="837"/>
                  </a:lnTo>
                  <a:cubicBezTo>
                    <a:pt x="1109" y="836"/>
                    <a:pt x="1110" y="836"/>
                    <a:pt x="1111" y="835"/>
                  </a:cubicBezTo>
                  <a:cubicBezTo>
                    <a:pt x="1113" y="835"/>
                    <a:pt x="1114" y="835"/>
                    <a:pt x="1116" y="836"/>
                  </a:cubicBezTo>
                  <a:cubicBezTo>
                    <a:pt x="1117" y="837"/>
                    <a:pt x="1119" y="838"/>
                    <a:pt x="1121" y="839"/>
                  </a:cubicBezTo>
                  <a:cubicBezTo>
                    <a:pt x="1123" y="841"/>
                    <a:pt x="1126" y="843"/>
                    <a:pt x="1129" y="846"/>
                  </a:cubicBezTo>
                  <a:cubicBezTo>
                    <a:pt x="1132" y="849"/>
                    <a:pt x="1134" y="852"/>
                    <a:pt x="1135" y="854"/>
                  </a:cubicBezTo>
                  <a:cubicBezTo>
                    <a:pt x="1137" y="856"/>
                    <a:pt x="1138" y="858"/>
                    <a:pt x="1139" y="859"/>
                  </a:cubicBezTo>
                  <a:cubicBezTo>
                    <a:pt x="1139" y="861"/>
                    <a:pt x="1140" y="862"/>
                    <a:pt x="1139" y="863"/>
                  </a:cubicBezTo>
                  <a:cubicBezTo>
                    <a:pt x="1139" y="865"/>
                    <a:pt x="1139" y="866"/>
                    <a:pt x="1138" y="867"/>
                  </a:cubicBezTo>
                  <a:lnTo>
                    <a:pt x="994" y="1010"/>
                  </a:lnTo>
                  <a:lnTo>
                    <a:pt x="1120" y="1004"/>
                  </a:lnTo>
                  <a:cubicBezTo>
                    <a:pt x="1122" y="1004"/>
                    <a:pt x="1124" y="1004"/>
                    <a:pt x="1126" y="1004"/>
                  </a:cubicBezTo>
                  <a:cubicBezTo>
                    <a:pt x="1128" y="1005"/>
                    <a:pt x="1130" y="1005"/>
                    <a:pt x="1132" y="1006"/>
                  </a:cubicBezTo>
                  <a:cubicBezTo>
                    <a:pt x="1134" y="1007"/>
                    <a:pt x="1136" y="1009"/>
                    <a:pt x="1138" y="1010"/>
                  </a:cubicBezTo>
                  <a:cubicBezTo>
                    <a:pt x="1140" y="1012"/>
                    <a:pt x="1143" y="1015"/>
                    <a:pt x="1145" y="1017"/>
                  </a:cubicBezTo>
                  <a:cubicBezTo>
                    <a:pt x="1148" y="1020"/>
                    <a:pt x="1151" y="1023"/>
                    <a:pt x="1153" y="1025"/>
                  </a:cubicBezTo>
                  <a:cubicBezTo>
                    <a:pt x="1154" y="1027"/>
                    <a:pt x="1156" y="1029"/>
                    <a:pt x="1156" y="1031"/>
                  </a:cubicBezTo>
                  <a:cubicBezTo>
                    <a:pt x="1157" y="1033"/>
                    <a:pt x="1158" y="1034"/>
                    <a:pt x="1158" y="1035"/>
                  </a:cubicBezTo>
                  <a:cubicBezTo>
                    <a:pt x="1157" y="1036"/>
                    <a:pt x="1157" y="1037"/>
                    <a:pt x="1156" y="1039"/>
                  </a:cubicBezTo>
                  <a:cubicBezTo>
                    <a:pt x="1154" y="1040"/>
                    <a:pt x="1153" y="1041"/>
                    <a:pt x="1150" y="1042"/>
                  </a:cubicBezTo>
                  <a:cubicBezTo>
                    <a:pt x="1148" y="1042"/>
                    <a:pt x="1145" y="1043"/>
                    <a:pt x="1142" y="1043"/>
                  </a:cubicBezTo>
                  <a:lnTo>
                    <a:pt x="1026" y="1043"/>
                  </a:lnTo>
                  <a:lnTo>
                    <a:pt x="1007" y="1191"/>
                  </a:lnTo>
                  <a:cubicBezTo>
                    <a:pt x="1007" y="1195"/>
                    <a:pt x="1006" y="1198"/>
                    <a:pt x="1006" y="1200"/>
                  </a:cubicBezTo>
                  <a:cubicBezTo>
                    <a:pt x="1005" y="1201"/>
                    <a:pt x="1004" y="1203"/>
                    <a:pt x="1003" y="1204"/>
                  </a:cubicBezTo>
                  <a:close/>
                  <a:moveTo>
                    <a:pt x="1071" y="1272"/>
                  </a:moveTo>
                  <a:cubicBezTo>
                    <a:pt x="1070" y="1273"/>
                    <a:pt x="1069" y="1274"/>
                    <a:pt x="1068" y="1274"/>
                  </a:cubicBezTo>
                  <a:cubicBezTo>
                    <a:pt x="1067" y="1274"/>
                    <a:pt x="1066" y="1274"/>
                    <a:pt x="1064" y="1273"/>
                  </a:cubicBezTo>
                  <a:cubicBezTo>
                    <a:pt x="1063" y="1273"/>
                    <a:pt x="1061" y="1272"/>
                    <a:pt x="1059" y="1270"/>
                  </a:cubicBezTo>
                  <a:cubicBezTo>
                    <a:pt x="1056" y="1268"/>
                    <a:pt x="1054" y="1266"/>
                    <a:pt x="1051" y="1263"/>
                  </a:cubicBezTo>
                  <a:cubicBezTo>
                    <a:pt x="1048" y="1260"/>
                    <a:pt x="1046" y="1258"/>
                    <a:pt x="1044" y="1256"/>
                  </a:cubicBezTo>
                  <a:cubicBezTo>
                    <a:pt x="1043" y="1254"/>
                    <a:pt x="1041" y="1252"/>
                    <a:pt x="1041" y="1250"/>
                  </a:cubicBezTo>
                  <a:cubicBezTo>
                    <a:pt x="1040" y="1249"/>
                    <a:pt x="1040" y="1247"/>
                    <a:pt x="1040" y="1246"/>
                  </a:cubicBezTo>
                  <a:cubicBezTo>
                    <a:pt x="1040" y="1245"/>
                    <a:pt x="1041" y="1244"/>
                    <a:pt x="1042" y="1243"/>
                  </a:cubicBezTo>
                  <a:lnTo>
                    <a:pt x="1201" y="1084"/>
                  </a:lnTo>
                  <a:cubicBezTo>
                    <a:pt x="1202" y="1083"/>
                    <a:pt x="1203" y="1083"/>
                    <a:pt x="1204" y="1082"/>
                  </a:cubicBezTo>
                  <a:cubicBezTo>
                    <a:pt x="1205" y="1082"/>
                    <a:pt x="1206" y="1082"/>
                    <a:pt x="1208" y="1083"/>
                  </a:cubicBezTo>
                  <a:cubicBezTo>
                    <a:pt x="1210" y="1084"/>
                    <a:pt x="1211" y="1085"/>
                    <a:pt x="1214" y="1086"/>
                  </a:cubicBezTo>
                  <a:cubicBezTo>
                    <a:pt x="1216" y="1088"/>
                    <a:pt x="1218" y="1090"/>
                    <a:pt x="1221" y="1093"/>
                  </a:cubicBezTo>
                  <a:cubicBezTo>
                    <a:pt x="1224" y="1096"/>
                    <a:pt x="1226" y="1099"/>
                    <a:pt x="1228" y="1101"/>
                  </a:cubicBezTo>
                  <a:cubicBezTo>
                    <a:pt x="1230" y="1103"/>
                    <a:pt x="1231" y="1105"/>
                    <a:pt x="1231" y="1106"/>
                  </a:cubicBezTo>
                  <a:cubicBezTo>
                    <a:pt x="1232" y="1108"/>
                    <a:pt x="1232" y="1109"/>
                    <a:pt x="1232" y="1110"/>
                  </a:cubicBezTo>
                  <a:cubicBezTo>
                    <a:pt x="1232" y="1111"/>
                    <a:pt x="1231" y="1112"/>
                    <a:pt x="1230" y="1113"/>
                  </a:cubicBezTo>
                  <a:lnTo>
                    <a:pt x="1071" y="1272"/>
                  </a:lnTo>
                  <a:close/>
                  <a:moveTo>
                    <a:pt x="1287" y="1063"/>
                  </a:moveTo>
                  <a:cubicBezTo>
                    <a:pt x="1280" y="1070"/>
                    <a:pt x="1275" y="1073"/>
                    <a:pt x="1269" y="1073"/>
                  </a:cubicBezTo>
                  <a:cubicBezTo>
                    <a:pt x="1264" y="1073"/>
                    <a:pt x="1258" y="1069"/>
                    <a:pt x="1251" y="1062"/>
                  </a:cubicBezTo>
                  <a:cubicBezTo>
                    <a:pt x="1245" y="1056"/>
                    <a:pt x="1241" y="1050"/>
                    <a:pt x="1241" y="1045"/>
                  </a:cubicBezTo>
                  <a:cubicBezTo>
                    <a:pt x="1241" y="1040"/>
                    <a:pt x="1244" y="1034"/>
                    <a:pt x="1251" y="1027"/>
                  </a:cubicBezTo>
                  <a:cubicBezTo>
                    <a:pt x="1258" y="1020"/>
                    <a:pt x="1264" y="1017"/>
                    <a:pt x="1269" y="1017"/>
                  </a:cubicBezTo>
                  <a:cubicBezTo>
                    <a:pt x="1274" y="1017"/>
                    <a:pt x="1280" y="1021"/>
                    <a:pt x="1287" y="1028"/>
                  </a:cubicBezTo>
                  <a:cubicBezTo>
                    <a:pt x="1294" y="1035"/>
                    <a:pt x="1297" y="1040"/>
                    <a:pt x="1297" y="1045"/>
                  </a:cubicBezTo>
                  <a:cubicBezTo>
                    <a:pt x="1297" y="1050"/>
                    <a:pt x="1294" y="1056"/>
                    <a:pt x="1287" y="1063"/>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94" name="Freeform 141"/>
            <p:cNvSpPr>
              <a:spLocks noEditPoints="1"/>
            </p:cNvSpPr>
            <p:nvPr/>
          </p:nvSpPr>
          <p:spPr bwMode="auto">
            <a:xfrm>
              <a:off x="2383" y="1626"/>
              <a:ext cx="112" cy="118"/>
            </a:xfrm>
            <a:custGeom>
              <a:avLst/>
              <a:gdLst>
                <a:gd name="T0" fmla="*/ 101 w 1064"/>
                <a:gd name="T1" fmla="*/ 316 h 1117"/>
                <a:gd name="T2" fmla="*/ 20 w 1064"/>
                <a:gd name="T3" fmla="*/ 118 h 1117"/>
                <a:gd name="T4" fmla="*/ 233 w 1064"/>
                <a:gd name="T5" fmla="*/ 10 h 1117"/>
                <a:gd name="T6" fmla="*/ 315 w 1064"/>
                <a:gd name="T7" fmla="*/ 207 h 1117"/>
                <a:gd name="T8" fmla="*/ 288 w 1064"/>
                <a:gd name="T9" fmla="*/ 152 h 1117"/>
                <a:gd name="T10" fmla="*/ 177 w 1064"/>
                <a:gd name="T11" fmla="*/ 44 h 1117"/>
                <a:gd name="T12" fmla="*/ 46 w 1064"/>
                <a:gd name="T13" fmla="*/ 173 h 1117"/>
                <a:gd name="T14" fmla="*/ 158 w 1064"/>
                <a:gd name="T15" fmla="*/ 281 h 1117"/>
                <a:gd name="T16" fmla="*/ 228 w 1064"/>
                <a:gd name="T17" fmla="*/ 448 h 1117"/>
                <a:gd name="T18" fmla="*/ 204 w 1064"/>
                <a:gd name="T19" fmla="*/ 430 h 1117"/>
                <a:gd name="T20" fmla="*/ 438 w 1064"/>
                <a:gd name="T21" fmla="*/ 181 h 1117"/>
                <a:gd name="T22" fmla="*/ 458 w 1064"/>
                <a:gd name="T23" fmla="*/ 190 h 1117"/>
                <a:gd name="T24" fmla="*/ 467 w 1064"/>
                <a:gd name="T25" fmla="*/ 210 h 1117"/>
                <a:gd name="T26" fmla="*/ 491 w 1064"/>
                <a:gd name="T27" fmla="*/ 559 h 1117"/>
                <a:gd name="T28" fmla="*/ 360 w 1064"/>
                <a:gd name="T29" fmla="*/ 535 h 1117"/>
                <a:gd name="T30" fmla="*/ 437 w 1064"/>
                <a:gd name="T31" fmla="*/ 600 h 1117"/>
                <a:gd name="T32" fmla="*/ 443 w 1064"/>
                <a:gd name="T33" fmla="*/ 615 h 1117"/>
                <a:gd name="T34" fmla="*/ 427 w 1064"/>
                <a:gd name="T35" fmla="*/ 628 h 1117"/>
                <a:gd name="T36" fmla="*/ 377 w 1064"/>
                <a:gd name="T37" fmla="*/ 604 h 1117"/>
                <a:gd name="T38" fmla="*/ 328 w 1064"/>
                <a:gd name="T39" fmla="*/ 462 h 1117"/>
                <a:gd name="T40" fmla="*/ 488 w 1064"/>
                <a:gd name="T41" fmla="*/ 381 h 1117"/>
                <a:gd name="T42" fmla="*/ 545 w 1064"/>
                <a:gd name="T43" fmla="*/ 519 h 1117"/>
                <a:gd name="T44" fmla="*/ 520 w 1064"/>
                <a:gd name="T45" fmla="*/ 473 h 1117"/>
                <a:gd name="T46" fmla="*/ 429 w 1064"/>
                <a:gd name="T47" fmla="*/ 417 h 1117"/>
                <a:gd name="T48" fmla="*/ 596 w 1064"/>
                <a:gd name="T49" fmla="*/ 773 h 1117"/>
                <a:gd name="T50" fmla="*/ 568 w 1064"/>
                <a:gd name="T51" fmla="*/ 776 h 1117"/>
                <a:gd name="T52" fmla="*/ 490 w 1064"/>
                <a:gd name="T53" fmla="*/ 709 h 1117"/>
                <a:gd name="T54" fmla="*/ 575 w 1064"/>
                <a:gd name="T55" fmla="*/ 554 h 1117"/>
                <a:gd name="T56" fmla="*/ 706 w 1064"/>
                <a:gd name="T57" fmla="*/ 590 h 1117"/>
                <a:gd name="T58" fmla="*/ 722 w 1064"/>
                <a:gd name="T59" fmla="*/ 641 h 1117"/>
                <a:gd name="T60" fmla="*/ 701 w 1064"/>
                <a:gd name="T61" fmla="*/ 663 h 1117"/>
                <a:gd name="T62" fmla="*/ 682 w 1064"/>
                <a:gd name="T63" fmla="*/ 619 h 1117"/>
                <a:gd name="T64" fmla="*/ 537 w 1064"/>
                <a:gd name="T65" fmla="*/ 648 h 1117"/>
                <a:gd name="T66" fmla="*/ 564 w 1064"/>
                <a:gd name="T67" fmla="*/ 738 h 1117"/>
                <a:gd name="T68" fmla="*/ 611 w 1064"/>
                <a:gd name="T69" fmla="*/ 752 h 1117"/>
                <a:gd name="T70" fmla="*/ 752 w 1064"/>
                <a:gd name="T71" fmla="*/ 967 h 1117"/>
                <a:gd name="T72" fmla="*/ 731 w 1064"/>
                <a:gd name="T73" fmla="*/ 957 h 1117"/>
                <a:gd name="T74" fmla="*/ 717 w 1064"/>
                <a:gd name="T75" fmla="*/ 932 h 1117"/>
                <a:gd name="T76" fmla="*/ 643 w 1064"/>
                <a:gd name="T77" fmla="*/ 866 h 1117"/>
                <a:gd name="T78" fmla="*/ 620 w 1064"/>
                <a:gd name="T79" fmla="*/ 843 h 1117"/>
                <a:gd name="T80" fmla="*/ 860 w 1064"/>
                <a:gd name="T81" fmla="*/ 598 h 1117"/>
                <a:gd name="T82" fmla="*/ 884 w 1064"/>
                <a:gd name="T83" fmla="*/ 616 h 1117"/>
                <a:gd name="T84" fmla="*/ 742 w 1064"/>
                <a:gd name="T85" fmla="*/ 773 h 1117"/>
                <a:gd name="T86" fmla="*/ 886 w 1064"/>
                <a:gd name="T87" fmla="*/ 773 h 1117"/>
                <a:gd name="T88" fmla="*/ 906 w 1064"/>
                <a:gd name="T89" fmla="*/ 798 h 1117"/>
                <a:gd name="T90" fmla="*/ 775 w 1064"/>
                <a:gd name="T91" fmla="*/ 805 h 1117"/>
                <a:gd name="T92" fmla="*/ 1020 w 1064"/>
                <a:gd name="T93" fmla="*/ 1072 h 1117"/>
                <a:gd name="T94" fmla="*/ 849 w 1064"/>
                <a:gd name="T95" fmla="*/ 1080 h 1117"/>
                <a:gd name="T96" fmla="*/ 857 w 1064"/>
                <a:gd name="T97" fmla="*/ 917 h 1117"/>
                <a:gd name="T98" fmla="*/ 1027 w 1064"/>
                <a:gd name="T99" fmla="*/ 909 h 1117"/>
                <a:gd name="T100" fmla="*/ 1020 w 1064"/>
                <a:gd name="T101" fmla="*/ 1072 h 1117"/>
                <a:gd name="T102" fmla="*/ 1020 w 1064"/>
                <a:gd name="T103" fmla="*/ 961 h 1117"/>
                <a:gd name="T104" fmla="*/ 918 w 1064"/>
                <a:gd name="T105" fmla="*/ 923 h 1117"/>
                <a:gd name="T106" fmla="*/ 857 w 1064"/>
                <a:gd name="T107" fmla="*/ 1029 h 1117"/>
                <a:gd name="T108" fmla="*/ 959 w 1064"/>
                <a:gd name="T109" fmla="*/ 1067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64" h="1117">
                  <a:moveTo>
                    <a:pt x="272" y="262"/>
                  </a:moveTo>
                  <a:cubicBezTo>
                    <a:pt x="254" y="281"/>
                    <a:pt x="235" y="295"/>
                    <a:pt x="216" y="306"/>
                  </a:cubicBezTo>
                  <a:cubicBezTo>
                    <a:pt x="196" y="316"/>
                    <a:pt x="177" y="322"/>
                    <a:pt x="158" y="324"/>
                  </a:cubicBezTo>
                  <a:cubicBezTo>
                    <a:pt x="139" y="326"/>
                    <a:pt x="120" y="323"/>
                    <a:pt x="101" y="316"/>
                  </a:cubicBezTo>
                  <a:cubicBezTo>
                    <a:pt x="83" y="308"/>
                    <a:pt x="65" y="296"/>
                    <a:pt x="47" y="278"/>
                  </a:cubicBezTo>
                  <a:cubicBezTo>
                    <a:pt x="30" y="261"/>
                    <a:pt x="18" y="244"/>
                    <a:pt x="10" y="226"/>
                  </a:cubicBezTo>
                  <a:cubicBezTo>
                    <a:pt x="3" y="208"/>
                    <a:pt x="0" y="190"/>
                    <a:pt x="2" y="172"/>
                  </a:cubicBezTo>
                  <a:cubicBezTo>
                    <a:pt x="3" y="154"/>
                    <a:pt x="9" y="136"/>
                    <a:pt x="20" y="118"/>
                  </a:cubicBezTo>
                  <a:cubicBezTo>
                    <a:pt x="30" y="99"/>
                    <a:pt x="45" y="81"/>
                    <a:pt x="64" y="62"/>
                  </a:cubicBezTo>
                  <a:cubicBezTo>
                    <a:pt x="82" y="44"/>
                    <a:pt x="100" y="29"/>
                    <a:pt x="119" y="19"/>
                  </a:cubicBezTo>
                  <a:cubicBezTo>
                    <a:pt x="138" y="9"/>
                    <a:pt x="158" y="3"/>
                    <a:pt x="177" y="1"/>
                  </a:cubicBezTo>
                  <a:cubicBezTo>
                    <a:pt x="196" y="0"/>
                    <a:pt x="214" y="2"/>
                    <a:pt x="233" y="10"/>
                  </a:cubicBezTo>
                  <a:cubicBezTo>
                    <a:pt x="252" y="17"/>
                    <a:pt x="270" y="30"/>
                    <a:pt x="287" y="47"/>
                  </a:cubicBezTo>
                  <a:cubicBezTo>
                    <a:pt x="304" y="64"/>
                    <a:pt x="316" y="81"/>
                    <a:pt x="324" y="99"/>
                  </a:cubicBezTo>
                  <a:cubicBezTo>
                    <a:pt x="331" y="117"/>
                    <a:pt x="334" y="134"/>
                    <a:pt x="333" y="152"/>
                  </a:cubicBezTo>
                  <a:cubicBezTo>
                    <a:pt x="331" y="170"/>
                    <a:pt x="326" y="189"/>
                    <a:pt x="315" y="207"/>
                  </a:cubicBezTo>
                  <a:cubicBezTo>
                    <a:pt x="305" y="225"/>
                    <a:pt x="291" y="244"/>
                    <a:pt x="272" y="262"/>
                  </a:cubicBezTo>
                  <a:close/>
                  <a:moveTo>
                    <a:pt x="238" y="232"/>
                  </a:moveTo>
                  <a:cubicBezTo>
                    <a:pt x="251" y="219"/>
                    <a:pt x="262" y="206"/>
                    <a:pt x="271" y="193"/>
                  </a:cubicBezTo>
                  <a:cubicBezTo>
                    <a:pt x="279" y="179"/>
                    <a:pt x="285" y="166"/>
                    <a:pt x="288" y="152"/>
                  </a:cubicBezTo>
                  <a:cubicBezTo>
                    <a:pt x="291" y="139"/>
                    <a:pt x="290" y="125"/>
                    <a:pt x="286" y="112"/>
                  </a:cubicBezTo>
                  <a:cubicBezTo>
                    <a:pt x="281" y="98"/>
                    <a:pt x="273" y="85"/>
                    <a:pt x="259" y="71"/>
                  </a:cubicBezTo>
                  <a:cubicBezTo>
                    <a:pt x="246" y="58"/>
                    <a:pt x="233" y="50"/>
                    <a:pt x="219" y="46"/>
                  </a:cubicBezTo>
                  <a:cubicBezTo>
                    <a:pt x="205" y="42"/>
                    <a:pt x="191" y="41"/>
                    <a:pt x="177" y="44"/>
                  </a:cubicBezTo>
                  <a:cubicBezTo>
                    <a:pt x="163" y="46"/>
                    <a:pt x="150" y="52"/>
                    <a:pt x="136" y="61"/>
                  </a:cubicBezTo>
                  <a:cubicBezTo>
                    <a:pt x="123" y="69"/>
                    <a:pt x="110" y="80"/>
                    <a:pt x="98" y="92"/>
                  </a:cubicBezTo>
                  <a:cubicBezTo>
                    <a:pt x="85" y="105"/>
                    <a:pt x="73" y="119"/>
                    <a:pt x="64" y="132"/>
                  </a:cubicBezTo>
                  <a:cubicBezTo>
                    <a:pt x="55" y="146"/>
                    <a:pt x="49" y="159"/>
                    <a:pt x="46" y="173"/>
                  </a:cubicBezTo>
                  <a:cubicBezTo>
                    <a:pt x="43" y="186"/>
                    <a:pt x="44" y="200"/>
                    <a:pt x="48" y="213"/>
                  </a:cubicBezTo>
                  <a:cubicBezTo>
                    <a:pt x="53" y="227"/>
                    <a:pt x="62" y="240"/>
                    <a:pt x="75" y="253"/>
                  </a:cubicBezTo>
                  <a:cubicBezTo>
                    <a:pt x="88" y="267"/>
                    <a:pt x="102" y="275"/>
                    <a:pt x="116" y="279"/>
                  </a:cubicBezTo>
                  <a:cubicBezTo>
                    <a:pt x="130" y="284"/>
                    <a:pt x="144" y="284"/>
                    <a:pt x="158" y="281"/>
                  </a:cubicBezTo>
                  <a:cubicBezTo>
                    <a:pt x="172" y="278"/>
                    <a:pt x="186" y="273"/>
                    <a:pt x="199" y="264"/>
                  </a:cubicBezTo>
                  <a:cubicBezTo>
                    <a:pt x="213" y="255"/>
                    <a:pt x="225" y="245"/>
                    <a:pt x="238" y="232"/>
                  </a:cubicBezTo>
                  <a:close/>
                  <a:moveTo>
                    <a:pt x="231" y="447"/>
                  </a:moveTo>
                  <a:cubicBezTo>
                    <a:pt x="230" y="448"/>
                    <a:pt x="229" y="448"/>
                    <a:pt x="228" y="448"/>
                  </a:cubicBezTo>
                  <a:cubicBezTo>
                    <a:pt x="227" y="449"/>
                    <a:pt x="226" y="448"/>
                    <a:pt x="224" y="448"/>
                  </a:cubicBezTo>
                  <a:cubicBezTo>
                    <a:pt x="223" y="447"/>
                    <a:pt x="221" y="446"/>
                    <a:pt x="219" y="444"/>
                  </a:cubicBezTo>
                  <a:cubicBezTo>
                    <a:pt x="217" y="443"/>
                    <a:pt x="214" y="440"/>
                    <a:pt x="211" y="437"/>
                  </a:cubicBezTo>
                  <a:cubicBezTo>
                    <a:pt x="208" y="435"/>
                    <a:pt x="206" y="432"/>
                    <a:pt x="204" y="430"/>
                  </a:cubicBezTo>
                  <a:cubicBezTo>
                    <a:pt x="203" y="428"/>
                    <a:pt x="202" y="426"/>
                    <a:pt x="201" y="424"/>
                  </a:cubicBezTo>
                  <a:cubicBezTo>
                    <a:pt x="200" y="423"/>
                    <a:pt x="200" y="422"/>
                    <a:pt x="200" y="421"/>
                  </a:cubicBezTo>
                  <a:cubicBezTo>
                    <a:pt x="201" y="419"/>
                    <a:pt x="201" y="418"/>
                    <a:pt x="202" y="418"/>
                  </a:cubicBezTo>
                  <a:lnTo>
                    <a:pt x="438" y="181"/>
                  </a:lnTo>
                  <a:cubicBezTo>
                    <a:pt x="439" y="180"/>
                    <a:pt x="440" y="180"/>
                    <a:pt x="441" y="179"/>
                  </a:cubicBezTo>
                  <a:cubicBezTo>
                    <a:pt x="443" y="179"/>
                    <a:pt x="444" y="179"/>
                    <a:pt x="445" y="180"/>
                  </a:cubicBezTo>
                  <a:cubicBezTo>
                    <a:pt x="447" y="181"/>
                    <a:pt x="449" y="182"/>
                    <a:pt x="451" y="183"/>
                  </a:cubicBezTo>
                  <a:cubicBezTo>
                    <a:pt x="453" y="185"/>
                    <a:pt x="456" y="187"/>
                    <a:pt x="458" y="190"/>
                  </a:cubicBezTo>
                  <a:cubicBezTo>
                    <a:pt x="461" y="193"/>
                    <a:pt x="464" y="196"/>
                    <a:pt x="465" y="198"/>
                  </a:cubicBezTo>
                  <a:cubicBezTo>
                    <a:pt x="467" y="200"/>
                    <a:pt x="468" y="202"/>
                    <a:pt x="469" y="203"/>
                  </a:cubicBezTo>
                  <a:cubicBezTo>
                    <a:pt x="469" y="205"/>
                    <a:pt x="469" y="206"/>
                    <a:pt x="469" y="207"/>
                  </a:cubicBezTo>
                  <a:cubicBezTo>
                    <a:pt x="469" y="208"/>
                    <a:pt x="468" y="210"/>
                    <a:pt x="467" y="210"/>
                  </a:cubicBezTo>
                  <a:lnTo>
                    <a:pt x="231" y="447"/>
                  </a:lnTo>
                  <a:close/>
                  <a:moveTo>
                    <a:pt x="515" y="557"/>
                  </a:moveTo>
                  <a:cubicBezTo>
                    <a:pt x="510" y="562"/>
                    <a:pt x="506" y="564"/>
                    <a:pt x="502" y="564"/>
                  </a:cubicBezTo>
                  <a:cubicBezTo>
                    <a:pt x="497" y="563"/>
                    <a:pt x="494" y="562"/>
                    <a:pt x="491" y="559"/>
                  </a:cubicBezTo>
                  <a:lnTo>
                    <a:pt x="386" y="454"/>
                  </a:lnTo>
                  <a:cubicBezTo>
                    <a:pt x="377" y="463"/>
                    <a:pt x="370" y="472"/>
                    <a:pt x="365" y="480"/>
                  </a:cubicBezTo>
                  <a:cubicBezTo>
                    <a:pt x="359" y="489"/>
                    <a:pt x="356" y="498"/>
                    <a:pt x="355" y="508"/>
                  </a:cubicBezTo>
                  <a:cubicBezTo>
                    <a:pt x="355" y="517"/>
                    <a:pt x="356" y="526"/>
                    <a:pt x="360" y="535"/>
                  </a:cubicBezTo>
                  <a:cubicBezTo>
                    <a:pt x="364" y="545"/>
                    <a:pt x="371" y="554"/>
                    <a:pt x="380" y="564"/>
                  </a:cubicBezTo>
                  <a:cubicBezTo>
                    <a:pt x="388" y="571"/>
                    <a:pt x="395" y="577"/>
                    <a:pt x="402" y="582"/>
                  </a:cubicBezTo>
                  <a:cubicBezTo>
                    <a:pt x="409" y="587"/>
                    <a:pt x="416" y="591"/>
                    <a:pt x="422" y="593"/>
                  </a:cubicBezTo>
                  <a:cubicBezTo>
                    <a:pt x="428" y="596"/>
                    <a:pt x="433" y="598"/>
                    <a:pt x="437" y="600"/>
                  </a:cubicBezTo>
                  <a:cubicBezTo>
                    <a:pt x="441" y="601"/>
                    <a:pt x="443" y="603"/>
                    <a:pt x="445" y="604"/>
                  </a:cubicBezTo>
                  <a:cubicBezTo>
                    <a:pt x="446" y="605"/>
                    <a:pt x="446" y="606"/>
                    <a:pt x="446" y="607"/>
                  </a:cubicBezTo>
                  <a:cubicBezTo>
                    <a:pt x="447" y="608"/>
                    <a:pt x="447" y="609"/>
                    <a:pt x="446" y="611"/>
                  </a:cubicBezTo>
                  <a:cubicBezTo>
                    <a:pt x="446" y="612"/>
                    <a:pt x="445" y="613"/>
                    <a:pt x="443" y="615"/>
                  </a:cubicBezTo>
                  <a:cubicBezTo>
                    <a:pt x="442" y="616"/>
                    <a:pt x="440" y="618"/>
                    <a:pt x="438" y="620"/>
                  </a:cubicBezTo>
                  <a:cubicBezTo>
                    <a:pt x="437" y="622"/>
                    <a:pt x="435" y="623"/>
                    <a:pt x="434" y="624"/>
                  </a:cubicBezTo>
                  <a:cubicBezTo>
                    <a:pt x="433" y="625"/>
                    <a:pt x="432" y="626"/>
                    <a:pt x="431" y="627"/>
                  </a:cubicBezTo>
                  <a:cubicBezTo>
                    <a:pt x="430" y="628"/>
                    <a:pt x="429" y="628"/>
                    <a:pt x="427" y="628"/>
                  </a:cubicBezTo>
                  <a:cubicBezTo>
                    <a:pt x="426" y="629"/>
                    <a:pt x="425" y="629"/>
                    <a:pt x="424" y="629"/>
                  </a:cubicBezTo>
                  <a:cubicBezTo>
                    <a:pt x="423" y="629"/>
                    <a:pt x="420" y="628"/>
                    <a:pt x="415" y="626"/>
                  </a:cubicBezTo>
                  <a:cubicBezTo>
                    <a:pt x="410" y="624"/>
                    <a:pt x="405" y="622"/>
                    <a:pt x="398" y="618"/>
                  </a:cubicBezTo>
                  <a:cubicBezTo>
                    <a:pt x="392" y="614"/>
                    <a:pt x="385" y="610"/>
                    <a:pt x="377" y="604"/>
                  </a:cubicBezTo>
                  <a:cubicBezTo>
                    <a:pt x="369" y="599"/>
                    <a:pt x="361" y="592"/>
                    <a:pt x="354" y="585"/>
                  </a:cubicBezTo>
                  <a:cubicBezTo>
                    <a:pt x="341" y="572"/>
                    <a:pt x="331" y="558"/>
                    <a:pt x="325" y="545"/>
                  </a:cubicBezTo>
                  <a:cubicBezTo>
                    <a:pt x="319" y="531"/>
                    <a:pt x="316" y="518"/>
                    <a:pt x="316" y="504"/>
                  </a:cubicBezTo>
                  <a:cubicBezTo>
                    <a:pt x="317" y="490"/>
                    <a:pt x="321" y="476"/>
                    <a:pt x="328" y="462"/>
                  </a:cubicBezTo>
                  <a:cubicBezTo>
                    <a:pt x="336" y="447"/>
                    <a:pt x="346" y="433"/>
                    <a:pt x="361" y="419"/>
                  </a:cubicBezTo>
                  <a:cubicBezTo>
                    <a:pt x="375" y="405"/>
                    <a:pt x="389" y="394"/>
                    <a:pt x="403" y="387"/>
                  </a:cubicBezTo>
                  <a:cubicBezTo>
                    <a:pt x="417" y="380"/>
                    <a:pt x="432" y="375"/>
                    <a:pt x="446" y="375"/>
                  </a:cubicBezTo>
                  <a:cubicBezTo>
                    <a:pt x="460" y="374"/>
                    <a:pt x="474" y="376"/>
                    <a:pt x="488" y="381"/>
                  </a:cubicBezTo>
                  <a:cubicBezTo>
                    <a:pt x="501" y="387"/>
                    <a:pt x="514" y="395"/>
                    <a:pt x="525" y="407"/>
                  </a:cubicBezTo>
                  <a:cubicBezTo>
                    <a:pt x="538" y="419"/>
                    <a:pt x="547" y="432"/>
                    <a:pt x="551" y="445"/>
                  </a:cubicBezTo>
                  <a:cubicBezTo>
                    <a:pt x="556" y="457"/>
                    <a:pt x="558" y="470"/>
                    <a:pt x="557" y="482"/>
                  </a:cubicBezTo>
                  <a:cubicBezTo>
                    <a:pt x="556" y="495"/>
                    <a:pt x="552" y="507"/>
                    <a:pt x="545" y="519"/>
                  </a:cubicBezTo>
                  <a:cubicBezTo>
                    <a:pt x="539" y="531"/>
                    <a:pt x="531" y="542"/>
                    <a:pt x="520" y="552"/>
                  </a:cubicBezTo>
                  <a:lnTo>
                    <a:pt x="515" y="557"/>
                  </a:lnTo>
                  <a:close/>
                  <a:moveTo>
                    <a:pt x="494" y="519"/>
                  </a:moveTo>
                  <a:cubicBezTo>
                    <a:pt x="510" y="504"/>
                    <a:pt x="518" y="489"/>
                    <a:pt x="520" y="473"/>
                  </a:cubicBezTo>
                  <a:cubicBezTo>
                    <a:pt x="522" y="457"/>
                    <a:pt x="515" y="442"/>
                    <a:pt x="501" y="428"/>
                  </a:cubicBezTo>
                  <a:cubicBezTo>
                    <a:pt x="494" y="421"/>
                    <a:pt x="486" y="416"/>
                    <a:pt x="478" y="413"/>
                  </a:cubicBezTo>
                  <a:cubicBezTo>
                    <a:pt x="470" y="410"/>
                    <a:pt x="462" y="409"/>
                    <a:pt x="454" y="410"/>
                  </a:cubicBezTo>
                  <a:cubicBezTo>
                    <a:pt x="445" y="411"/>
                    <a:pt x="437" y="413"/>
                    <a:pt x="429" y="417"/>
                  </a:cubicBezTo>
                  <a:cubicBezTo>
                    <a:pt x="421" y="421"/>
                    <a:pt x="414" y="426"/>
                    <a:pt x="407" y="433"/>
                  </a:cubicBezTo>
                  <a:lnTo>
                    <a:pt x="494" y="519"/>
                  </a:lnTo>
                  <a:close/>
                  <a:moveTo>
                    <a:pt x="601" y="768"/>
                  </a:moveTo>
                  <a:cubicBezTo>
                    <a:pt x="599" y="770"/>
                    <a:pt x="597" y="772"/>
                    <a:pt x="596" y="773"/>
                  </a:cubicBezTo>
                  <a:cubicBezTo>
                    <a:pt x="594" y="774"/>
                    <a:pt x="593" y="775"/>
                    <a:pt x="591" y="776"/>
                  </a:cubicBezTo>
                  <a:cubicBezTo>
                    <a:pt x="590" y="777"/>
                    <a:pt x="589" y="777"/>
                    <a:pt x="588" y="778"/>
                  </a:cubicBezTo>
                  <a:cubicBezTo>
                    <a:pt x="586" y="778"/>
                    <a:pt x="584" y="778"/>
                    <a:pt x="581" y="778"/>
                  </a:cubicBezTo>
                  <a:cubicBezTo>
                    <a:pt x="578" y="778"/>
                    <a:pt x="574" y="777"/>
                    <a:pt x="568" y="776"/>
                  </a:cubicBezTo>
                  <a:cubicBezTo>
                    <a:pt x="563" y="775"/>
                    <a:pt x="557" y="773"/>
                    <a:pt x="551" y="770"/>
                  </a:cubicBezTo>
                  <a:cubicBezTo>
                    <a:pt x="544" y="767"/>
                    <a:pt x="538" y="764"/>
                    <a:pt x="532" y="760"/>
                  </a:cubicBezTo>
                  <a:cubicBezTo>
                    <a:pt x="526" y="756"/>
                    <a:pt x="520" y="751"/>
                    <a:pt x="514" y="745"/>
                  </a:cubicBezTo>
                  <a:cubicBezTo>
                    <a:pt x="503" y="734"/>
                    <a:pt x="495" y="722"/>
                    <a:pt x="490" y="709"/>
                  </a:cubicBezTo>
                  <a:cubicBezTo>
                    <a:pt x="485" y="697"/>
                    <a:pt x="483" y="684"/>
                    <a:pt x="484" y="670"/>
                  </a:cubicBezTo>
                  <a:cubicBezTo>
                    <a:pt x="485" y="657"/>
                    <a:pt x="490" y="644"/>
                    <a:pt x="497" y="630"/>
                  </a:cubicBezTo>
                  <a:cubicBezTo>
                    <a:pt x="504" y="616"/>
                    <a:pt x="515" y="603"/>
                    <a:pt x="529" y="589"/>
                  </a:cubicBezTo>
                  <a:cubicBezTo>
                    <a:pt x="544" y="573"/>
                    <a:pt x="560" y="562"/>
                    <a:pt x="575" y="554"/>
                  </a:cubicBezTo>
                  <a:cubicBezTo>
                    <a:pt x="590" y="547"/>
                    <a:pt x="605" y="543"/>
                    <a:pt x="618" y="542"/>
                  </a:cubicBezTo>
                  <a:cubicBezTo>
                    <a:pt x="632" y="542"/>
                    <a:pt x="645" y="544"/>
                    <a:pt x="658" y="550"/>
                  </a:cubicBezTo>
                  <a:cubicBezTo>
                    <a:pt x="670" y="555"/>
                    <a:pt x="682" y="563"/>
                    <a:pt x="692" y="574"/>
                  </a:cubicBezTo>
                  <a:cubicBezTo>
                    <a:pt x="697" y="579"/>
                    <a:pt x="702" y="584"/>
                    <a:pt x="706" y="590"/>
                  </a:cubicBezTo>
                  <a:cubicBezTo>
                    <a:pt x="710" y="596"/>
                    <a:pt x="713" y="601"/>
                    <a:pt x="715" y="607"/>
                  </a:cubicBezTo>
                  <a:cubicBezTo>
                    <a:pt x="718" y="613"/>
                    <a:pt x="719" y="618"/>
                    <a:pt x="721" y="623"/>
                  </a:cubicBezTo>
                  <a:cubicBezTo>
                    <a:pt x="722" y="628"/>
                    <a:pt x="722" y="632"/>
                    <a:pt x="722" y="635"/>
                  </a:cubicBezTo>
                  <a:cubicBezTo>
                    <a:pt x="722" y="638"/>
                    <a:pt x="722" y="640"/>
                    <a:pt x="722" y="641"/>
                  </a:cubicBezTo>
                  <a:cubicBezTo>
                    <a:pt x="721" y="643"/>
                    <a:pt x="721" y="644"/>
                    <a:pt x="720" y="645"/>
                  </a:cubicBezTo>
                  <a:cubicBezTo>
                    <a:pt x="719" y="647"/>
                    <a:pt x="718" y="648"/>
                    <a:pt x="717" y="650"/>
                  </a:cubicBezTo>
                  <a:cubicBezTo>
                    <a:pt x="716" y="651"/>
                    <a:pt x="714" y="653"/>
                    <a:pt x="712" y="655"/>
                  </a:cubicBezTo>
                  <a:cubicBezTo>
                    <a:pt x="707" y="660"/>
                    <a:pt x="704" y="663"/>
                    <a:pt x="701" y="663"/>
                  </a:cubicBezTo>
                  <a:cubicBezTo>
                    <a:pt x="698" y="664"/>
                    <a:pt x="696" y="664"/>
                    <a:pt x="694" y="662"/>
                  </a:cubicBezTo>
                  <a:cubicBezTo>
                    <a:pt x="692" y="661"/>
                    <a:pt x="691" y="658"/>
                    <a:pt x="691" y="653"/>
                  </a:cubicBezTo>
                  <a:cubicBezTo>
                    <a:pt x="691" y="649"/>
                    <a:pt x="690" y="644"/>
                    <a:pt x="689" y="638"/>
                  </a:cubicBezTo>
                  <a:cubicBezTo>
                    <a:pt x="687" y="632"/>
                    <a:pt x="685" y="626"/>
                    <a:pt x="682" y="619"/>
                  </a:cubicBezTo>
                  <a:cubicBezTo>
                    <a:pt x="679" y="612"/>
                    <a:pt x="674" y="605"/>
                    <a:pt x="667" y="598"/>
                  </a:cubicBezTo>
                  <a:cubicBezTo>
                    <a:pt x="653" y="584"/>
                    <a:pt x="637" y="579"/>
                    <a:pt x="619" y="582"/>
                  </a:cubicBezTo>
                  <a:cubicBezTo>
                    <a:pt x="601" y="585"/>
                    <a:pt x="581" y="597"/>
                    <a:pt x="561" y="618"/>
                  </a:cubicBezTo>
                  <a:cubicBezTo>
                    <a:pt x="551" y="628"/>
                    <a:pt x="543" y="638"/>
                    <a:pt x="537" y="648"/>
                  </a:cubicBezTo>
                  <a:cubicBezTo>
                    <a:pt x="531" y="657"/>
                    <a:pt x="527" y="667"/>
                    <a:pt x="526" y="676"/>
                  </a:cubicBezTo>
                  <a:cubicBezTo>
                    <a:pt x="525" y="685"/>
                    <a:pt x="525" y="693"/>
                    <a:pt x="528" y="701"/>
                  </a:cubicBezTo>
                  <a:cubicBezTo>
                    <a:pt x="531" y="709"/>
                    <a:pt x="536" y="717"/>
                    <a:pt x="543" y="724"/>
                  </a:cubicBezTo>
                  <a:cubicBezTo>
                    <a:pt x="550" y="730"/>
                    <a:pt x="557" y="735"/>
                    <a:pt x="564" y="738"/>
                  </a:cubicBezTo>
                  <a:cubicBezTo>
                    <a:pt x="571" y="741"/>
                    <a:pt x="578" y="743"/>
                    <a:pt x="584" y="744"/>
                  </a:cubicBezTo>
                  <a:cubicBezTo>
                    <a:pt x="591" y="746"/>
                    <a:pt x="596" y="746"/>
                    <a:pt x="601" y="747"/>
                  </a:cubicBezTo>
                  <a:cubicBezTo>
                    <a:pt x="605" y="747"/>
                    <a:pt x="608" y="748"/>
                    <a:pt x="610" y="750"/>
                  </a:cubicBezTo>
                  <a:cubicBezTo>
                    <a:pt x="610" y="750"/>
                    <a:pt x="611" y="751"/>
                    <a:pt x="611" y="752"/>
                  </a:cubicBezTo>
                  <a:cubicBezTo>
                    <a:pt x="611" y="754"/>
                    <a:pt x="611" y="755"/>
                    <a:pt x="610" y="756"/>
                  </a:cubicBezTo>
                  <a:cubicBezTo>
                    <a:pt x="609" y="758"/>
                    <a:pt x="608" y="760"/>
                    <a:pt x="607" y="762"/>
                  </a:cubicBezTo>
                  <a:cubicBezTo>
                    <a:pt x="605" y="763"/>
                    <a:pt x="603" y="766"/>
                    <a:pt x="601" y="768"/>
                  </a:cubicBezTo>
                  <a:close/>
                  <a:moveTo>
                    <a:pt x="752" y="967"/>
                  </a:moveTo>
                  <a:cubicBezTo>
                    <a:pt x="751" y="968"/>
                    <a:pt x="750" y="968"/>
                    <a:pt x="748" y="968"/>
                  </a:cubicBezTo>
                  <a:cubicBezTo>
                    <a:pt x="747" y="969"/>
                    <a:pt x="746" y="968"/>
                    <a:pt x="744" y="968"/>
                  </a:cubicBezTo>
                  <a:cubicBezTo>
                    <a:pt x="743" y="967"/>
                    <a:pt x="741" y="966"/>
                    <a:pt x="738" y="964"/>
                  </a:cubicBezTo>
                  <a:cubicBezTo>
                    <a:pt x="736" y="962"/>
                    <a:pt x="734" y="960"/>
                    <a:pt x="731" y="957"/>
                  </a:cubicBezTo>
                  <a:cubicBezTo>
                    <a:pt x="727" y="954"/>
                    <a:pt x="725" y="951"/>
                    <a:pt x="723" y="949"/>
                  </a:cubicBezTo>
                  <a:cubicBezTo>
                    <a:pt x="721" y="946"/>
                    <a:pt x="720" y="944"/>
                    <a:pt x="719" y="943"/>
                  </a:cubicBezTo>
                  <a:cubicBezTo>
                    <a:pt x="718" y="941"/>
                    <a:pt x="717" y="939"/>
                    <a:pt x="717" y="937"/>
                  </a:cubicBezTo>
                  <a:cubicBezTo>
                    <a:pt x="717" y="936"/>
                    <a:pt x="717" y="934"/>
                    <a:pt x="717" y="932"/>
                  </a:cubicBezTo>
                  <a:lnTo>
                    <a:pt x="738" y="777"/>
                  </a:lnTo>
                  <a:lnTo>
                    <a:pt x="650" y="865"/>
                  </a:lnTo>
                  <a:cubicBezTo>
                    <a:pt x="649" y="866"/>
                    <a:pt x="648" y="867"/>
                    <a:pt x="647" y="867"/>
                  </a:cubicBezTo>
                  <a:cubicBezTo>
                    <a:pt x="646" y="867"/>
                    <a:pt x="644" y="867"/>
                    <a:pt x="643" y="866"/>
                  </a:cubicBezTo>
                  <a:cubicBezTo>
                    <a:pt x="641" y="866"/>
                    <a:pt x="639" y="865"/>
                    <a:pt x="637" y="863"/>
                  </a:cubicBezTo>
                  <a:cubicBezTo>
                    <a:pt x="635" y="861"/>
                    <a:pt x="633" y="859"/>
                    <a:pt x="630" y="856"/>
                  </a:cubicBezTo>
                  <a:cubicBezTo>
                    <a:pt x="627" y="853"/>
                    <a:pt x="625" y="851"/>
                    <a:pt x="623" y="849"/>
                  </a:cubicBezTo>
                  <a:cubicBezTo>
                    <a:pt x="621" y="847"/>
                    <a:pt x="620" y="845"/>
                    <a:pt x="620" y="843"/>
                  </a:cubicBezTo>
                  <a:cubicBezTo>
                    <a:pt x="619" y="842"/>
                    <a:pt x="619" y="840"/>
                    <a:pt x="619" y="839"/>
                  </a:cubicBezTo>
                  <a:cubicBezTo>
                    <a:pt x="619" y="838"/>
                    <a:pt x="620" y="837"/>
                    <a:pt x="621" y="836"/>
                  </a:cubicBezTo>
                  <a:lnTo>
                    <a:pt x="857" y="600"/>
                  </a:lnTo>
                  <a:cubicBezTo>
                    <a:pt x="858" y="599"/>
                    <a:pt x="859" y="598"/>
                    <a:pt x="860" y="598"/>
                  </a:cubicBezTo>
                  <a:cubicBezTo>
                    <a:pt x="861" y="598"/>
                    <a:pt x="862" y="598"/>
                    <a:pt x="864" y="599"/>
                  </a:cubicBezTo>
                  <a:cubicBezTo>
                    <a:pt x="866" y="599"/>
                    <a:pt x="868" y="600"/>
                    <a:pt x="870" y="602"/>
                  </a:cubicBezTo>
                  <a:cubicBezTo>
                    <a:pt x="872" y="604"/>
                    <a:pt x="874" y="606"/>
                    <a:pt x="877" y="609"/>
                  </a:cubicBezTo>
                  <a:cubicBezTo>
                    <a:pt x="880" y="612"/>
                    <a:pt x="882" y="614"/>
                    <a:pt x="884" y="616"/>
                  </a:cubicBezTo>
                  <a:cubicBezTo>
                    <a:pt x="886" y="618"/>
                    <a:pt x="887" y="620"/>
                    <a:pt x="887" y="622"/>
                  </a:cubicBezTo>
                  <a:cubicBezTo>
                    <a:pt x="888" y="623"/>
                    <a:pt x="888" y="625"/>
                    <a:pt x="888" y="626"/>
                  </a:cubicBezTo>
                  <a:cubicBezTo>
                    <a:pt x="888" y="627"/>
                    <a:pt x="887" y="628"/>
                    <a:pt x="886" y="629"/>
                  </a:cubicBezTo>
                  <a:lnTo>
                    <a:pt x="742" y="773"/>
                  </a:lnTo>
                  <a:lnTo>
                    <a:pt x="868" y="767"/>
                  </a:lnTo>
                  <a:cubicBezTo>
                    <a:pt x="871" y="767"/>
                    <a:pt x="872" y="767"/>
                    <a:pt x="874" y="767"/>
                  </a:cubicBezTo>
                  <a:cubicBezTo>
                    <a:pt x="876" y="767"/>
                    <a:pt x="878" y="768"/>
                    <a:pt x="880" y="769"/>
                  </a:cubicBezTo>
                  <a:cubicBezTo>
                    <a:pt x="882" y="770"/>
                    <a:pt x="884" y="771"/>
                    <a:pt x="886" y="773"/>
                  </a:cubicBezTo>
                  <a:cubicBezTo>
                    <a:pt x="889" y="775"/>
                    <a:pt x="891" y="777"/>
                    <a:pt x="894" y="780"/>
                  </a:cubicBezTo>
                  <a:cubicBezTo>
                    <a:pt x="897" y="783"/>
                    <a:pt x="899" y="786"/>
                    <a:pt x="901" y="788"/>
                  </a:cubicBezTo>
                  <a:cubicBezTo>
                    <a:pt x="903" y="790"/>
                    <a:pt x="904" y="792"/>
                    <a:pt x="905" y="794"/>
                  </a:cubicBezTo>
                  <a:cubicBezTo>
                    <a:pt x="906" y="795"/>
                    <a:pt x="906" y="797"/>
                    <a:pt x="906" y="798"/>
                  </a:cubicBezTo>
                  <a:cubicBezTo>
                    <a:pt x="906" y="799"/>
                    <a:pt x="905" y="800"/>
                    <a:pt x="904" y="801"/>
                  </a:cubicBezTo>
                  <a:cubicBezTo>
                    <a:pt x="903" y="803"/>
                    <a:pt x="901" y="804"/>
                    <a:pt x="899" y="804"/>
                  </a:cubicBezTo>
                  <a:cubicBezTo>
                    <a:pt x="897" y="805"/>
                    <a:pt x="894" y="805"/>
                    <a:pt x="890" y="805"/>
                  </a:cubicBezTo>
                  <a:lnTo>
                    <a:pt x="775" y="805"/>
                  </a:lnTo>
                  <a:lnTo>
                    <a:pt x="756" y="954"/>
                  </a:lnTo>
                  <a:cubicBezTo>
                    <a:pt x="755" y="958"/>
                    <a:pt x="755" y="960"/>
                    <a:pt x="754" y="962"/>
                  </a:cubicBezTo>
                  <a:cubicBezTo>
                    <a:pt x="753" y="964"/>
                    <a:pt x="753" y="966"/>
                    <a:pt x="752" y="967"/>
                  </a:cubicBezTo>
                  <a:close/>
                  <a:moveTo>
                    <a:pt x="1020" y="1072"/>
                  </a:moveTo>
                  <a:cubicBezTo>
                    <a:pt x="1007" y="1085"/>
                    <a:pt x="993" y="1096"/>
                    <a:pt x="979" y="1103"/>
                  </a:cubicBezTo>
                  <a:cubicBezTo>
                    <a:pt x="964" y="1111"/>
                    <a:pt x="950" y="1115"/>
                    <a:pt x="935" y="1116"/>
                  </a:cubicBezTo>
                  <a:cubicBezTo>
                    <a:pt x="921" y="1117"/>
                    <a:pt x="906" y="1115"/>
                    <a:pt x="891" y="1109"/>
                  </a:cubicBezTo>
                  <a:cubicBezTo>
                    <a:pt x="877" y="1103"/>
                    <a:pt x="863" y="1094"/>
                    <a:pt x="849" y="1080"/>
                  </a:cubicBezTo>
                  <a:cubicBezTo>
                    <a:pt x="836" y="1067"/>
                    <a:pt x="827" y="1054"/>
                    <a:pt x="821" y="1040"/>
                  </a:cubicBezTo>
                  <a:cubicBezTo>
                    <a:pt x="815" y="1027"/>
                    <a:pt x="813" y="1013"/>
                    <a:pt x="814" y="999"/>
                  </a:cubicBezTo>
                  <a:cubicBezTo>
                    <a:pt x="815" y="985"/>
                    <a:pt x="819" y="971"/>
                    <a:pt x="826" y="957"/>
                  </a:cubicBezTo>
                  <a:cubicBezTo>
                    <a:pt x="834" y="944"/>
                    <a:pt x="844" y="930"/>
                    <a:pt x="857" y="917"/>
                  </a:cubicBezTo>
                  <a:cubicBezTo>
                    <a:pt x="870" y="904"/>
                    <a:pt x="884" y="893"/>
                    <a:pt x="898" y="886"/>
                  </a:cubicBezTo>
                  <a:cubicBezTo>
                    <a:pt x="913" y="878"/>
                    <a:pt x="927" y="874"/>
                    <a:pt x="942" y="873"/>
                  </a:cubicBezTo>
                  <a:cubicBezTo>
                    <a:pt x="956" y="872"/>
                    <a:pt x="971" y="874"/>
                    <a:pt x="985" y="880"/>
                  </a:cubicBezTo>
                  <a:cubicBezTo>
                    <a:pt x="1000" y="886"/>
                    <a:pt x="1014" y="895"/>
                    <a:pt x="1027" y="909"/>
                  </a:cubicBezTo>
                  <a:cubicBezTo>
                    <a:pt x="1041" y="922"/>
                    <a:pt x="1050" y="935"/>
                    <a:pt x="1056" y="949"/>
                  </a:cubicBezTo>
                  <a:cubicBezTo>
                    <a:pt x="1062" y="962"/>
                    <a:pt x="1064" y="976"/>
                    <a:pt x="1063" y="990"/>
                  </a:cubicBezTo>
                  <a:cubicBezTo>
                    <a:pt x="1062" y="1004"/>
                    <a:pt x="1058" y="1018"/>
                    <a:pt x="1051" y="1032"/>
                  </a:cubicBezTo>
                  <a:cubicBezTo>
                    <a:pt x="1043" y="1046"/>
                    <a:pt x="1033" y="1059"/>
                    <a:pt x="1020" y="1072"/>
                  </a:cubicBezTo>
                  <a:close/>
                  <a:moveTo>
                    <a:pt x="988" y="1044"/>
                  </a:moveTo>
                  <a:cubicBezTo>
                    <a:pt x="996" y="1036"/>
                    <a:pt x="1003" y="1027"/>
                    <a:pt x="1010" y="1017"/>
                  </a:cubicBezTo>
                  <a:cubicBezTo>
                    <a:pt x="1016" y="1008"/>
                    <a:pt x="1020" y="999"/>
                    <a:pt x="1022" y="989"/>
                  </a:cubicBezTo>
                  <a:cubicBezTo>
                    <a:pt x="1024" y="980"/>
                    <a:pt x="1023" y="970"/>
                    <a:pt x="1020" y="961"/>
                  </a:cubicBezTo>
                  <a:cubicBezTo>
                    <a:pt x="1018" y="951"/>
                    <a:pt x="1011" y="941"/>
                    <a:pt x="1002" y="932"/>
                  </a:cubicBezTo>
                  <a:cubicBezTo>
                    <a:pt x="993" y="923"/>
                    <a:pt x="984" y="917"/>
                    <a:pt x="975" y="914"/>
                  </a:cubicBezTo>
                  <a:cubicBezTo>
                    <a:pt x="966" y="911"/>
                    <a:pt x="956" y="910"/>
                    <a:pt x="947" y="912"/>
                  </a:cubicBezTo>
                  <a:cubicBezTo>
                    <a:pt x="937" y="913"/>
                    <a:pt x="927" y="917"/>
                    <a:pt x="918" y="923"/>
                  </a:cubicBezTo>
                  <a:cubicBezTo>
                    <a:pt x="908" y="928"/>
                    <a:pt x="899" y="936"/>
                    <a:pt x="890" y="945"/>
                  </a:cubicBezTo>
                  <a:cubicBezTo>
                    <a:pt x="881" y="954"/>
                    <a:pt x="874" y="963"/>
                    <a:pt x="867" y="972"/>
                  </a:cubicBezTo>
                  <a:cubicBezTo>
                    <a:pt x="861" y="981"/>
                    <a:pt x="857" y="990"/>
                    <a:pt x="855" y="1000"/>
                  </a:cubicBezTo>
                  <a:cubicBezTo>
                    <a:pt x="853" y="1009"/>
                    <a:pt x="854" y="1019"/>
                    <a:pt x="857" y="1029"/>
                  </a:cubicBezTo>
                  <a:cubicBezTo>
                    <a:pt x="860" y="1038"/>
                    <a:pt x="866" y="1048"/>
                    <a:pt x="875" y="1057"/>
                  </a:cubicBezTo>
                  <a:cubicBezTo>
                    <a:pt x="884" y="1066"/>
                    <a:pt x="893" y="1072"/>
                    <a:pt x="902" y="1075"/>
                  </a:cubicBezTo>
                  <a:cubicBezTo>
                    <a:pt x="912" y="1078"/>
                    <a:pt x="921" y="1079"/>
                    <a:pt x="931" y="1077"/>
                  </a:cubicBezTo>
                  <a:cubicBezTo>
                    <a:pt x="940" y="1076"/>
                    <a:pt x="950" y="1072"/>
                    <a:pt x="959" y="1067"/>
                  </a:cubicBezTo>
                  <a:cubicBezTo>
                    <a:pt x="969" y="1061"/>
                    <a:pt x="978" y="1053"/>
                    <a:pt x="988" y="1044"/>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95" name="Freeform 142"/>
            <p:cNvSpPr>
              <a:spLocks noEditPoints="1"/>
            </p:cNvSpPr>
            <p:nvPr/>
          </p:nvSpPr>
          <p:spPr bwMode="auto">
            <a:xfrm>
              <a:off x="674" y="2371"/>
              <a:ext cx="159" cy="172"/>
            </a:xfrm>
            <a:custGeom>
              <a:avLst/>
              <a:gdLst>
                <a:gd name="T0" fmla="*/ 136 w 1504"/>
                <a:gd name="T1" fmla="*/ 428 h 1628"/>
                <a:gd name="T2" fmla="*/ 33 w 1504"/>
                <a:gd name="T3" fmla="*/ 324 h 1628"/>
                <a:gd name="T4" fmla="*/ 153 w 1504"/>
                <a:gd name="T5" fmla="*/ 10 h 1628"/>
                <a:gd name="T6" fmla="*/ 192 w 1504"/>
                <a:gd name="T7" fmla="*/ 31 h 1628"/>
                <a:gd name="T8" fmla="*/ 305 w 1504"/>
                <a:gd name="T9" fmla="*/ 138 h 1628"/>
                <a:gd name="T10" fmla="*/ 185 w 1504"/>
                <a:gd name="T11" fmla="*/ 414 h 1628"/>
                <a:gd name="T12" fmla="*/ 461 w 1504"/>
                <a:gd name="T13" fmla="*/ 298 h 1628"/>
                <a:gd name="T14" fmla="*/ 365 w 1504"/>
                <a:gd name="T15" fmla="*/ 501 h 1628"/>
                <a:gd name="T16" fmla="*/ 415 w 1504"/>
                <a:gd name="T17" fmla="*/ 647 h 1628"/>
                <a:gd name="T18" fmla="*/ 406 w 1504"/>
                <a:gd name="T19" fmla="*/ 677 h 1628"/>
                <a:gd name="T20" fmla="*/ 331 w 1504"/>
                <a:gd name="T21" fmla="*/ 709 h 1628"/>
                <a:gd name="T22" fmla="*/ 330 w 1504"/>
                <a:gd name="T23" fmla="*/ 745 h 1628"/>
                <a:gd name="T24" fmla="*/ 321 w 1504"/>
                <a:gd name="T25" fmla="*/ 650 h 1628"/>
                <a:gd name="T26" fmla="*/ 307 w 1504"/>
                <a:gd name="T27" fmla="*/ 508 h 1628"/>
                <a:gd name="T28" fmla="*/ 536 w 1504"/>
                <a:gd name="T29" fmla="*/ 529 h 1628"/>
                <a:gd name="T30" fmla="*/ 457 w 1504"/>
                <a:gd name="T31" fmla="*/ 460 h 1628"/>
                <a:gd name="T32" fmla="*/ 720 w 1504"/>
                <a:gd name="T33" fmla="*/ 723 h 1628"/>
                <a:gd name="T34" fmla="*/ 559 w 1504"/>
                <a:gd name="T35" fmla="*/ 737 h 1628"/>
                <a:gd name="T36" fmla="*/ 558 w 1504"/>
                <a:gd name="T37" fmla="*/ 784 h 1628"/>
                <a:gd name="T38" fmla="*/ 476 w 1504"/>
                <a:gd name="T39" fmla="*/ 889 h 1628"/>
                <a:gd name="T40" fmla="*/ 436 w 1504"/>
                <a:gd name="T41" fmla="*/ 728 h 1628"/>
                <a:gd name="T42" fmla="*/ 536 w 1504"/>
                <a:gd name="T43" fmla="*/ 642 h 1628"/>
                <a:gd name="T44" fmla="*/ 695 w 1504"/>
                <a:gd name="T45" fmla="*/ 651 h 1628"/>
                <a:gd name="T46" fmla="*/ 632 w 1504"/>
                <a:gd name="T47" fmla="*/ 633 h 1628"/>
                <a:gd name="T48" fmla="*/ 617 w 1504"/>
                <a:gd name="T49" fmla="*/ 730 h 1628"/>
                <a:gd name="T50" fmla="*/ 471 w 1504"/>
                <a:gd name="T51" fmla="*/ 758 h 1628"/>
                <a:gd name="T52" fmla="*/ 507 w 1504"/>
                <a:gd name="T53" fmla="*/ 865 h 1628"/>
                <a:gd name="T54" fmla="*/ 631 w 1504"/>
                <a:gd name="T55" fmla="*/ 926 h 1628"/>
                <a:gd name="T56" fmla="*/ 865 w 1504"/>
                <a:gd name="T57" fmla="*/ 668 h 1628"/>
                <a:gd name="T58" fmla="*/ 651 w 1504"/>
                <a:gd name="T59" fmla="*/ 935 h 1628"/>
                <a:gd name="T60" fmla="*/ 711 w 1504"/>
                <a:gd name="T61" fmla="*/ 1003 h 1628"/>
                <a:gd name="T62" fmla="*/ 892 w 1504"/>
                <a:gd name="T63" fmla="*/ 846 h 1628"/>
                <a:gd name="T64" fmla="*/ 940 w 1504"/>
                <a:gd name="T65" fmla="*/ 826 h 1628"/>
                <a:gd name="T66" fmla="*/ 958 w 1504"/>
                <a:gd name="T67" fmla="*/ 816 h 1628"/>
                <a:gd name="T68" fmla="*/ 899 w 1504"/>
                <a:gd name="T69" fmla="*/ 1190 h 1628"/>
                <a:gd name="T70" fmla="*/ 1008 w 1504"/>
                <a:gd name="T71" fmla="*/ 1008 h 1628"/>
                <a:gd name="T72" fmla="*/ 801 w 1504"/>
                <a:gd name="T73" fmla="*/ 1095 h 1628"/>
                <a:gd name="T74" fmla="*/ 958 w 1504"/>
                <a:gd name="T75" fmla="*/ 915 h 1628"/>
                <a:gd name="T76" fmla="*/ 956 w 1504"/>
                <a:gd name="T77" fmla="*/ 964 h 1628"/>
                <a:gd name="T78" fmla="*/ 929 w 1504"/>
                <a:gd name="T79" fmla="*/ 1212 h 1628"/>
                <a:gd name="T80" fmla="*/ 983 w 1504"/>
                <a:gd name="T81" fmla="*/ 1275 h 1628"/>
                <a:gd name="T82" fmla="*/ 1163 w 1504"/>
                <a:gd name="T83" fmla="*/ 1118 h 1628"/>
                <a:gd name="T84" fmla="*/ 1212 w 1504"/>
                <a:gd name="T85" fmla="*/ 1097 h 1628"/>
                <a:gd name="T86" fmla="*/ 1230 w 1504"/>
                <a:gd name="T87" fmla="*/ 1087 h 1628"/>
                <a:gd name="T88" fmla="*/ 1131 w 1504"/>
                <a:gd name="T89" fmla="*/ 1374 h 1628"/>
                <a:gd name="T90" fmla="*/ 1217 w 1504"/>
                <a:gd name="T91" fmla="*/ 1449 h 1628"/>
                <a:gd name="T92" fmla="*/ 1186 w 1504"/>
                <a:gd name="T93" fmla="*/ 1465 h 1628"/>
                <a:gd name="T94" fmla="*/ 1132 w 1504"/>
                <a:gd name="T95" fmla="*/ 1257 h 1628"/>
                <a:gd name="T96" fmla="*/ 1316 w 1504"/>
                <a:gd name="T97" fmla="*/ 1358 h 1628"/>
                <a:gd name="T98" fmla="*/ 1224 w 1504"/>
                <a:gd name="T99" fmla="*/ 1249 h 1628"/>
                <a:gd name="T100" fmla="*/ 1370 w 1504"/>
                <a:gd name="T101" fmla="*/ 1628 h 1628"/>
                <a:gd name="T102" fmla="*/ 1266 w 1504"/>
                <a:gd name="T103" fmla="*/ 1521 h 1628"/>
                <a:gd name="T104" fmla="*/ 1488 w 1504"/>
                <a:gd name="T105" fmla="*/ 1440 h 1628"/>
                <a:gd name="T106" fmla="*/ 1494 w 1504"/>
                <a:gd name="T107" fmla="*/ 1506 h 1628"/>
                <a:gd name="T108" fmla="*/ 1401 w 1504"/>
                <a:gd name="T109" fmla="*/ 1432 h 1628"/>
                <a:gd name="T110" fmla="*/ 1366 w 1504"/>
                <a:gd name="T111" fmla="*/ 1595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04" h="1628">
                  <a:moveTo>
                    <a:pt x="179" y="458"/>
                  </a:moveTo>
                  <a:cubicBezTo>
                    <a:pt x="177" y="459"/>
                    <a:pt x="175" y="460"/>
                    <a:pt x="173" y="460"/>
                  </a:cubicBezTo>
                  <a:cubicBezTo>
                    <a:pt x="171" y="460"/>
                    <a:pt x="169" y="460"/>
                    <a:pt x="167" y="458"/>
                  </a:cubicBezTo>
                  <a:cubicBezTo>
                    <a:pt x="165" y="457"/>
                    <a:pt x="162" y="456"/>
                    <a:pt x="160" y="454"/>
                  </a:cubicBezTo>
                  <a:cubicBezTo>
                    <a:pt x="157" y="451"/>
                    <a:pt x="154" y="449"/>
                    <a:pt x="150" y="445"/>
                  </a:cubicBezTo>
                  <a:cubicBezTo>
                    <a:pt x="147" y="441"/>
                    <a:pt x="144" y="438"/>
                    <a:pt x="142" y="435"/>
                  </a:cubicBezTo>
                  <a:cubicBezTo>
                    <a:pt x="139" y="433"/>
                    <a:pt x="138" y="430"/>
                    <a:pt x="136" y="428"/>
                  </a:cubicBezTo>
                  <a:cubicBezTo>
                    <a:pt x="135" y="426"/>
                    <a:pt x="135" y="424"/>
                    <a:pt x="135" y="422"/>
                  </a:cubicBezTo>
                  <a:cubicBezTo>
                    <a:pt x="135" y="420"/>
                    <a:pt x="136" y="418"/>
                    <a:pt x="137" y="416"/>
                  </a:cubicBezTo>
                  <a:lnTo>
                    <a:pt x="262" y="195"/>
                  </a:lnTo>
                  <a:lnTo>
                    <a:pt x="261" y="195"/>
                  </a:lnTo>
                  <a:lnTo>
                    <a:pt x="45" y="324"/>
                  </a:lnTo>
                  <a:cubicBezTo>
                    <a:pt x="43" y="325"/>
                    <a:pt x="41" y="326"/>
                    <a:pt x="39" y="326"/>
                  </a:cubicBezTo>
                  <a:cubicBezTo>
                    <a:pt x="37" y="326"/>
                    <a:pt x="35" y="325"/>
                    <a:pt x="33" y="324"/>
                  </a:cubicBezTo>
                  <a:cubicBezTo>
                    <a:pt x="31" y="323"/>
                    <a:pt x="29" y="322"/>
                    <a:pt x="26" y="320"/>
                  </a:cubicBezTo>
                  <a:cubicBezTo>
                    <a:pt x="23" y="318"/>
                    <a:pt x="20" y="315"/>
                    <a:pt x="16" y="311"/>
                  </a:cubicBezTo>
                  <a:cubicBezTo>
                    <a:pt x="12" y="307"/>
                    <a:pt x="9" y="304"/>
                    <a:pt x="7" y="301"/>
                  </a:cubicBezTo>
                  <a:cubicBezTo>
                    <a:pt x="5" y="298"/>
                    <a:pt x="3" y="295"/>
                    <a:pt x="2" y="293"/>
                  </a:cubicBezTo>
                  <a:cubicBezTo>
                    <a:pt x="1" y="291"/>
                    <a:pt x="0" y="289"/>
                    <a:pt x="0" y="287"/>
                  </a:cubicBezTo>
                  <a:cubicBezTo>
                    <a:pt x="0" y="285"/>
                    <a:pt x="1" y="283"/>
                    <a:pt x="2" y="281"/>
                  </a:cubicBezTo>
                  <a:lnTo>
                    <a:pt x="153" y="10"/>
                  </a:lnTo>
                  <a:cubicBezTo>
                    <a:pt x="155" y="6"/>
                    <a:pt x="157" y="4"/>
                    <a:pt x="158" y="2"/>
                  </a:cubicBezTo>
                  <a:cubicBezTo>
                    <a:pt x="160" y="0"/>
                    <a:pt x="161" y="0"/>
                    <a:pt x="163" y="0"/>
                  </a:cubicBezTo>
                  <a:cubicBezTo>
                    <a:pt x="165" y="0"/>
                    <a:pt x="167" y="1"/>
                    <a:pt x="170" y="3"/>
                  </a:cubicBezTo>
                  <a:cubicBezTo>
                    <a:pt x="172" y="5"/>
                    <a:pt x="175" y="8"/>
                    <a:pt x="179" y="12"/>
                  </a:cubicBezTo>
                  <a:cubicBezTo>
                    <a:pt x="183" y="16"/>
                    <a:pt x="186" y="18"/>
                    <a:pt x="187" y="21"/>
                  </a:cubicBezTo>
                  <a:cubicBezTo>
                    <a:pt x="189" y="23"/>
                    <a:pt x="191" y="25"/>
                    <a:pt x="191" y="27"/>
                  </a:cubicBezTo>
                  <a:cubicBezTo>
                    <a:pt x="192" y="28"/>
                    <a:pt x="192" y="30"/>
                    <a:pt x="192" y="31"/>
                  </a:cubicBezTo>
                  <a:cubicBezTo>
                    <a:pt x="191" y="32"/>
                    <a:pt x="191" y="33"/>
                    <a:pt x="190" y="35"/>
                  </a:cubicBezTo>
                  <a:lnTo>
                    <a:pt x="49" y="278"/>
                  </a:lnTo>
                  <a:lnTo>
                    <a:pt x="50" y="278"/>
                  </a:lnTo>
                  <a:lnTo>
                    <a:pt x="290" y="136"/>
                  </a:lnTo>
                  <a:cubicBezTo>
                    <a:pt x="291" y="135"/>
                    <a:pt x="293" y="134"/>
                    <a:pt x="294" y="134"/>
                  </a:cubicBezTo>
                  <a:cubicBezTo>
                    <a:pt x="296" y="133"/>
                    <a:pt x="297" y="134"/>
                    <a:pt x="299" y="134"/>
                  </a:cubicBezTo>
                  <a:cubicBezTo>
                    <a:pt x="300" y="135"/>
                    <a:pt x="302" y="136"/>
                    <a:pt x="305" y="138"/>
                  </a:cubicBezTo>
                  <a:cubicBezTo>
                    <a:pt x="307" y="140"/>
                    <a:pt x="310" y="143"/>
                    <a:pt x="314" y="147"/>
                  </a:cubicBezTo>
                  <a:cubicBezTo>
                    <a:pt x="317" y="150"/>
                    <a:pt x="320" y="153"/>
                    <a:pt x="321" y="155"/>
                  </a:cubicBezTo>
                  <a:cubicBezTo>
                    <a:pt x="323" y="157"/>
                    <a:pt x="324" y="159"/>
                    <a:pt x="325" y="161"/>
                  </a:cubicBezTo>
                  <a:cubicBezTo>
                    <a:pt x="326" y="162"/>
                    <a:pt x="326" y="164"/>
                    <a:pt x="325" y="165"/>
                  </a:cubicBezTo>
                  <a:cubicBezTo>
                    <a:pt x="325" y="167"/>
                    <a:pt x="324" y="168"/>
                    <a:pt x="324" y="170"/>
                  </a:cubicBezTo>
                  <a:lnTo>
                    <a:pt x="185" y="414"/>
                  </a:lnTo>
                  <a:lnTo>
                    <a:pt x="185" y="414"/>
                  </a:lnTo>
                  <a:lnTo>
                    <a:pt x="427" y="273"/>
                  </a:lnTo>
                  <a:cubicBezTo>
                    <a:pt x="428" y="272"/>
                    <a:pt x="430" y="271"/>
                    <a:pt x="431" y="271"/>
                  </a:cubicBezTo>
                  <a:cubicBezTo>
                    <a:pt x="432" y="270"/>
                    <a:pt x="434" y="270"/>
                    <a:pt x="435" y="271"/>
                  </a:cubicBezTo>
                  <a:cubicBezTo>
                    <a:pt x="437" y="272"/>
                    <a:pt x="439" y="273"/>
                    <a:pt x="441" y="275"/>
                  </a:cubicBezTo>
                  <a:cubicBezTo>
                    <a:pt x="443" y="276"/>
                    <a:pt x="446" y="279"/>
                    <a:pt x="450" y="283"/>
                  </a:cubicBezTo>
                  <a:cubicBezTo>
                    <a:pt x="453" y="286"/>
                    <a:pt x="456" y="289"/>
                    <a:pt x="458" y="291"/>
                  </a:cubicBezTo>
                  <a:cubicBezTo>
                    <a:pt x="459" y="294"/>
                    <a:pt x="460" y="296"/>
                    <a:pt x="461" y="298"/>
                  </a:cubicBezTo>
                  <a:cubicBezTo>
                    <a:pt x="461" y="299"/>
                    <a:pt x="460" y="301"/>
                    <a:pt x="458" y="302"/>
                  </a:cubicBezTo>
                  <a:cubicBezTo>
                    <a:pt x="457" y="304"/>
                    <a:pt x="454" y="306"/>
                    <a:pt x="451" y="308"/>
                  </a:cubicBezTo>
                  <a:lnTo>
                    <a:pt x="179" y="458"/>
                  </a:lnTo>
                  <a:close/>
                  <a:moveTo>
                    <a:pt x="494" y="604"/>
                  </a:moveTo>
                  <a:cubicBezTo>
                    <a:pt x="489" y="609"/>
                    <a:pt x="485" y="611"/>
                    <a:pt x="480" y="611"/>
                  </a:cubicBezTo>
                  <a:cubicBezTo>
                    <a:pt x="476" y="610"/>
                    <a:pt x="472" y="609"/>
                    <a:pt x="470" y="606"/>
                  </a:cubicBezTo>
                  <a:lnTo>
                    <a:pt x="365" y="501"/>
                  </a:lnTo>
                  <a:cubicBezTo>
                    <a:pt x="356" y="510"/>
                    <a:pt x="349" y="519"/>
                    <a:pt x="344" y="528"/>
                  </a:cubicBezTo>
                  <a:cubicBezTo>
                    <a:pt x="339" y="537"/>
                    <a:pt x="336" y="546"/>
                    <a:pt x="335" y="555"/>
                  </a:cubicBezTo>
                  <a:cubicBezTo>
                    <a:pt x="334" y="564"/>
                    <a:pt x="335" y="573"/>
                    <a:pt x="339" y="583"/>
                  </a:cubicBezTo>
                  <a:cubicBezTo>
                    <a:pt x="343" y="592"/>
                    <a:pt x="350" y="601"/>
                    <a:pt x="359" y="611"/>
                  </a:cubicBezTo>
                  <a:cubicBezTo>
                    <a:pt x="367" y="619"/>
                    <a:pt x="374" y="625"/>
                    <a:pt x="381" y="629"/>
                  </a:cubicBezTo>
                  <a:cubicBezTo>
                    <a:pt x="388" y="634"/>
                    <a:pt x="395" y="638"/>
                    <a:pt x="401" y="640"/>
                  </a:cubicBezTo>
                  <a:cubicBezTo>
                    <a:pt x="407" y="643"/>
                    <a:pt x="411" y="645"/>
                    <a:pt x="415" y="647"/>
                  </a:cubicBezTo>
                  <a:cubicBezTo>
                    <a:pt x="419" y="648"/>
                    <a:pt x="422" y="650"/>
                    <a:pt x="424" y="651"/>
                  </a:cubicBezTo>
                  <a:cubicBezTo>
                    <a:pt x="424" y="652"/>
                    <a:pt x="425" y="653"/>
                    <a:pt x="425" y="654"/>
                  </a:cubicBezTo>
                  <a:cubicBezTo>
                    <a:pt x="425" y="655"/>
                    <a:pt x="425" y="656"/>
                    <a:pt x="425" y="657"/>
                  </a:cubicBezTo>
                  <a:cubicBezTo>
                    <a:pt x="424" y="659"/>
                    <a:pt x="423" y="660"/>
                    <a:pt x="422" y="662"/>
                  </a:cubicBezTo>
                  <a:cubicBezTo>
                    <a:pt x="421" y="663"/>
                    <a:pt x="419" y="665"/>
                    <a:pt x="417" y="667"/>
                  </a:cubicBezTo>
                  <a:cubicBezTo>
                    <a:pt x="415" y="670"/>
                    <a:pt x="413" y="672"/>
                    <a:pt x="411" y="673"/>
                  </a:cubicBezTo>
                  <a:cubicBezTo>
                    <a:pt x="409" y="675"/>
                    <a:pt x="408" y="676"/>
                    <a:pt x="406" y="677"/>
                  </a:cubicBezTo>
                  <a:cubicBezTo>
                    <a:pt x="405" y="678"/>
                    <a:pt x="403" y="678"/>
                    <a:pt x="402" y="679"/>
                  </a:cubicBezTo>
                  <a:cubicBezTo>
                    <a:pt x="401" y="679"/>
                    <a:pt x="399" y="679"/>
                    <a:pt x="397" y="679"/>
                  </a:cubicBezTo>
                  <a:lnTo>
                    <a:pt x="348" y="679"/>
                  </a:lnTo>
                  <a:cubicBezTo>
                    <a:pt x="342" y="679"/>
                    <a:pt x="338" y="680"/>
                    <a:pt x="334" y="681"/>
                  </a:cubicBezTo>
                  <a:cubicBezTo>
                    <a:pt x="331" y="683"/>
                    <a:pt x="329" y="684"/>
                    <a:pt x="327" y="686"/>
                  </a:cubicBezTo>
                  <a:cubicBezTo>
                    <a:pt x="324" y="689"/>
                    <a:pt x="322" y="692"/>
                    <a:pt x="323" y="696"/>
                  </a:cubicBezTo>
                  <a:cubicBezTo>
                    <a:pt x="323" y="700"/>
                    <a:pt x="326" y="704"/>
                    <a:pt x="331" y="709"/>
                  </a:cubicBezTo>
                  <a:lnTo>
                    <a:pt x="350" y="728"/>
                  </a:lnTo>
                  <a:cubicBezTo>
                    <a:pt x="352" y="729"/>
                    <a:pt x="352" y="731"/>
                    <a:pt x="352" y="733"/>
                  </a:cubicBezTo>
                  <a:cubicBezTo>
                    <a:pt x="352" y="735"/>
                    <a:pt x="350" y="737"/>
                    <a:pt x="347" y="740"/>
                  </a:cubicBezTo>
                  <a:cubicBezTo>
                    <a:pt x="345" y="742"/>
                    <a:pt x="343" y="744"/>
                    <a:pt x="342" y="745"/>
                  </a:cubicBezTo>
                  <a:cubicBezTo>
                    <a:pt x="340" y="746"/>
                    <a:pt x="339" y="747"/>
                    <a:pt x="338" y="747"/>
                  </a:cubicBezTo>
                  <a:cubicBezTo>
                    <a:pt x="337" y="747"/>
                    <a:pt x="335" y="747"/>
                    <a:pt x="334" y="747"/>
                  </a:cubicBezTo>
                  <a:cubicBezTo>
                    <a:pt x="333" y="747"/>
                    <a:pt x="332" y="746"/>
                    <a:pt x="330" y="745"/>
                  </a:cubicBezTo>
                  <a:cubicBezTo>
                    <a:pt x="325" y="742"/>
                    <a:pt x="321" y="739"/>
                    <a:pt x="316" y="736"/>
                  </a:cubicBezTo>
                  <a:cubicBezTo>
                    <a:pt x="312" y="733"/>
                    <a:pt x="307" y="728"/>
                    <a:pt x="302" y="724"/>
                  </a:cubicBezTo>
                  <a:cubicBezTo>
                    <a:pt x="291" y="713"/>
                    <a:pt x="285" y="702"/>
                    <a:pt x="283" y="691"/>
                  </a:cubicBezTo>
                  <a:cubicBezTo>
                    <a:pt x="282" y="681"/>
                    <a:pt x="285" y="671"/>
                    <a:pt x="294" y="662"/>
                  </a:cubicBezTo>
                  <a:cubicBezTo>
                    <a:pt x="296" y="660"/>
                    <a:pt x="299" y="658"/>
                    <a:pt x="301" y="657"/>
                  </a:cubicBezTo>
                  <a:cubicBezTo>
                    <a:pt x="304" y="655"/>
                    <a:pt x="307" y="654"/>
                    <a:pt x="310" y="652"/>
                  </a:cubicBezTo>
                  <a:cubicBezTo>
                    <a:pt x="313" y="651"/>
                    <a:pt x="317" y="650"/>
                    <a:pt x="321" y="650"/>
                  </a:cubicBezTo>
                  <a:cubicBezTo>
                    <a:pt x="325" y="649"/>
                    <a:pt x="330" y="649"/>
                    <a:pt x="335" y="649"/>
                  </a:cubicBezTo>
                  <a:lnTo>
                    <a:pt x="355" y="649"/>
                  </a:lnTo>
                  <a:cubicBezTo>
                    <a:pt x="351" y="647"/>
                    <a:pt x="347" y="644"/>
                    <a:pt x="343" y="641"/>
                  </a:cubicBezTo>
                  <a:cubicBezTo>
                    <a:pt x="340" y="638"/>
                    <a:pt x="335" y="634"/>
                    <a:pt x="331" y="630"/>
                  </a:cubicBezTo>
                  <a:cubicBezTo>
                    <a:pt x="318" y="617"/>
                    <a:pt x="309" y="604"/>
                    <a:pt x="303" y="591"/>
                  </a:cubicBezTo>
                  <a:cubicBezTo>
                    <a:pt x="297" y="577"/>
                    <a:pt x="294" y="564"/>
                    <a:pt x="295" y="550"/>
                  </a:cubicBezTo>
                  <a:cubicBezTo>
                    <a:pt x="296" y="536"/>
                    <a:pt x="300" y="522"/>
                    <a:pt x="307" y="508"/>
                  </a:cubicBezTo>
                  <a:cubicBezTo>
                    <a:pt x="314" y="494"/>
                    <a:pt x="325" y="480"/>
                    <a:pt x="340" y="465"/>
                  </a:cubicBezTo>
                  <a:cubicBezTo>
                    <a:pt x="353" y="452"/>
                    <a:pt x="367" y="441"/>
                    <a:pt x="382" y="434"/>
                  </a:cubicBezTo>
                  <a:cubicBezTo>
                    <a:pt x="396" y="427"/>
                    <a:pt x="411" y="422"/>
                    <a:pt x="425" y="421"/>
                  </a:cubicBezTo>
                  <a:cubicBezTo>
                    <a:pt x="439" y="421"/>
                    <a:pt x="453" y="423"/>
                    <a:pt x="466" y="428"/>
                  </a:cubicBezTo>
                  <a:cubicBezTo>
                    <a:pt x="480" y="433"/>
                    <a:pt x="493" y="442"/>
                    <a:pt x="504" y="454"/>
                  </a:cubicBezTo>
                  <a:cubicBezTo>
                    <a:pt x="517" y="466"/>
                    <a:pt x="525" y="479"/>
                    <a:pt x="530" y="492"/>
                  </a:cubicBezTo>
                  <a:cubicBezTo>
                    <a:pt x="535" y="504"/>
                    <a:pt x="537" y="517"/>
                    <a:pt x="536" y="529"/>
                  </a:cubicBezTo>
                  <a:cubicBezTo>
                    <a:pt x="534" y="542"/>
                    <a:pt x="531" y="554"/>
                    <a:pt x="524" y="566"/>
                  </a:cubicBezTo>
                  <a:cubicBezTo>
                    <a:pt x="518" y="577"/>
                    <a:pt x="509" y="589"/>
                    <a:pt x="499" y="599"/>
                  </a:cubicBezTo>
                  <a:lnTo>
                    <a:pt x="494" y="604"/>
                  </a:lnTo>
                  <a:close/>
                  <a:moveTo>
                    <a:pt x="473" y="566"/>
                  </a:moveTo>
                  <a:cubicBezTo>
                    <a:pt x="489" y="551"/>
                    <a:pt x="497" y="536"/>
                    <a:pt x="499" y="520"/>
                  </a:cubicBezTo>
                  <a:cubicBezTo>
                    <a:pt x="500" y="504"/>
                    <a:pt x="494" y="489"/>
                    <a:pt x="480" y="475"/>
                  </a:cubicBezTo>
                  <a:cubicBezTo>
                    <a:pt x="473" y="468"/>
                    <a:pt x="465" y="463"/>
                    <a:pt x="457" y="460"/>
                  </a:cubicBezTo>
                  <a:cubicBezTo>
                    <a:pt x="449" y="458"/>
                    <a:pt x="441" y="457"/>
                    <a:pt x="433" y="458"/>
                  </a:cubicBezTo>
                  <a:cubicBezTo>
                    <a:pt x="425" y="458"/>
                    <a:pt x="417" y="461"/>
                    <a:pt x="409" y="465"/>
                  </a:cubicBezTo>
                  <a:cubicBezTo>
                    <a:pt x="401" y="469"/>
                    <a:pt x="393" y="474"/>
                    <a:pt x="387" y="480"/>
                  </a:cubicBezTo>
                  <a:lnTo>
                    <a:pt x="473" y="566"/>
                  </a:lnTo>
                  <a:close/>
                  <a:moveTo>
                    <a:pt x="737" y="717"/>
                  </a:moveTo>
                  <a:cubicBezTo>
                    <a:pt x="733" y="721"/>
                    <a:pt x="730" y="724"/>
                    <a:pt x="727" y="724"/>
                  </a:cubicBezTo>
                  <a:cubicBezTo>
                    <a:pt x="724" y="725"/>
                    <a:pt x="721" y="724"/>
                    <a:pt x="720" y="723"/>
                  </a:cubicBezTo>
                  <a:lnTo>
                    <a:pt x="697" y="700"/>
                  </a:lnTo>
                  <a:cubicBezTo>
                    <a:pt x="697" y="708"/>
                    <a:pt x="695" y="716"/>
                    <a:pt x="691" y="723"/>
                  </a:cubicBezTo>
                  <a:cubicBezTo>
                    <a:pt x="688" y="729"/>
                    <a:pt x="683" y="736"/>
                    <a:pt x="678" y="741"/>
                  </a:cubicBezTo>
                  <a:cubicBezTo>
                    <a:pt x="669" y="750"/>
                    <a:pt x="659" y="757"/>
                    <a:pt x="649" y="761"/>
                  </a:cubicBezTo>
                  <a:cubicBezTo>
                    <a:pt x="639" y="765"/>
                    <a:pt x="629" y="767"/>
                    <a:pt x="618" y="766"/>
                  </a:cubicBezTo>
                  <a:cubicBezTo>
                    <a:pt x="608" y="766"/>
                    <a:pt x="598" y="763"/>
                    <a:pt x="588" y="758"/>
                  </a:cubicBezTo>
                  <a:cubicBezTo>
                    <a:pt x="577" y="753"/>
                    <a:pt x="568" y="746"/>
                    <a:pt x="559" y="737"/>
                  </a:cubicBezTo>
                  <a:cubicBezTo>
                    <a:pt x="552" y="730"/>
                    <a:pt x="547" y="723"/>
                    <a:pt x="543" y="716"/>
                  </a:cubicBezTo>
                  <a:cubicBezTo>
                    <a:pt x="539" y="708"/>
                    <a:pt x="536" y="702"/>
                    <a:pt x="536" y="696"/>
                  </a:cubicBezTo>
                  <a:cubicBezTo>
                    <a:pt x="531" y="696"/>
                    <a:pt x="527" y="696"/>
                    <a:pt x="523" y="698"/>
                  </a:cubicBezTo>
                  <a:cubicBezTo>
                    <a:pt x="519" y="699"/>
                    <a:pt x="515" y="702"/>
                    <a:pt x="512" y="705"/>
                  </a:cubicBezTo>
                  <a:cubicBezTo>
                    <a:pt x="508" y="709"/>
                    <a:pt x="506" y="715"/>
                    <a:pt x="507" y="721"/>
                  </a:cubicBezTo>
                  <a:cubicBezTo>
                    <a:pt x="508" y="728"/>
                    <a:pt x="512" y="734"/>
                    <a:pt x="518" y="741"/>
                  </a:cubicBezTo>
                  <a:lnTo>
                    <a:pt x="558" y="784"/>
                  </a:lnTo>
                  <a:cubicBezTo>
                    <a:pt x="566" y="792"/>
                    <a:pt x="572" y="801"/>
                    <a:pt x="576" y="809"/>
                  </a:cubicBezTo>
                  <a:cubicBezTo>
                    <a:pt x="581" y="818"/>
                    <a:pt x="584" y="826"/>
                    <a:pt x="585" y="835"/>
                  </a:cubicBezTo>
                  <a:cubicBezTo>
                    <a:pt x="586" y="843"/>
                    <a:pt x="586" y="851"/>
                    <a:pt x="583" y="859"/>
                  </a:cubicBezTo>
                  <a:cubicBezTo>
                    <a:pt x="581" y="867"/>
                    <a:pt x="576" y="875"/>
                    <a:pt x="569" y="882"/>
                  </a:cubicBezTo>
                  <a:cubicBezTo>
                    <a:pt x="562" y="889"/>
                    <a:pt x="553" y="894"/>
                    <a:pt x="544" y="898"/>
                  </a:cubicBezTo>
                  <a:cubicBezTo>
                    <a:pt x="534" y="901"/>
                    <a:pt x="523" y="903"/>
                    <a:pt x="512" y="901"/>
                  </a:cubicBezTo>
                  <a:cubicBezTo>
                    <a:pt x="501" y="900"/>
                    <a:pt x="489" y="896"/>
                    <a:pt x="476" y="889"/>
                  </a:cubicBezTo>
                  <a:cubicBezTo>
                    <a:pt x="464" y="882"/>
                    <a:pt x="451" y="872"/>
                    <a:pt x="437" y="859"/>
                  </a:cubicBezTo>
                  <a:cubicBezTo>
                    <a:pt x="424" y="846"/>
                    <a:pt x="415" y="834"/>
                    <a:pt x="408" y="823"/>
                  </a:cubicBezTo>
                  <a:cubicBezTo>
                    <a:pt x="401" y="811"/>
                    <a:pt x="396" y="801"/>
                    <a:pt x="394" y="791"/>
                  </a:cubicBezTo>
                  <a:cubicBezTo>
                    <a:pt x="392" y="782"/>
                    <a:pt x="393" y="773"/>
                    <a:pt x="395" y="765"/>
                  </a:cubicBezTo>
                  <a:cubicBezTo>
                    <a:pt x="398" y="758"/>
                    <a:pt x="402" y="751"/>
                    <a:pt x="409" y="744"/>
                  </a:cubicBezTo>
                  <a:cubicBezTo>
                    <a:pt x="412" y="741"/>
                    <a:pt x="417" y="737"/>
                    <a:pt x="421" y="735"/>
                  </a:cubicBezTo>
                  <a:cubicBezTo>
                    <a:pt x="426" y="732"/>
                    <a:pt x="431" y="730"/>
                    <a:pt x="436" y="728"/>
                  </a:cubicBezTo>
                  <a:cubicBezTo>
                    <a:pt x="441" y="727"/>
                    <a:pt x="447" y="726"/>
                    <a:pt x="453" y="726"/>
                  </a:cubicBezTo>
                  <a:cubicBezTo>
                    <a:pt x="459" y="726"/>
                    <a:pt x="465" y="726"/>
                    <a:pt x="472" y="727"/>
                  </a:cubicBezTo>
                  <a:cubicBezTo>
                    <a:pt x="469" y="719"/>
                    <a:pt x="468" y="711"/>
                    <a:pt x="470" y="703"/>
                  </a:cubicBezTo>
                  <a:cubicBezTo>
                    <a:pt x="472" y="696"/>
                    <a:pt x="475" y="690"/>
                    <a:pt x="480" y="685"/>
                  </a:cubicBezTo>
                  <a:cubicBezTo>
                    <a:pt x="488" y="677"/>
                    <a:pt x="495" y="673"/>
                    <a:pt x="504" y="670"/>
                  </a:cubicBezTo>
                  <a:cubicBezTo>
                    <a:pt x="513" y="667"/>
                    <a:pt x="521" y="666"/>
                    <a:pt x="530" y="666"/>
                  </a:cubicBezTo>
                  <a:cubicBezTo>
                    <a:pt x="531" y="658"/>
                    <a:pt x="533" y="650"/>
                    <a:pt x="536" y="642"/>
                  </a:cubicBezTo>
                  <a:cubicBezTo>
                    <a:pt x="540" y="635"/>
                    <a:pt x="545" y="627"/>
                    <a:pt x="553" y="619"/>
                  </a:cubicBezTo>
                  <a:cubicBezTo>
                    <a:pt x="562" y="610"/>
                    <a:pt x="572" y="603"/>
                    <a:pt x="582" y="599"/>
                  </a:cubicBezTo>
                  <a:cubicBezTo>
                    <a:pt x="592" y="595"/>
                    <a:pt x="603" y="593"/>
                    <a:pt x="613" y="594"/>
                  </a:cubicBezTo>
                  <a:cubicBezTo>
                    <a:pt x="623" y="594"/>
                    <a:pt x="634" y="597"/>
                    <a:pt x="644" y="602"/>
                  </a:cubicBezTo>
                  <a:cubicBezTo>
                    <a:pt x="654" y="607"/>
                    <a:pt x="664" y="614"/>
                    <a:pt x="673" y="623"/>
                  </a:cubicBezTo>
                  <a:cubicBezTo>
                    <a:pt x="677" y="628"/>
                    <a:pt x="682" y="632"/>
                    <a:pt x="685" y="637"/>
                  </a:cubicBezTo>
                  <a:cubicBezTo>
                    <a:pt x="689" y="642"/>
                    <a:pt x="692" y="646"/>
                    <a:pt x="695" y="651"/>
                  </a:cubicBezTo>
                  <a:lnTo>
                    <a:pt x="743" y="699"/>
                  </a:lnTo>
                  <a:cubicBezTo>
                    <a:pt x="745" y="701"/>
                    <a:pt x="746" y="704"/>
                    <a:pt x="745" y="707"/>
                  </a:cubicBezTo>
                  <a:cubicBezTo>
                    <a:pt x="744" y="710"/>
                    <a:pt x="741" y="713"/>
                    <a:pt x="737" y="717"/>
                  </a:cubicBezTo>
                  <a:close/>
                  <a:moveTo>
                    <a:pt x="650" y="713"/>
                  </a:moveTo>
                  <a:cubicBezTo>
                    <a:pt x="661" y="702"/>
                    <a:pt x="666" y="691"/>
                    <a:pt x="666" y="679"/>
                  </a:cubicBezTo>
                  <a:cubicBezTo>
                    <a:pt x="666" y="667"/>
                    <a:pt x="661" y="656"/>
                    <a:pt x="650" y="645"/>
                  </a:cubicBezTo>
                  <a:cubicBezTo>
                    <a:pt x="644" y="639"/>
                    <a:pt x="638" y="635"/>
                    <a:pt x="632" y="633"/>
                  </a:cubicBezTo>
                  <a:cubicBezTo>
                    <a:pt x="626" y="630"/>
                    <a:pt x="620" y="629"/>
                    <a:pt x="614" y="630"/>
                  </a:cubicBezTo>
                  <a:cubicBezTo>
                    <a:pt x="608" y="630"/>
                    <a:pt x="602" y="632"/>
                    <a:pt x="596" y="635"/>
                  </a:cubicBezTo>
                  <a:cubicBezTo>
                    <a:pt x="591" y="638"/>
                    <a:pt x="586" y="642"/>
                    <a:pt x="581" y="647"/>
                  </a:cubicBezTo>
                  <a:cubicBezTo>
                    <a:pt x="570" y="657"/>
                    <a:pt x="565" y="668"/>
                    <a:pt x="565" y="680"/>
                  </a:cubicBezTo>
                  <a:cubicBezTo>
                    <a:pt x="565" y="692"/>
                    <a:pt x="570" y="704"/>
                    <a:pt x="581" y="714"/>
                  </a:cubicBezTo>
                  <a:cubicBezTo>
                    <a:pt x="587" y="720"/>
                    <a:pt x="593" y="724"/>
                    <a:pt x="599" y="727"/>
                  </a:cubicBezTo>
                  <a:cubicBezTo>
                    <a:pt x="605" y="729"/>
                    <a:pt x="611" y="730"/>
                    <a:pt x="617" y="730"/>
                  </a:cubicBezTo>
                  <a:cubicBezTo>
                    <a:pt x="623" y="729"/>
                    <a:pt x="629" y="727"/>
                    <a:pt x="634" y="725"/>
                  </a:cubicBezTo>
                  <a:cubicBezTo>
                    <a:pt x="640" y="722"/>
                    <a:pt x="645" y="718"/>
                    <a:pt x="650" y="713"/>
                  </a:cubicBezTo>
                  <a:close/>
                  <a:moveTo>
                    <a:pt x="538" y="854"/>
                  </a:moveTo>
                  <a:cubicBezTo>
                    <a:pt x="545" y="847"/>
                    <a:pt x="548" y="839"/>
                    <a:pt x="546" y="830"/>
                  </a:cubicBezTo>
                  <a:cubicBezTo>
                    <a:pt x="544" y="821"/>
                    <a:pt x="538" y="811"/>
                    <a:pt x="529" y="801"/>
                  </a:cubicBezTo>
                  <a:lnTo>
                    <a:pt x="489" y="759"/>
                  </a:lnTo>
                  <a:cubicBezTo>
                    <a:pt x="482" y="758"/>
                    <a:pt x="477" y="757"/>
                    <a:pt x="471" y="758"/>
                  </a:cubicBezTo>
                  <a:cubicBezTo>
                    <a:pt x="466" y="758"/>
                    <a:pt x="462" y="759"/>
                    <a:pt x="458" y="760"/>
                  </a:cubicBezTo>
                  <a:cubicBezTo>
                    <a:pt x="454" y="761"/>
                    <a:pt x="451" y="762"/>
                    <a:pt x="448" y="764"/>
                  </a:cubicBezTo>
                  <a:cubicBezTo>
                    <a:pt x="445" y="766"/>
                    <a:pt x="442" y="768"/>
                    <a:pt x="440" y="770"/>
                  </a:cubicBezTo>
                  <a:cubicBezTo>
                    <a:pt x="432" y="778"/>
                    <a:pt x="430" y="788"/>
                    <a:pt x="434" y="799"/>
                  </a:cubicBezTo>
                  <a:cubicBezTo>
                    <a:pt x="438" y="811"/>
                    <a:pt x="447" y="824"/>
                    <a:pt x="461" y="838"/>
                  </a:cubicBezTo>
                  <a:cubicBezTo>
                    <a:pt x="470" y="847"/>
                    <a:pt x="478" y="853"/>
                    <a:pt x="486" y="857"/>
                  </a:cubicBezTo>
                  <a:cubicBezTo>
                    <a:pt x="493" y="862"/>
                    <a:pt x="500" y="864"/>
                    <a:pt x="507" y="865"/>
                  </a:cubicBezTo>
                  <a:cubicBezTo>
                    <a:pt x="513" y="866"/>
                    <a:pt x="519" y="865"/>
                    <a:pt x="524" y="863"/>
                  </a:cubicBezTo>
                  <a:cubicBezTo>
                    <a:pt x="530" y="861"/>
                    <a:pt x="534" y="858"/>
                    <a:pt x="538" y="854"/>
                  </a:cubicBezTo>
                  <a:close/>
                  <a:moveTo>
                    <a:pt x="651" y="935"/>
                  </a:moveTo>
                  <a:cubicBezTo>
                    <a:pt x="650" y="936"/>
                    <a:pt x="649" y="936"/>
                    <a:pt x="648" y="936"/>
                  </a:cubicBezTo>
                  <a:cubicBezTo>
                    <a:pt x="647" y="937"/>
                    <a:pt x="646" y="936"/>
                    <a:pt x="644" y="936"/>
                  </a:cubicBezTo>
                  <a:cubicBezTo>
                    <a:pt x="643" y="935"/>
                    <a:pt x="641" y="934"/>
                    <a:pt x="639" y="933"/>
                  </a:cubicBezTo>
                  <a:cubicBezTo>
                    <a:pt x="637" y="931"/>
                    <a:pt x="634" y="929"/>
                    <a:pt x="631" y="926"/>
                  </a:cubicBezTo>
                  <a:cubicBezTo>
                    <a:pt x="628" y="923"/>
                    <a:pt x="626" y="920"/>
                    <a:pt x="624" y="918"/>
                  </a:cubicBezTo>
                  <a:cubicBezTo>
                    <a:pt x="623" y="916"/>
                    <a:pt x="622" y="914"/>
                    <a:pt x="621" y="913"/>
                  </a:cubicBezTo>
                  <a:cubicBezTo>
                    <a:pt x="620" y="911"/>
                    <a:pt x="620" y="910"/>
                    <a:pt x="620" y="909"/>
                  </a:cubicBezTo>
                  <a:cubicBezTo>
                    <a:pt x="621" y="908"/>
                    <a:pt x="621" y="907"/>
                    <a:pt x="622" y="906"/>
                  </a:cubicBezTo>
                  <a:lnTo>
                    <a:pt x="858" y="669"/>
                  </a:lnTo>
                  <a:cubicBezTo>
                    <a:pt x="859" y="669"/>
                    <a:pt x="860" y="668"/>
                    <a:pt x="861" y="668"/>
                  </a:cubicBezTo>
                  <a:cubicBezTo>
                    <a:pt x="862" y="667"/>
                    <a:pt x="864" y="668"/>
                    <a:pt x="865" y="668"/>
                  </a:cubicBezTo>
                  <a:cubicBezTo>
                    <a:pt x="867" y="669"/>
                    <a:pt x="869" y="670"/>
                    <a:pt x="871" y="672"/>
                  </a:cubicBezTo>
                  <a:cubicBezTo>
                    <a:pt x="873" y="673"/>
                    <a:pt x="876" y="675"/>
                    <a:pt x="878" y="678"/>
                  </a:cubicBezTo>
                  <a:cubicBezTo>
                    <a:pt x="881" y="681"/>
                    <a:pt x="884" y="684"/>
                    <a:pt x="885" y="686"/>
                  </a:cubicBezTo>
                  <a:cubicBezTo>
                    <a:pt x="887" y="688"/>
                    <a:pt x="888" y="690"/>
                    <a:pt x="889" y="691"/>
                  </a:cubicBezTo>
                  <a:cubicBezTo>
                    <a:pt x="889" y="693"/>
                    <a:pt x="889" y="694"/>
                    <a:pt x="889" y="695"/>
                  </a:cubicBezTo>
                  <a:cubicBezTo>
                    <a:pt x="889" y="697"/>
                    <a:pt x="888" y="698"/>
                    <a:pt x="887" y="699"/>
                  </a:cubicBezTo>
                  <a:lnTo>
                    <a:pt x="651" y="935"/>
                  </a:lnTo>
                  <a:close/>
                  <a:moveTo>
                    <a:pt x="742" y="1025"/>
                  </a:moveTo>
                  <a:cubicBezTo>
                    <a:pt x="741" y="1026"/>
                    <a:pt x="740" y="1027"/>
                    <a:pt x="739" y="1027"/>
                  </a:cubicBezTo>
                  <a:cubicBezTo>
                    <a:pt x="738" y="1027"/>
                    <a:pt x="736" y="1027"/>
                    <a:pt x="735" y="1026"/>
                  </a:cubicBezTo>
                  <a:cubicBezTo>
                    <a:pt x="733" y="1026"/>
                    <a:pt x="731" y="1025"/>
                    <a:pt x="729" y="1023"/>
                  </a:cubicBezTo>
                  <a:cubicBezTo>
                    <a:pt x="727" y="1021"/>
                    <a:pt x="725" y="1019"/>
                    <a:pt x="722" y="1016"/>
                  </a:cubicBezTo>
                  <a:cubicBezTo>
                    <a:pt x="719" y="1013"/>
                    <a:pt x="717" y="1011"/>
                    <a:pt x="715" y="1009"/>
                  </a:cubicBezTo>
                  <a:cubicBezTo>
                    <a:pt x="713" y="1007"/>
                    <a:pt x="712" y="1005"/>
                    <a:pt x="711" y="1003"/>
                  </a:cubicBezTo>
                  <a:cubicBezTo>
                    <a:pt x="711" y="1002"/>
                    <a:pt x="711" y="1000"/>
                    <a:pt x="711" y="999"/>
                  </a:cubicBezTo>
                  <a:cubicBezTo>
                    <a:pt x="711" y="998"/>
                    <a:pt x="712" y="997"/>
                    <a:pt x="713" y="996"/>
                  </a:cubicBezTo>
                  <a:lnTo>
                    <a:pt x="872" y="837"/>
                  </a:lnTo>
                  <a:cubicBezTo>
                    <a:pt x="873" y="836"/>
                    <a:pt x="874" y="836"/>
                    <a:pt x="875" y="835"/>
                  </a:cubicBezTo>
                  <a:cubicBezTo>
                    <a:pt x="876" y="835"/>
                    <a:pt x="877" y="835"/>
                    <a:pt x="879" y="836"/>
                  </a:cubicBezTo>
                  <a:cubicBezTo>
                    <a:pt x="880" y="837"/>
                    <a:pt x="882" y="838"/>
                    <a:pt x="884" y="839"/>
                  </a:cubicBezTo>
                  <a:cubicBezTo>
                    <a:pt x="886" y="841"/>
                    <a:pt x="889" y="843"/>
                    <a:pt x="892" y="846"/>
                  </a:cubicBezTo>
                  <a:cubicBezTo>
                    <a:pt x="895" y="849"/>
                    <a:pt x="897" y="852"/>
                    <a:pt x="899" y="854"/>
                  </a:cubicBezTo>
                  <a:cubicBezTo>
                    <a:pt x="900" y="856"/>
                    <a:pt x="901" y="858"/>
                    <a:pt x="902" y="859"/>
                  </a:cubicBezTo>
                  <a:cubicBezTo>
                    <a:pt x="903" y="861"/>
                    <a:pt x="903" y="862"/>
                    <a:pt x="902" y="863"/>
                  </a:cubicBezTo>
                  <a:cubicBezTo>
                    <a:pt x="902" y="864"/>
                    <a:pt x="902" y="865"/>
                    <a:pt x="901" y="866"/>
                  </a:cubicBezTo>
                  <a:lnTo>
                    <a:pt x="742" y="1025"/>
                  </a:lnTo>
                  <a:close/>
                  <a:moveTo>
                    <a:pt x="958" y="816"/>
                  </a:moveTo>
                  <a:cubicBezTo>
                    <a:pt x="951" y="823"/>
                    <a:pt x="945" y="826"/>
                    <a:pt x="940" y="826"/>
                  </a:cubicBezTo>
                  <a:cubicBezTo>
                    <a:pt x="935" y="826"/>
                    <a:pt x="929" y="822"/>
                    <a:pt x="922" y="815"/>
                  </a:cubicBezTo>
                  <a:cubicBezTo>
                    <a:pt x="915" y="808"/>
                    <a:pt x="912" y="803"/>
                    <a:pt x="912" y="798"/>
                  </a:cubicBezTo>
                  <a:cubicBezTo>
                    <a:pt x="912" y="793"/>
                    <a:pt x="915" y="787"/>
                    <a:pt x="922" y="780"/>
                  </a:cubicBezTo>
                  <a:cubicBezTo>
                    <a:pt x="928" y="773"/>
                    <a:pt x="934" y="770"/>
                    <a:pt x="939" y="770"/>
                  </a:cubicBezTo>
                  <a:cubicBezTo>
                    <a:pt x="944" y="770"/>
                    <a:pt x="950" y="774"/>
                    <a:pt x="957" y="781"/>
                  </a:cubicBezTo>
                  <a:cubicBezTo>
                    <a:pt x="964" y="788"/>
                    <a:pt x="968" y="793"/>
                    <a:pt x="968" y="798"/>
                  </a:cubicBezTo>
                  <a:cubicBezTo>
                    <a:pt x="968" y="803"/>
                    <a:pt x="965" y="809"/>
                    <a:pt x="958" y="816"/>
                  </a:cubicBezTo>
                  <a:close/>
                  <a:moveTo>
                    <a:pt x="929" y="1212"/>
                  </a:moveTo>
                  <a:cubicBezTo>
                    <a:pt x="928" y="1213"/>
                    <a:pt x="927" y="1214"/>
                    <a:pt x="926" y="1214"/>
                  </a:cubicBezTo>
                  <a:cubicBezTo>
                    <a:pt x="925" y="1214"/>
                    <a:pt x="923" y="1214"/>
                    <a:pt x="922" y="1213"/>
                  </a:cubicBezTo>
                  <a:cubicBezTo>
                    <a:pt x="920" y="1213"/>
                    <a:pt x="918" y="1212"/>
                    <a:pt x="916" y="1210"/>
                  </a:cubicBezTo>
                  <a:cubicBezTo>
                    <a:pt x="914" y="1208"/>
                    <a:pt x="912" y="1206"/>
                    <a:pt x="909" y="1203"/>
                  </a:cubicBezTo>
                  <a:cubicBezTo>
                    <a:pt x="906" y="1200"/>
                    <a:pt x="904" y="1198"/>
                    <a:pt x="902" y="1196"/>
                  </a:cubicBezTo>
                  <a:cubicBezTo>
                    <a:pt x="900" y="1194"/>
                    <a:pt x="899" y="1192"/>
                    <a:pt x="899" y="1190"/>
                  </a:cubicBezTo>
                  <a:cubicBezTo>
                    <a:pt x="898" y="1189"/>
                    <a:pt x="898" y="1187"/>
                    <a:pt x="898" y="1186"/>
                  </a:cubicBezTo>
                  <a:cubicBezTo>
                    <a:pt x="898" y="1185"/>
                    <a:pt x="899" y="1184"/>
                    <a:pt x="900" y="1183"/>
                  </a:cubicBezTo>
                  <a:lnTo>
                    <a:pt x="993" y="1090"/>
                  </a:lnTo>
                  <a:cubicBezTo>
                    <a:pt x="1002" y="1081"/>
                    <a:pt x="1008" y="1073"/>
                    <a:pt x="1013" y="1066"/>
                  </a:cubicBezTo>
                  <a:cubicBezTo>
                    <a:pt x="1017" y="1059"/>
                    <a:pt x="1019" y="1052"/>
                    <a:pt x="1021" y="1045"/>
                  </a:cubicBezTo>
                  <a:cubicBezTo>
                    <a:pt x="1022" y="1039"/>
                    <a:pt x="1022" y="1032"/>
                    <a:pt x="1019" y="1026"/>
                  </a:cubicBezTo>
                  <a:cubicBezTo>
                    <a:pt x="1017" y="1019"/>
                    <a:pt x="1013" y="1013"/>
                    <a:pt x="1008" y="1008"/>
                  </a:cubicBezTo>
                  <a:cubicBezTo>
                    <a:pt x="1000" y="1000"/>
                    <a:pt x="990" y="996"/>
                    <a:pt x="978" y="994"/>
                  </a:cubicBezTo>
                  <a:cubicBezTo>
                    <a:pt x="965" y="991"/>
                    <a:pt x="950" y="991"/>
                    <a:pt x="932" y="993"/>
                  </a:cubicBezTo>
                  <a:lnTo>
                    <a:pt x="821" y="1105"/>
                  </a:lnTo>
                  <a:cubicBezTo>
                    <a:pt x="820" y="1105"/>
                    <a:pt x="819" y="1106"/>
                    <a:pt x="818" y="1106"/>
                  </a:cubicBezTo>
                  <a:cubicBezTo>
                    <a:pt x="817" y="1106"/>
                    <a:pt x="815" y="1106"/>
                    <a:pt x="814" y="1106"/>
                  </a:cubicBezTo>
                  <a:cubicBezTo>
                    <a:pt x="812" y="1105"/>
                    <a:pt x="811" y="1104"/>
                    <a:pt x="808" y="1102"/>
                  </a:cubicBezTo>
                  <a:cubicBezTo>
                    <a:pt x="806" y="1101"/>
                    <a:pt x="804" y="1098"/>
                    <a:pt x="801" y="1095"/>
                  </a:cubicBezTo>
                  <a:cubicBezTo>
                    <a:pt x="798" y="1093"/>
                    <a:pt x="796" y="1090"/>
                    <a:pt x="794" y="1088"/>
                  </a:cubicBezTo>
                  <a:cubicBezTo>
                    <a:pt x="792" y="1086"/>
                    <a:pt x="791" y="1084"/>
                    <a:pt x="791" y="1082"/>
                  </a:cubicBezTo>
                  <a:cubicBezTo>
                    <a:pt x="790" y="1081"/>
                    <a:pt x="790" y="1079"/>
                    <a:pt x="790" y="1078"/>
                  </a:cubicBezTo>
                  <a:cubicBezTo>
                    <a:pt x="790" y="1077"/>
                    <a:pt x="791" y="1076"/>
                    <a:pt x="792" y="1075"/>
                  </a:cubicBezTo>
                  <a:lnTo>
                    <a:pt x="951" y="916"/>
                  </a:lnTo>
                  <a:cubicBezTo>
                    <a:pt x="952" y="915"/>
                    <a:pt x="953" y="915"/>
                    <a:pt x="954" y="914"/>
                  </a:cubicBezTo>
                  <a:cubicBezTo>
                    <a:pt x="955" y="914"/>
                    <a:pt x="956" y="914"/>
                    <a:pt x="958" y="915"/>
                  </a:cubicBezTo>
                  <a:cubicBezTo>
                    <a:pt x="959" y="915"/>
                    <a:pt x="961" y="916"/>
                    <a:pt x="963" y="918"/>
                  </a:cubicBezTo>
                  <a:cubicBezTo>
                    <a:pt x="965" y="919"/>
                    <a:pt x="967" y="921"/>
                    <a:pt x="970" y="924"/>
                  </a:cubicBezTo>
                  <a:cubicBezTo>
                    <a:pt x="972" y="927"/>
                    <a:pt x="974" y="929"/>
                    <a:pt x="976" y="931"/>
                  </a:cubicBezTo>
                  <a:cubicBezTo>
                    <a:pt x="977" y="933"/>
                    <a:pt x="978" y="934"/>
                    <a:pt x="979" y="936"/>
                  </a:cubicBezTo>
                  <a:cubicBezTo>
                    <a:pt x="979" y="937"/>
                    <a:pt x="979" y="939"/>
                    <a:pt x="979" y="940"/>
                  </a:cubicBezTo>
                  <a:cubicBezTo>
                    <a:pt x="979" y="941"/>
                    <a:pt x="978" y="942"/>
                    <a:pt x="977" y="943"/>
                  </a:cubicBezTo>
                  <a:lnTo>
                    <a:pt x="956" y="964"/>
                  </a:lnTo>
                  <a:cubicBezTo>
                    <a:pt x="975" y="963"/>
                    <a:pt x="991" y="964"/>
                    <a:pt x="1005" y="968"/>
                  </a:cubicBezTo>
                  <a:cubicBezTo>
                    <a:pt x="1019" y="973"/>
                    <a:pt x="1030" y="979"/>
                    <a:pt x="1039" y="988"/>
                  </a:cubicBezTo>
                  <a:cubicBezTo>
                    <a:pt x="1050" y="999"/>
                    <a:pt x="1057" y="1010"/>
                    <a:pt x="1060" y="1021"/>
                  </a:cubicBezTo>
                  <a:cubicBezTo>
                    <a:pt x="1064" y="1031"/>
                    <a:pt x="1065" y="1042"/>
                    <a:pt x="1064" y="1053"/>
                  </a:cubicBezTo>
                  <a:cubicBezTo>
                    <a:pt x="1062" y="1063"/>
                    <a:pt x="1058" y="1073"/>
                    <a:pt x="1052" y="1083"/>
                  </a:cubicBezTo>
                  <a:cubicBezTo>
                    <a:pt x="1046" y="1093"/>
                    <a:pt x="1037" y="1104"/>
                    <a:pt x="1026" y="1115"/>
                  </a:cubicBezTo>
                  <a:lnTo>
                    <a:pt x="929" y="1212"/>
                  </a:lnTo>
                  <a:close/>
                  <a:moveTo>
                    <a:pt x="1013" y="1297"/>
                  </a:moveTo>
                  <a:cubicBezTo>
                    <a:pt x="1012" y="1298"/>
                    <a:pt x="1011" y="1298"/>
                    <a:pt x="1010" y="1299"/>
                  </a:cubicBezTo>
                  <a:cubicBezTo>
                    <a:pt x="1009" y="1299"/>
                    <a:pt x="1008" y="1299"/>
                    <a:pt x="1006" y="1298"/>
                  </a:cubicBezTo>
                  <a:cubicBezTo>
                    <a:pt x="1005" y="1297"/>
                    <a:pt x="1003" y="1296"/>
                    <a:pt x="1001" y="1295"/>
                  </a:cubicBezTo>
                  <a:cubicBezTo>
                    <a:pt x="999" y="1293"/>
                    <a:pt x="996" y="1291"/>
                    <a:pt x="993" y="1288"/>
                  </a:cubicBezTo>
                  <a:cubicBezTo>
                    <a:pt x="990" y="1285"/>
                    <a:pt x="988" y="1282"/>
                    <a:pt x="986" y="1280"/>
                  </a:cubicBezTo>
                  <a:cubicBezTo>
                    <a:pt x="985" y="1278"/>
                    <a:pt x="984" y="1276"/>
                    <a:pt x="983" y="1275"/>
                  </a:cubicBezTo>
                  <a:cubicBezTo>
                    <a:pt x="982" y="1273"/>
                    <a:pt x="982" y="1272"/>
                    <a:pt x="982" y="1271"/>
                  </a:cubicBezTo>
                  <a:cubicBezTo>
                    <a:pt x="983" y="1270"/>
                    <a:pt x="983" y="1269"/>
                    <a:pt x="984" y="1268"/>
                  </a:cubicBezTo>
                  <a:lnTo>
                    <a:pt x="1143" y="1109"/>
                  </a:lnTo>
                  <a:cubicBezTo>
                    <a:pt x="1144" y="1108"/>
                    <a:pt x="1145" y="1107"/>
                    <a:pt x="1146" y="1107"/>
                  </a:cubicBezTo>
                  <a:cubicBezTo>
                    <a:pt x="1147" y="1107"/>
                    <a:pt x="1149" y="1107"/>
                    <a:pt x="1150" y="1107"/>
                  </a:cubicBezTo>
                  <a:cubicBezTo>
                    <a:pt x="1152" y="1108"/>
                    <a:pt x="1154" y="1109"/>
                    <a:pt x="1156" y="1111"/>
                  </a:cubicBezTo>
                  <a:cubicBezTo>
                    <a:pt x="1158" y="1113"/>
                    <a:pt x="1160" y="1115"/>
                    <a:pt x="1163" y="1118"/>
                  </a:cubicBezTo>
                  <a:cubicBezTo>
                    <a:pt x="1166" y="1121"/>
                    <a:pt x="1168" y="1123"/>
                    <a:pt x="1170" y="1125"/>
                  </a:cubicBezTo>
                  <a:cubicBezTo>
                    <a:pt x="1172" y="1127"/>
                    <a:pt x="1173" y="1129"/>
                    <a:pt x="1173" y="1131"/>
                  </a:cubicBezTo>
                  <a:cubicBezTo>
                    <a:pt x="1174" y="1132"/>
                    <a:pt x="1174" y="1134"/>
                    <a:pt x="1174" y="1135"/>
                  </a:cubicBezTo>
                  <a:cubicBezTo>
                    <a:pt x="1174" y="1136"/>
                    <a:pt x="1173" y="1137"/>
                    <a:pt x="1172" y="1138"/>
                  </a:cubicBezTo>
                  <a:lnTo>
                    <a:pt x="1013" y="1297"/>
                  </a:lnTo>
                  <a:close/>
                  <a:moveTo>
                    <a:pt x="1230" y="1087"/>
                  </a:moveTo>
                  <a:cubicBezTo>
                    <a:pt x="1223" y="1094"/>
                    <a:pt x="1217" y="1098"/>
                    <a:pt x="1212" y="1097"/>
                  </a:cubicBezTo>
                  <a:cubicBezTo>
                    <a:pt x="1207" y="1097"/>
                    <a:pt x="1201" y="1094"/>
                    <a:pt x="1194" y="1087"/>
                  </a:cubicBezTo>
                  <a:cubicBezTo>
                    <a:pt x="1187" y="1080"/>
                    <a:pt x="1183" y="1074"/>
                    <a:pt x="1183" y="1069"/>
                  </a:cubicBezTo>
                  <a:cubicBezTo>
                    <a:pt x="1183" y="1064"/>
                    <a:pt x="1186" y="1058"/>
                    <a:pt x="1193" y="1052"/>
                  </a:cubicBezTo>
                  <a:cubicBezTo>
                    <a:pt x="1200" y="1045"/>
                    <a:pt x="1206" y="1041"/>
                    <a:pt x="1211" y="1042"/>
                  </a:cubicBezTo>
                  <a:cubicBezTo>
                    <a:pt x="1216" y="1042"/>
                    <a:pt x="1222" y="1045"/>
                    <a:pt x="1229" y="1052"/>
                  </a:cubicBezTo>
                  <a:cubicBezTo>
                    <a:pt x="1236" y="1059"/>
                    <a:pt x="1239" y="1065"/>
                    <a:pt x="1239" y="1070"/>
                  </a:cubicBezTo>
                  <a:cubicBezTo>
                    <a:pt x="1240" y="1075"/>
                    <a:pt x="1236" y="1081"/>
                    <a:pt x="1230" y="1087"/>
                  </a:cubicBezTo>
                  <a:close/>
                  <a:moveTo>
                    <a:pt x="1286" y="1396"/>
                  </a:moveTo>
                  <a:cubicBezTo>
                    <a:pt x="1281" y="1401"/>
                    <a:pt x="1277" y="1403"/>
                    <a:pt x="1272" y="1403"/>
                  </a:cubicBezTo>
                  <a:cubicBezTo>
                    <a:pt x="1268" y="1402"/>
                    <a:pt x="1264" y="1401"/>
                    <a:pt x="1261" y="1398"/>
                  </a:cubicBezTo>
                  <a:lnTo>
                    <a:pt x="1157" y="1293"/>
                  </a:lnTo>
                  <a:cubicBezTo>
                    <a:pt x="1148" y="1302"/>
                    <a:pt x="1141" y="1310"/>
                    <a:pt x="1135" y="1319"/>
                  </a:cubicBezTo>
                  <a:cubicBezTo>
                    <a:pt x="1130" y="1328"/>
                    <a:pt x="1127" y="1337"/>
                    <a:pt x="1126" y="1346"/>
                  </a:cubicBezTo>
                  <a:cubicBezTo>
                    <a:pt x="1125" y="1356"/>
                    <a:pt x="1127" y="1365"/>
                    <a:pt x="1131" y="1374"/>
                  </a:cubicBezTo>
                  <a:cubicBezTo>
                    <a:pt x="1135" y="1384"/>
                    <a:pt x="1141" y="1393"/>
                    <a:pt x="1151" y="1403"/>
                  </a:cubicBezTo>
                  <a:cubicBezTo>
                    <a:pt x="1158" y="1410"/>
                    <a:pt x="1166" y="1416"/>
                    <a:pt x="1173" y="1421"/>
                  </a:cubicBezTo>
                  <a:cubicBezTo>
                    <a:pt x="1180" y="1426"/>
                    <a:pt x="1187" y="1429"/>
                    <a:pt x="1193" y="1432"/>
                  </a:cubicBezTo>
                  <a:cubicBezTo>
                    <a:pt x="1198" y="1435"/>
                    <a:pt x="1203" y="1437"/>
                    <a:pt x="1207" y="1439"/>
                  </a:cubicBezTo>
                  <a:cubicBezTo>
                    <a:pt x="1211" y="1440"/>
                    <a:pt x="1214" y="1442"/>
                    <a:pt x="1216" y="1443"/>
                  </a:cubicBezTo>
                  <a:cubicBezTo>
                    <a:pt x="1216" y="1444"/>
                    <a:pt x="1217" y="1445"/>
                    <a:pt x="1217" y="1446"/>
                  </a:cubicBezTo>
                  <a:cubicBezTo>
                    <a:pt x="1217" y="1447"/>
                    <a:pt x="1217" y="1448"/>
                    <a:pt x="1217" y="1449"/>
                  </a:cubicBezTo>
                  <a:cubicBezTo>
                    <a:pt x="1216" y="1451"/>
                    <a:pt x="1215" y="1452"/>
                    <a:pt x="1214" y="1454"/>
                  </a:cubicBezTo>
                  <a:cubicBezTo>
                    <a:pt x="1213" y="1455"/>
                    <a:pt x="1211" y="1457"/>
                    <a:pt x="1209" y="1459"/>
                  </a:cubicBezTo>
                  <a:cubicBezTo>
                    <a:pt x="1207" y="1461"/>
                    <a:pt x="1206" y="1462"/>
                    <a:pt x="1205" y="1463"/>
                  </a:cubicBezTo>
                  <a:cubicBezTo>
                    <a:pt x="1204" y="1464"/>
                    <a:pt x="1202" y="1465"/>
                    <a:pt x="1201" y="1466"/>
                  </a:cubicBezTo>
                  <a:cubicBezTo>
                    <a:pt x="1200" y="1466"/>
                    <a:pt x="1199" y="1467"/>
                    <a:pt x="1198" y="1467"/>
                  </a:cubicBezTo>
                  <a:cubicBezTo>
                    <a:pt x="1197" y="1467"/>
                    <a:pt x="1196" y="1468"/>
                    <a:pt x="1195" y="1468"/>
                  </a:cubicBezTo>
                  <a:cubicBezTo>
                    <a:pt x="1193" y="1468"/>
                    <a:pt x="1190" y="1467"/>
                    <a:pt x="1186" y="1465"/>
                  </a:cubicBezTo>
                  <a:cubicBezTo>
                    <a:pt x="1181" y="1463"/>
                    <a:pt x="1175" y="1461"/>
                    <a:pt x="1169" y="1457"/>
                  </a:cubicBezTo>
                  <a:cubicBezTo>
                    <a:pt x="1162" y="1453"/>
                    <a:pt x="1155" y="1449"/>
                    <a:pt x="1147" y="1443"/>
                  </a:cubicBezTo>
                  <a:cubicBezTo>
                    <a:pt x="1140" y="1438"/>
                    <a:pt x="1132" y="1431"/>
                    <a:pt x="1125" y="1424"/>
                  </a:cubicBezTo>
                  <a:cubicBezTo>
                    <a:pt x="1111" y="1411"/>
                    <a:pt x="1102" y="1397"/>
                    <a:pt x="1096" y="1384"/>
                  </a:cubicBezTo>
                  <a:cubicBezTo>
                    <a:pt x="1089" y="1370"/>
                    <a:pt x="1087" y="1357"/>
                    <a:pt x="1087" y="1343"/>
                  </a:cubicBezTo>
                  <a:cubicBezTo>
                    <a:pt x="1087" y="1329"/>
                    <a:pt x="1091" y="1315"/>
                    <a:pt x="1099" y="1300"/>
                  </a:cubicBezTo>
                  <a:cubicBezTo>
                    <a:pt x="1106" y="1286"/>
                    <a:pt x="1117" y="1272"/>
                    <a:pt x="1132" y="1257"/>
                  </a:cubicBezTo>
                  <a:cubicBezTo>
                    <a:pt x="1145" y="1244"/>
                    <a:pt x="1159" y="1233"/>
                    <a:pt x="1174" y="1226"/>
                  </a:cubicBezTo>
                  <a:cubicBezTo>
                    <a:pt x="1188" y="1219"/>
                    <a:pt x="1203" y="1214"/>
                    <a:pt x="1217" y="1213"/>
                  </a:cubicBezTo>
                  <a:cubicBezTo>
                    <a:pt x="1231" y="1212"/>
                    <a:pt x="1245" y="1215"/>
                    <a:pt x="1258" y="1220"/>
                  </a:cubicBezTo>
                  <a:cubicBezTo>
                    <a:pt x="1272" y="1225"/>
                    <a:pt x="1284" y="1234"/>
                    <a:pt x="1296" y="1246"/>
                  </a:cubicBezTo>
                  <a:cubicBezTo>
                    <a:pt x="1309" y="1258"/>
                    <a:pt x="1317" y="1271"/>
                    <a:pt x="1322" y="1284"/>
                  </a:cubicBezTo>
                  <a:cubicBezTo>
                    <a:pt x="1327" y="1296"/>
                    <a:pt x="1329" y="1309"/>
                    <a:pt x="1328" y="1321"/>
                  </a:cubicBezTo>
                  <a:cubicBezTo>
                    <a:pt x="1326" y="1334"/>
                    <a:pt x="1323" y="1346"/>
                    <a:pt x="1316" y="1358"/>
                  </a:cubicBezTo>
                  <a:cubicBezTo>
                    <a:pt x="1310" y="1369"/>
                    <a:pt x="1301" y="1381"/>
                    <a:pt x="1291" y="1391"/>
                  </a:cubicBezTo>
                  <a:lnTo>
                    <a:pt x="1286" y="1396"/>
                  </a:lnTo>
                  <a:close/>
                  <a:moveTo>
                    <a:pt x="1265" y="1358"/>
                  </a:moveTo>
                  <a:cubicBezTo>
                    <a:pt x="1281" y="1343"/>
                    <a:pt x="1289" y="1328"/>
                    <a:pt x="1291" y="1312"/>
                  </a:cubicBezTo>
                  <a:cubicBezTo>
                    <a:pt x="1292" y="1296"/>
                    <a:pt x="1286" y="1281"/>
                    <a:pt x="1272" y="1267"/>
                  </a:cubicBezTo>
                  <a:cubicBezTo>
                    <a:pt x="1265" y="1260"/>
                    <a:pt x="1257" y="1255"/>
                    <a:pt x="1249" y="1252"/>
                  </a:cubicBezTo>
                  <a:cubicBezTo>
                    <a:pt x="1241" y="1249"/>
                    <a:pt x="1232" y="1248"/>
                    <a:pt x="1224" y="1249"/>
                  </a:cubicBezTo>
                  <a:cubicBezTo>
                    <a:pt x="1216" y="1250"/>
                    <a:pt x="1208" y="1252"/>
                    <a:pt x="1200" y="1256"/>
                  </a:cubicBezTo>
                  <a:cubicBezTo>
                    <a:pt x="1192" y="1260"/>
                    <a:pt x="1185" y="1265"/>
                    <a:pt x="1178" y="1271"/>
                  </a:cubicBezTo>
                  <a:lnTo>
                    <a:pt x="1265" y="1358"/>
                  </a:lnTo>
                  <a:close/>
                  <a:moveTo>
                    <a:pt x="1383" y="1618"/>
                  </a:moveTo>
                  <a:cubicBezTo>
                    <a:pt x="1381" y="1620"/>
                    <a:pt x="1379" y="1622"/>
                    <a:pt x="1378" y="1623"/>
                  </a:cubicBezTo>
                  <a:cubicBezTo>
                    <a:pt x="1376" y="1624"/>
                    <a:pt x="1375" y="1625"/>
                    <a:pt x="1373" y="1626"/>
                  </a:cubicBezTo>
                  <a:cubicBezTo>
                    <a:pt x="1372" y="1627"/>
                    <a:pt x="1371" y="1627"/>
                    <a:pt x="1370" y="1628"/>
                  </a:cubicBezTo>
                  <a:cubicBezTo>
                    <a:pt x="1368" y="1628"/>
                    <a:pt x="1366" y="1628"/>
                    <a:pt x="1363" y="1628"/>
                  </a:cubicBezTo>
                  <a:cubicBezTo>
                    <a:pt x="1360" y="1628"/>
                    <a:pt x="1356" y="1628"/>
                    <a:pt x="1350" y="1626"/>
                  </a:cubicBezTo>
                  <a:cubicBezTo>
                    <a:pt x="1345" y="1625"/>
                    <a:pt x="1339" y="1623"/>
                    <a:pt x="1333" y="1620"/>
                  </a:cubicBezTo>
                  <a:cubicBezTo>
                    <a:pt x="1326" y="1617"/>
                    <a:pt x="1320" y="1614"/>
                    <a:pt x="1314" y="1610"/>
                  </a:cubicBezTo>
                  <a:cubicBezTo>
                    <a:pt x="1308" y="1606"/>
                    <a:pt x="1302" y="1601"/>
                    <a:pt x="1296" y="1595"/>
                  </a:cubicBezTo>
                  <a:cubicBezTo>
                    <a:pt x="1285" y="1584"/>
                    <a:pt x="1277" y="1572"/>
                    <a:pt x="1272" y="1559"/>
                  </a:cubicBezTo>
                  <a:cubicBezTo>
                    <a:pt x="1267" y="1547"/>
                    <a:pt x="1265" y="1534"/>
                    <a:pt x="1266" y="1521"/>
                  </a:cubicBezTo>
                  <a:cubicBezTo>
                    <a:pt x="1267" y="1507"/>
                    <a:pt x="1272" y="1494"/>
                    <a:pt x="1279" y="1480"/>
                  </a:cubicBezTo>
                  <a:cubicBezTo>
                    <a:pt x="1286" y="1467"/>
                    <a:pt x="1297" y="1453"/>
                    <a:pt x="1311" y="1439"/>
                  </a:cubicBezTo>
                  <a:cubicBezTo>
                    <a:pt x="1326" y="1423"/>
                    <a:pt x="1342" y="1412"/>
                    <a:pt x="1357" y="1405"/>
                  </a:cubicBezTo>
                  <a:cubicBezTo>
                    <a:pt x="1372" y="1397"/>
                    <a:pt x="1387" y="1393"/>
                    <a:pt x="1400" y="1393"/>
                  </a:cubicBezTo>
                  <a:cubicBezTo>
                    <a:pt x="1414" y="1392"/>
                    <a:pt x="1427" y="1395"/>
                    <a:pt x="1440" y="1400"/>
                  </a:cubicBezTo>
                  <a:cubicBezTo>
                    <a:pt x="1452" y="1406"/>
                    <a:pt x="1464" y="1414"/>
                    <a:pt x="1474" y="1424"/>
                  </a:cubicBezTo>
                  <a:cubicBezTo>
                    <a:pt x="1479" y="1429"/>
                    <a:pt x="1484" y="1435"/>
                    <a:pt x="1488" y="1440"/>
                  </a:cubicBezTo>
                  <a:cubicBezTo>
                    <a:pt x="1492" y="1446"/>
                    <a:pt x="1495" y="1452"/>
                    <a:pt x="1497" y="1457"/>
                  </a:cubicBezTo>
                  <a:cubicBezTo>
                    <a:pt x="1500" y="1463"/>
                    <a:pt x="1501" y="1468"/>
                    <a:pt x="1503" y="1473"/>
                  </a:cubicBezTo>
                  <a:cubicBezTo>
                    <a:pt x="1504" y="1478"/>
                    <a:pt x="1504" y="1482"/>
                    <a:pt x="1504" y="1485"/>
                  </a:cubicBezTo>
                  <a:cubicBezTo>
                    <a:pt x="1504" y="1488"/>
                    <a:pt x="1504" y="1490"/>
                    <a:pt x="1504" y="1491"/>
                  </a:cubicBezTo>
                  <a:cubicBezTo>
                    <a:pt x="1503" y="1493"/>
                    <a:pt x="1503" y="1494"/>
                    <a:pt x="1502" y="1496"/>
                  </a:cubicBezTo>
                  <a:cubicBezTo>
                    <a:pt x="1501" y="1497"/>
                    <a:pt x="1500" y="1499"/>
                    <a:pt x="1499" y="1500"/>
                  </a:cubicBezTo>
                  <a:cubicBezTo>
                    <a:pt x="1498" y="1502"/>
                    <a:pt x="1496" y="1504"/>
                    <a:pt x="1494" y="1506"/>
                  </a:cubicBezTo>
                  <a:cubicBezTo>
                    <a:pt x="1489" y="1510"/>
                    <a:pt x="1486" y="1513"/>
                    <a:pt x="1483" y="1514"/>
                  </a:cubicBezTo>
                  <a:cubicBezTo>
                    <a:pt x="1480" y="1514"/>
                    <a:pt x="1478" y="1514"/>
                    <a:pt x="1476" y="1513"/>
                  </a:cubicBezTo>
                  <a:cubicBezTo>
                    <a:pt x="1474" y="1511"/>
                    <a:pt x="1473" y="1508"/>
                    <a:pt x="1473" y="1504"/>
                  </a:cubicBezTo>
                  <a:cubicBezTo>
                    <a:pt x="1473" y="1499"/>
                    <a:pt x="1472" y="1494"/>
                    <a:pt x="1471" y="1488"/>
                  </a:cubicBezTo>
                  <a:cubicBezTo>
                    <a:pt x="1469" y="1482"/>
                    <a:pt x="1467" y="1476"/>
                    <a:pt x="1464" y="1469"/>
                  </a:cubicBezTo>
                  <a:cubicBezTo>
                    <a:pt x="1461" y="1462"/>
                    <a:pt x="1456" y="1455"/>
                    <a:pt x="1449" y="1448"/>
                  </a:cubicBezTo>
                  <a:cubicBezTo>
                    <a:pt x="1435" y="1434"/>
                    <a:pt x="1419" y="1429"/>
                    <a:pt x="1401" y="1432"/>
                  </a:cubicBezTo>
                  <a:cubicBezTo>
                    <a:pt x="1383" y="1436"/>
                    <a:pt x="1363" y="1447"/>
                    <a:pt x="1343" y="1468"/>
                  </a:cubicBezTo>
                  <a:cubicBezTo>
                    <a:pt x="1333" y="1478"/>
                    <a:pt x="1325" y="1488"/>
                    <a:pt x="1319" y="1498"/>
                  </a:cubicBezTo>
                  <a:cubicBezTo>
                    <a:pt x="1313" y="1508"/>
                    <a:pt x="1309" y="1517"/>
                    <a:pt x="1308" y="1526"/>
                  </a:cubicBezTo>
                  <a:cubicBezTo>
                    <a:pt x="1307" y="1535"/>
                    <a:pt x="1307" y="1543"/>
                    <a:pt x="1310" y="1551"/>
                  </a:cubicBezTo>
                  <a:cubicBezTo>
                    <a:pt x="1313" y="1559"/>
                    <a:pt x="1318" y="1567"/>
                    <a:pt x="1325" y="1574"/>
                  </a:cubicBezTo>
                  <a:cubicBezTo>
                    <a:pt x="1332" y="1581"/>
                    <a:pt x="1339" y="1585"/>
                    <a:pt x="1346" y="1588"/>
                  </a:cubicBezTo>
                  <a:cubicBezTo>
                    <a:pt x="1353" y="1591"/>
                    <a:pt x="1360" y="1593"/>
                    <a:pt x="1366" y="1595"/>
                  </a:cubicBezTo>
                  <a:cubicBezTo>
                    <a:pt x="1373" y="1596"/>
                    <a:pt x="1378" y="1597"/>
                    <a:pt x="1383" y="1597"/>
                  </a:cubicBezTo>
                  <a:cubicBezTo>
                    <a:pt x="1387" y="1597"/>
                    <a:pt x="1390" y="1598"/>
                    <a:pt x="1392" y="1600"/>
                  </a:cubicBezTo>
                  <a:cubicBezTo>
                    <a:pt x="1392" y="1601"/>
                    <a:pt x="1393" y="1602"/>
                    <a:pt x="1393" y="1603"/>
                  </a:cubicBezTo>
                  <a:cubicBezTo>
                    <a:pt x="1393" y="1604"/>
                    <a:pt x="1393" y="1605"/>
                    <a:pt x="1392" y="1607"/>
                  </a:cubicBezTo>
                  <a:cubicBezTo>
                    <a:pt x="1391" y="1608"/>
                    <a:pt x="1390" y="1610"/>
                    <a:pt x="1389" y="1612"/>
                  </a:cubicBezTo>
                  <a:cubicBezTo>
                    <a:pt x="1387" y="1614"/>
                    <a:pt x="1385" y="1616"/>
                    <a:pt x="1383" y="1618"/>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96" name="Freeform 143"/>
            <p:cNvSpPr>
              <a:spLocks noEditPoints="1"/>
            </p:cNvSpPr>
            <p:nvPr/>
          </p:nvSpPr>
          <p:spPr bwMode="auto">
            <a:xfrm>
              <a:off x="1034" y="2374"/>
              <a:ext cx="286" cy="294"/>
            </a:xfrm>
            <a:custGeom>
              <a:avLst/>
              <a:gdLst>
                <a:gd name="T0" fmla="*/ 119 w 2707"/>
                <a:gd name="T1" fmla="*/ 19 h 2779"/>
                <a:gd name="T2" fmla="*/ 288 w 2707"/>
                <a:gd name="T3" fmla="*/ 152 h 2779"/>
                <a:gd name="T4" fmla="*/ 75 w 2707"/>
                <a:gd name="T5" fmla="*/ 254 h 2779"/>
                <a:gd name="T6" fmla="*/ 260 w 2707"/>
                <a:gd name="T7" fmla="*/ 489 h 2779"/>
                <a:gd name="T8" fmla="*/ 137 w 2707"/>
                <a:gd name="T9" fmla="*/ 488 h 2779"/>
                <a:gd name="T10" fmla="*/ 388 w 2707"/>
                <a:gd name="T11" fmla="*/ 281 h 2779"/>
                <a:gd name="T12" fmla="*/ 430 w 2707"/>
                <a:gd name="T13" fmla="*/ 482 h 2779"/>
                <a:gd name="T14" fmla="*/ 279 w 2707"/>
                <a:gd name="T15" fmla="*/ 399 h 2779"/>
                <a:gd name="T16" fmla="*/ 495 w 2707"/>
                <a:gd name="T17" fmla="*/ 713 h 2779"/>
                <a:gd name="T18" fmla="*/ 660 w 2707"/>
                <a:gd name="T19" fmla="*/ 553 h 2779"/>
                <a:gd name="T20" fmla="*/ 550 w 2707"/>
                <a:gd name="T21" fmla="*/ 516 h 2779"/>
                <a:gd name="T22" fmla="*/ 591 w 2707"/>
                <a:gd name="T23" fmla="*/ 648 h 2779"/>
                <a:gd name="T24" fmla="*/ 823 w 2707"/>
                <a:gd name="T25" fmla="*/ 566 h 2779"/>
                <a:gd name="T26" fmla="*/ 888 w 2707"/>
                <a:gd name="T27" fmla="*/ 931 h 2779"/>
                <a:gd name="T28" fmla="*/ 810 w 2707"/>
                <a:gd name="T29" fmla="*/ 974 h 2779"/>
                <a:gd name="T30" fmla="*/ 788 w 2707"/>
                <a:gd name="T31" fmla="*/ 1000 h 2779"/>
                <a:gd name="T32" fmla="*/ 861 w 2707"/>
                <a:gd name="T33" fmla="*/ 755 h 2779"/>
                <a:gd name="T34" fmla="*/ 851 w 2707"/>
                <a:gd name="T35" fmla="*/ 787 h 2779"/>
                <a:gd name="T36" fmla="*/ 1272 w 2707"/>
                <a:gd name="T37" fmla="*/ 1121 h 2779"/>
                <a:gd name="T38" fmla="*/ 1021 w 2707"/>
                <a:gd name="T39" fmla="*/ 1187 h 2779"/>
                <a:gd name="T40" fmla="*/ 1134 w 2707"/>
                <a:gd name="T41" fmla="*/ 1110 h 2779"/>
                <a:gd name="T42" fmla="*/ 1081 w 2707"/>
                <a:gd name="T43" fmla="*/ 1293 h 2779"/>
                <a:gd name="T44" fmla="*/ 1201 w 2707"/>
                <a:gd name="T45" fmla="*/ 979 h 2779"/>
                <a:gd name="T46" fmla="*/ 1394 w 2707"/>
                <a:gd name="T47" fmla="*/ 1334 h 2779"/>
                <a:gd name="T48" fmla="*/ 1297 w 2707"/>
                <a:gd name="T49" fmla="*/ 1304 h 2779"/>
                <a:gd name="T50" fmla="*/ 1323 w 2707"/>
                <a:gd name="T51" fmla="*/ 1220 h 2779"/>
                <a:gd name="T52" fmla="*/ 1354 w 2707"/>
                <a:gd name="T53" fmla="*/ 1267 h 2779"/>
                <a:gd name="T54" fmla="*/ 1411 w 2707"/>
                <a:gd name="T55" fmla="*/ 1317 h 2779"/>
                <a:gd name="T56" fmla="*/ 1355 w 2707"/>
                <a:gd name="T57" fmla="*/ 1415 h 2779"/>
                <a:gd name="T58" fmla="*/ 1507 w 2707"/>
                <a:gd name="T59" fmla="*/ 1515 h 2779"/>
                <a:gd name="T60" fmla="*/ 1354 w 2707"/>
                <a:gd name="T61" fmla="*/ 1527 h 2779"/>
                <a:gd name="T62" fmla="*/ 1510 w 2707"/>
                <a:gd name="T63" fmla="*/ 1742 h 2779"/>
                <a:gd name="T64" fmla="*/ 1503 w 2707"/>
                <a:gd name="T65" fmla="*/ 1658 h 2779"/>
                <a:gd name="T66" fmla="*/ 1599 w 2707"/>
                <a:gd name="T67" fmla="*/ 1694 h 2779"/>
                <a:gd name="T68" fmla="*/ 1696 w 2707"/>
                <a:gd name="T69" fmla="*/ 1578 h 2779"/>
                <a:gd name="T70" fmla="*/ 1706 w 2707"/>
                <a:gd name="T71" fmla="*/ 1652 h 2779"/>
                <a:gd name="T72" fmla="*/ 1621 w 2707"/>
                <a:gd name="T73" fmla="*/ 1594 h 2779"/>
                <a:gd name="T74" fmla="*/ 1719 w 2707"/>
                <a:gd name="T75" fmla="*/ 1931 h 2779"/>
                <a:gd name="T76" fmla="*/ 1633 w 2707"/>
                <a:gd name="T77" fmla="*/ 1799 h 2779"/>
                <a:gd name="T78" fmla="*/ 1868 w 2707"/>
                <a:gd name="T79" fmla="*/ 1757 h 2779"/>
                <a:gd name="T80" fmla="*/ 1657 w 2707"/>
                <a:gd name="T81" fmla="*/ 1832 h 2779"/>
                <a:gd name="T82" fmla="*/ 1822 w 2707"/>
                <a:gd name="T83" fmla="*/ 2054 h 2779"/>
                <a:gd name="T84" fmla="*/ 2036 w 2707"/>
                <a:gd name="T85" fmla="*/ 1963 h 2779"/>
                <a:gd name="T86" fmla="*/ 1890 w 2707"/>
                <a:gd name="T87" fmla="*/ 1896 h 2779"/>
                <a:gd name="T88" fmla="*/ 2337 w 2707"/>
                <a:gd name="T89" fmla="*/ 2235 h 2779"/>
                <a:gd name="T90" fmla="*/ 2090 w 2707"/>
                <a:gd name="T91" fmla="*/ 2310 h 2779"/>
                <a:gd name="T92" fmla="*/ 1991 w 2707"/>
                <a:gd name="T93" fmla="*/ 2217 h 2779"/>
                <a:gd name="T94" fmla="*/ 2117 w 2707"/>
                <a:gd name="T95" fmla="*/ 2004 h 2779"/>
                <a:gd name="T96" fmla="*/ 2210 w 2707"/>
                <a:gd name="T97" fmla="*/ 2099 h 2779"/>
                <a:gd name="T98" fmla="*/ 2308 w 2707"/>
                <a:gd name="T99" fmla="*/ 2206 h 2779"/>
                <a:gd name="T100" fmla="*/ 2230 w 2707"/>
                <a:gd name="T101" fmla="*/ 2451 h 2779"/>
                <a:gd name="T102" fmla="*/ 2370 w 2707"/>
                <a:gd name="T103" fmla="*/ 2260 h 2779"/>
                <a:gd name="T104" fmla="*/ 2414 w 2707"/>
                <a:gd name="T105" fmla="*/ 2239 h 2779"/>
                <a:gd name="T106" fmla="*/ 2420 w 2707"/>
                <a:gd name="T107" fmla="*/ 2611 h 2779"/>
                <a:gd name="T108" fmla="*/ 2407 w 2707"/>
                <a:gd name="T109" fmla="*/ 2387 h 2779"/>
                <a:gd name="T110" fmla="*/ 2550 w 2707"/>
                <a:gd name="T111" fmla="*/ 2483 h 2779"/>
                <a:gd name="T112" fmla="*/ 2369 w 2707"/>
                <a:gd name="T113" fmla="*/ 2481 h 2779"/>
                <a:gd name="T114" fmla="*/ 2439 w 2707"/>
                <a:gd name="T115" fmla="*/ 2595 h 2779"/>
                <a:gd name="T116" fmla="*/ 2552 w 2707"/>
                <a:gd name="T117" fmla="*/ 2732 h 2779"/>
                <a:gd name="T118" fmla="*/ 2577 w 2707"/>
                <a:gd name="T119" fmla="*/ 2778 h 2779"/>
                <a:gd name="T120" fmla="*/ 2552 w 2707"/>
                <a:gd name="T121" fmla="*/ 2537 h 2779"/>
                <a:gd name="T122" fmla="*/ 2669 w 2707"/>
                <a:gd name="T123" fmla="*/ 2623 h 2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07" h="2779">
                  <a:moveTo>
                    <a:pt x="272" y="263"/>
                  </a:moveTo>
                  <a:cubicBezTo>
                    <a:pt x="253" y="281"/>
                    <a:pt x="234" y="296"/>
                    <a:pt x="215" y="306"/>
                  </a:cubicBezTo>
                  <a:cubicBezTo>
                    <a:pt x="196" y="317"/>
                    <a:pt x="177" y="323"/>
                    <a:pt x="158" y="324"/>
                  </a:cubicBezTo>
                  <a:cubicBezTo>
                    <a:pt x="139" y="326"/>
                    <a:pt x="120" y="323"/>
                    <a:pt x="101" y="316"/>
                  </a:cubicBezTo>
                  <a:cubicBezTo>
                    <a:pt x="82" y="308"/>
                    <a:pt x="64" y="296"/>
                    <a:pt x="47" y="278"/>
                  </a:cubicBezTo>
                  <a:cubicBezTo>
                    <a:pt x="30" y="261"/>
                    <a:pt x="17" y="244"/>
                    <a:pt x="10" y="226"/>
                  </a:cubicBezTo>
                  <a:cubicBezTo>
                    <a:pt x="3" y="208"/>
                    <a:pt x="0" y="191"/>
                    <a:pt x="1" y="173"/>
                  </a:cubicBezTo>
                  <a:cubicBezTo>
                    <a:pt x="3" y="155"/>
                    <a:pt x="9" y="136"/>
                    <a:pt x="19" y="118"/>
                  </a:cubicBezTo>
                  <a:cubicBezTo>
                    <a:pt x="30" y="99"/>
                    <a:pt x="45" y="81"/>
                    <a:pt x="63" y="62"/>
                  </a:cubicBezTo>
                  <a:cubicBezTo>
                    <a:pt x="81" y="44"/>
                    <a:pt x="100" y="30"/>
                    <a:pt x="119" y="19"/>
                  </a:cubicBezTo>
                  <a:cubicBezTo>
                    <a:pt x="138" y="9"/>
                    <a:pt x="157" y="3"/>
                    <a:pt x="176" y="1"/>
                  </a:cubicBezTo>
                  <a:cubicBezTo>
                    <a:pt x="195" y="0"/>
                    <a:pt x="214" y="3"/>
                    <a:pt x="233" y="10"/>
                  </a:cubicBezTo>
                  <a:cubicBezTo>
                    <a:pt x="252" y="18"/>
                    <a:pt x="270" y="30"/>
                    <a:pt x="287" y="48"/>
                  </a:cubicBezTo>
                  <a:cubicBezTo>
                    <a:pt x="304" y="64"/>
                    <a:pt x="316" y="82"/>
                    <a:pt x="323" y="99"/>
                  </a:cubicBezTo>
                  <a:cubicBezTo>
                    <a:pt x="331" y="117"/>
                    <a:pt x="334" y="135"/>
                    <a:pt x="332" y="153"/>
                  </a:cubicBezTo>
                  <a:cubicBezTo>
                    <a:pt x="331" y="171"/>
                    <a:pt x="325" y="189"/>
                    <a:pt x="315" y="207"/>
                  </a:cubicBezTo>
                  <a:cubicBezTo>
                    <a:pt x="305" y="226"/>
                    <a:pt x="290" y="244"/>
                    <a:pt x="272" y="263"/>
                  </a:cubicBezTo>
                  <a:close/>
                  <a:moveTo>
                    <a:pt x="238" y="233"/>
                  </a:moveTo>
                  <a:cubicBezTo>
                    <a:pt x="250" y="220"/>
                    <a:pt x="261" y="206"/>
                    <a:pt x="270" y="193"/>
                  </a:cubicBezTo>
                  <a:cubicBezTo>
                    <a:pt x="279" y="180"/>
                    <a:pt x="285" y="166"/>
                    <a:pt x="288" y="152"/>
                  </a:cubicBezTo>
                  <a:cubicBezTo>
                    <a:pt x="291" y="139"/>
                    <a:pt x="290" y="125"/>
                    <a:pt x="285" y="112"/>
                  </a:cubicBezTo>
                  <a:cubicBezTo>
                    <a:pt x="281" y="98"/>
                    <a:pt x="272" y="85"/>
                    <a:pt x="259" y="72"/>
                  </a:cubicBezTo>
                  <a:cubicBezTo>
                    <a:pt x="246" y="59"/>
                    <a:pt x="232" y="50"/>
                    <a:pt x="219" y="46"/>
                  </a:cubicBezTo>
                  <a:cubicBezTo>
                    <a:pt x="205" y="42"/>
                    <a:pt x="191" y="41"/>
                    <a:pt x="177" y="44"/>
                  </a:cubicBezTo>
                  <a:cubicBezTo>
                    <a:pt x="163" y="47"/>
                    <a:pt x="149" y="52"/>
                    <a:pt x="136" y="61"/>
                  </a:cubicBezTo>
                  <a:cubicBezTo>
                    <a:pt x="123" y="69"/>
                    <a:pt x="110" y="80"/>
                    <a:pt x="98" y="92"/>
                  </a:cubicBezTo>
                  <a:cubicBezTo>
                    <a:pt x="84" y="105"/>
                    <a:pt x="73" y="119"/>
                    <a:pt x="64" y="132"/>
                  </a:cubicBezTo>
                  <a:cubicBezTo>
                    <a:pt x="55" y="146"/>
                    <a:pt x="49" y="160"/>
                    <a:pt x="46" y="173"/>
                  </a:cubicBezTo>
                  <a:cubicBezTo>
                    <a:pt x="43" y="187"/>
                    <a:pt x="44" y="200"/>
                    <a:pt x="48" y="213"/>
                  </a:cubicBezTo>
                  <a:cubicBezTo>
                    <a:pt x="52" y="227"/>
                    <a:pt x="61" y="240"/>
                    <a:pt x="75" y="254"/>
                  </a:cubicBezTo>
                  <a:cubicBezTo>
                    <a:pt x="88" y="267"/>
                    <a:pt x="102" y="276"/>
                    <a:pt x="116" y="280"/>
                  </a:cubicBezTo>
                  <a:cubicBezTo>
                    <a:pt x="130" y="284"/>
                    <a:pt x="144" y="285"/>
                    <a:pt x="158" y="282"/>
                  </a:cubicBezTo>
                  <a:cubicBezTo>
                    <a:pt x="172" y="279"/>
                    <a:pt x="185" y="273"/>
                    <a:pt x="199" y="264"/>
                  </a:cubicBezTo>
                  <a:cubicBezTo>
                    <a:pt x="212" y="255"/>
                    <a:pt x="225" y="245"/>
                    <a:pt x="238" y="233"/>
                  </a:cubicBezTo>
                  <a:close/>
                  <a:moveTo>
                    <a:pt x="430" y="482"/>
                  </a:moveTo>
                  <a:cubicBezTo>
                    <a:pt x="416" y="496"/>
                    <a:pt x="402" y="507"/>
                    <a:pt x="388" y="515"/>
                  </a:cubicBezTo>
                  <a:cubicBezTo>
                    <a:pt x="374" y="523"/>
                    <a:pt x="360" y="528"/>
                    <a:pt x="347" y="530"/>
                  </a:cubicBezTo>
                  <a:cubicBezTo>
                    <a:pt x="333" y="532"/>
                    <a:pt x="320" y="531"/>
                    <a:pt x="307" y="526"/>
                  </a:cubicBezTo>
                  <a:cubicBezTo>
                    <a:pt x="294" y="522"/>
                    <a:pt x="283" y="514"/>
                    <a:pt x="271" y="503"/>
                  </a:cubicBezTo>
                  <a:cubicBezTo>
                    <a:pt x="267" y="498"/>
                    <a:pt x="263" y="493"/>
                    <a:pt x="260" y="489"/>
                  </a:cubicBezTo>
                  <a:cubicBezTo>
                    <a:pt x="257" y="484"/>
                    <a:pt x="254" y="478"/>
                    <a:pt x="252" y="472"/>
                  </a:cubicBezTo>
                  <a:cubicBezTo>
                    <a:pt x="251" y="466"/>
                    <a:pt x="249" y="460"/>
                    <a:pt x="249" y="453"/>
                  </a:cubicBezTo>
                  <a:cubicBezTo>
                    <a:pt x="248" y="446"/>
                    <a:pt x="248" y="439"/>
                    <a:pt x="247" y="431"/>
                  </a:cubicBezTo>
                  <a:lnTo>
                    <a:pt x="168" y="510"/>
                  </a:lnTo>
                  <a:cubicBezTo>
                    <a:pt x="167" y="511"/>
                    <a:pt x="166" y="512"/>
                    <a:pt x="165" y="512"/>
                  </a:cubicBezTo>
                  <a:cubicBezTo>
                    <a:pt x="164" y="512"/>
                    <a:pt x="162" y="512"/>
                    <a:pt x="161" y="511"/>
                  </a:cubicBezTo>
                  <a:cubicBezTo>
                    <a:pt x="159" y="511"/>
                    <a:pt x="157" y="510"/>
                    <a:pt x="155" y="508"/>
                  </a:cubicBezTo>
                  <a:cubicBezTo>
                    <a:pt x="153" y="506"/>
                    <a:pt x="150" y="504"/>
                    <a:pt x="148" y="501"/>
                  </a:cubicBezTo>
                  <a:cubicBezTo>
                    <a:pt x="145" y="498"/>
                    <a:pt x="142" y="496"/>
                    <a:pt x="141" y="494"/>
                  </a:cubicBezTo>
                  <a:cubicBezTo>
                    <a:pt x="139" y="492"/>
                    <a:pt x="138" y="490"/>
                    <a:pt x="137" y="488"/>
                  </a:cubicBezTo>
                  <a:cubicBezTo>
                    <a:pt x="137" y="486"/>
                    <a:pt x="137" y="485"/>
                    <a:pt x="137" y="484"/>
                  </a:cubicBezTo>
                  <a:cubicBezTo>
                    <a:pt x="137" y="483"/>
                    <a:pt x="138" y="482"/>
                    <a:pt x="139" y="481"/>
                  </a:cubicBezTo>
                  <a:lnTo>
                    <a:pt x="361" y="259"/>
                  </a:lnTo>
                  <a:cubicBezTo>
                    <a:pt x="362" y="258"/>
                    <a:pt x="363" y="257"/>
                    <a:pt x="364" y="257"/>
                  </a:cubicBezTo>
                  <a:cubicBezTo>
                    <a:pt x="365" y="256"/>
                    <a:pt x="366" y="257"/>
                    <a:pt x="368" y="257"/>
                  </a:cubicBezTo>
                  <a:cubicBezTo>
                    <a:pt x="369" y="258"/>
                    <a:pt x="371" y="259"/>
                    <a:pt x="373" y="260"/>
                  </a:cubicBezTo>
                  <a:cubicBezTo>
                    <a:pt x="375" y="262"/>
                    <a:pt x="377" y="264"/>
                    <a:pt x="379" y="266"/>
                  </a:cubicBezTo>
                  <a:cubicBezTo>
                    <a:pt x="382" y="268"/>
                    <a:pt x="384" y="271"/>
                    <a:pt x="385" y="272"/>
                  </a:cubicBezTo>
                  <a:cubicBezTo>
                    <a:pt x="386" y="274"/>
                    <a:pt x="387" y="276"/>
                    <a:pt x="388" y="277"/>
                  </a:cubicBezTo>
                  <a:cubicBezTo>
                    <a:pt x="389" y="279"/>
                    <a:pt x="389" y="280"/>
                    <a:pt x="388" y="281"/>
                  </a:cubicBezTo>
                  <a:cubicBezTo>
                    <a:pt x="388" y="282"/>
                    <a:pt x="388" y="283"/>
                    <a:pt x="387" y="284"/>
                  </a:cubicBezTo>
                  <a:lnTo>
                    <a:pt x="365" y="306"/>
                  </a:lnTo>
                  <a:cubicBezTo>
                    <a:pt x="375" y="306"/>
                    <a:pt x="384" y="306"/>
                    <a:pt x="392" y="307"/>
                  </a:cubicBezTo>
                  <a:cubicBezTo>
                    <a:pt x="400" y="308"/>
                    <a:pt x="408" y="309"/>
                    <a:pt x="415" y="311"/>
                  </a:cubicBezTo>
                  <a:cubicBezTo>
                    <a:pt x="422" y="313"/>
                    <a:pt x="428" y="316"/>
                    <a:pt x="434" y="320"/>
                  </a:cubicBezTo>
                  <a:cubicBezTo>
                    <a:pt x="440" y="323"/>
                    <a:pt x="446" y="328"/>
                    <a:pt x="451" y="333"/>
                  </a:cubicBezTo>
                  <a:cubicBezTo>
                    <a:pt x="463" y="344"/>
                    <a:pt x="470" y="357"/>
                    <a:pt x="474" y="369"/>
                  </a:cubicBezTo>
                  <a:cubicBezTo>
                    <a:pt x="478" y="382"/>
                    <a:pt x="478" y="395"/>
                    <a:pt x="475" y="407"/>
                  </a:cubicBezTo>
                  <a:cubicBezTo>
                    <a:pt x="473" y="420"/>
                    <a:pt x="467" y="433"/>
                    <a:pt x="459" y="446"/>
                  </a:cubicBezTo>
                  <a:cubicBezTo>
                    <a:pt x="452" y="458"/>
                    <a:pt x="442" y="471"/>
                    <a:pt x="430" y="482"/>
                  </a:cubicBezTo>
                  <a:close/>
                  <a:moveTo>
                    <a:pt x="397" y="455"/>
                  </a:moveTo>
                  <a:cubicBezTo>
                    <a:pt x="405" y="447"/>
                    <a:pt x="412" y="439"/>
                    <a:pt x="418" y="430"/>
                  </a:cubicBezTo>
                  <a:cubicBezTo>
                    <a:pt x="425" y="421"/>
                    <a:pt x="429" y="412"/>
                    <a:pt x="432" y="403"/>
                  </a:cubicBezTo>
                  <a:cubicBezTo>
                    <a:pt x="435" y="394"/>
                    <a:pt x="436" y="385"/>
                    <a:pt x="434" y="377"/>
                  </a:cubicBezTo>
                  <a:cubicBezTo>
                    <a:pt x="433" y="368"/>
                    <a:pt x="428" y="360"/>
                    <a:pt x="420" y="353"/>
                  </a:cubicBezTo>
                  <a:cubicBezTo>
                    <a:pt x="417" y="349"/>
                    <a:pt x="412" y="346"/>
                    <a:pt x="408" y="343"/>
                  </a:cubicBezTo>
                  <a:cubicBezTo>
                    <a:pt x="403" y="340"/>
                    <a:pt x="397" y="338"/>
                    <a:pt x="391" y="337"/>
                  </a:cubicBezTo>
                  <a:cubicBezTo>
                    <a:pt x="385" y="336"/>
                    <a:pt x="378" y="335"/>
                    <a:pt x="370" y="335"/>
                  </a:cubicBezTo>
                  <a:cubicBezTo>
                    <a:pt x="361" y="335"/>
                    <a:pt x="352" y="335"/>
                    <a:pt x="342" y="336"/>
                  </a:cubicBezTo>
                  <a:lnTo>
                    <a:pt x="279" y="399"/>
                  </a:lnTo>
                  <a:cubicBezTo>
                    <a:pt x="277" y="417"/>
                    <a:pt x="277" y="432"/>
                    <a:pt x="279" y="445"/>
                  </a:cubicBezTo>
                  <a:cubicBezTo>
                    <a:pt x="281" y="457"/>
                    <a:pt x="286" y="467"/>
                    <a:pt x="294" y="475"/>
                  </a:cubicBezTo>
                  <a:cubicBezTo>
                    <a:pt x="301" y="483"/>
                    <a:pt x="309" y="487"/>
                    <a:pt x="318" y="489"/>
                  </a:cubicBezTo>
                  <a:cubicBezTo>
                    <a:pt x="327" y="491"/>
                    <a:pt x="336" y="490"/>
                    <a:pt x="345" y="488"/>
                  </a:cubicBezTo>
                  <a:cubicBezTo>
                    <a:pt x="354" y="485"/>
                    <a:pt x="363" y="481"/>
                    <a:pt x="372" y="475"/>
                  </a:cubicBezTo>
                  <a:cubicBezTo>
                    <a:pt x="381" y="469"/>
                    <a:pt x="389" y="463"/>
                    <a:pt x="397" y="455"/>
                  </a:cubicBezTo>
                  <a:close/>
                  <a:moveTo>
                    <a:pt x="623" y="677"/>
                  </a:moveTo>
                  <a:cubicBezTo>
                    <a:pt x="610" y="690"/>
                    <a:pt x="597" y="700"/>
                    <a:pt x="582" y="707"/>
                  </a:cubicBezTo>
                  <a:cubicBezTo>
                    <a:pt x="568" y="715"/>
                    <a:pt x="554" y="719"/>
                    <a:pt x="539" y="720"/>
                  </a:cubicBezTo>
                  <a:cubicBezTo>
                    <a:pt x="524" y="721"/>
                    <a:pt x="510" y="719"/>
                    <a:pt x="495" y="713"/>
                  </a:cubicBezTo>
                  <a:cubicBezTo>
                    <a:pt x="480" y="708"/>
                    <a:pt x="466" y="698"/>
                    <a:pt x="453" y="685"/>
                  </a:cubicBezTo>
                  <a:cubicBezTo>
                    <a:pt x="440" y="671"/>
                    <a:pt x="430" y="658"/>
                    <a:pt x="425" y="645"/>
                  </a:cubicBezTo>
                  <a:cubicBezTo>
                    <a:pt x="419" y="631"/>
                    <a:pt x="416" y="617"/>
                    <a:pt x="417" y="603"/>
                  </a:cubicBezTo>
                  <a:cubicBezTo>
                    <a:pt x="418" y="589"/>
                    <a:pt x="422" y="575"/>
                    <a:pt x="430" y="562"/>
                  </a:cubicBezTo>
                  <a:cubicBezTo>
                    <a:pt x="437" y="548"/>
                    <a:pt x="448" y="534"/>
                    <a:pt x="461" y="521"/>
                  </a:cubicBezTo>
                  <a:cubicBezTo>
                    <a:pt x="474" y="508"/>
                    <a:pt x="488" y="498"/>
                    <a:pt x="502" y="490"/>
                  </a:cubicBezTo>
                  <a:cubicBezTo>
                    <a:pt x="516" y="483"/>
                    <a:pt x="531" y="478"/>
                    <a:pt x="545" y="477"/>
                  </a:cubicBezTo>
                  <a:cubicBezTo>
                    <a:pt x="560" y="476"/>
                    <a:pt x="575" y="478"/>
                    <a:pt x="589" y="484"/>
                  </a:cubicBezTo>
                  <a:cubicBezTo>
                    <a:pt x="604" y="490"/>
                    <a:pt x="618" y="500"/>
                    <a:pt x="631" y="513"/>
                  </a:cubicBezTo>
                  <a:cubicBezTo>
                    <a:pt x="644" y="526"/>
                    <a:pt x="654" y="540"/>
                    <a:pt x="660" y="553"/>
                  </a:cubicBezTo>
                  <a:cubicBezTo>
                    <a:pt x="665" y="567"/>
                    <a:pt x="668" y="580"/>
                    <a:pt x="667" y="594"/>
                  </a:cubicBezTo>
                  <a:cubicBezTo>
                    <a:pt x="666" y="608"/>
                    <a:pt x="662" y="622"/>
                    <a:pt x="654" y="636"/>
                  </a:cubicBezTo>
                  <a:cubicBezTo>
                    <a:pt x="647" y="650"/>
                    <a:pt x="637" y="663"/>
                    <a:pt x="623" y="677"/>
                  </a:cubicBezTo>
                  <a:close/>
                  <a:moveTo>
                    <a:pt x="591" y="648"/>
                  </a:moveTo>
                  <a:cubicBezTo>
                    <a:pt x="600" y="640"/>
                    <a:pt x="607" y="631"/>
                    <a:pt x="613" y="622"/>
                  </a:cubicBezTo>
                  <a:cubicBezTo>
                    <a:pt x="619" y="612"/>
                    <a:pt x="623" y="603"/>
                    <a:pt x="625" y="594"/>
                  </a:cubicBezTo>
                  <a:cubicBezTo>
                    <a:pt x="628" y="584"/>
                    <a:pt x="627" y="575"/>
                    <a:pt x="624" y="565"/>
                  </a:cubicBezTo>
                  <a:cubicBezTo>
                    <a:pt x="621" y="555"/>
                    <a:pt x="615" y="546"/>
                    <a:pt x="606" y="536"/>
                  </a:cubicBezTo>
                  <a:cubicBezTo>
                    <a:pt x="597" y="528"/>
                    <a:pt x="588" y="522"/>
                    <a:pt x="579" y="519"/>
                  </a:cubicBezTo>
                  <a:cubicBezTo>
                    <a:pt x="569" y="515"/>
                    <a:pt x="560" y="515"/>
                    <a:pt x="550" y="516"/>
                  </a:cubicBezTo>
                  <a:cubicBezTo>
                    <a:pt x="541" y="518"/>
                    <a:pt x="531" y="521"/>
                    <a:pt x="521" y="527"/>
                  </a:cubicBezTo>
                  <a:cubicBezTo>
                    <a:pt x="512" y="533"/>
                    <a:pt x="502" y="540"/>
                    <a:pt x="493" y="549"/>
                  </a:cubicBezTo>
                  <a:cubicBezTo>
                    <a:pt x="485" y="558"/>
                    <a:pt x="477" y="567"/>
                    <a:pt x="471" y="576"/>
                  </a:cubicBezTo>
                  <a:cubicBezTo>
                    <a:pt x="465" y="585"/>
                    <a:pt x="461" y="595"/>
                    <a:pt x="459" y="604"/>
                  </a:cubicBezTo>
                  <a:cubicBezTo>
                    <a:pt x="457" y="614"/>
                    <a:pt x="458" y="623"/>
                    <a:pt x="461" y="633"/>
                  </a:cubicBezTo>
                  <a:cubicBezTo>
                    <a:pt x="464" y="643"/>
                    <a:pt x="470" y="652"/>
                    <a:pt x="479" y="661"/>
                  </a:cubicBezTo>
                  <a:cubicBezTo>
                    <a:pt x="488" y="670"/>
                    <a:pt x="497" y="676"/>
                    <a:pt x="506" y="679"/>
                  </a:cubicBezTo>
                  <a:cubicBezTo>
                    <a:pt x="515" y="682"/>
                    <a:pt x="525" y="683"/>
                    <a:pt x="534" y="682"/>
                  </a:cubicBezTo>
                  <a:cubicBezTo>
                    <a:pt x="544" y="680"/>
                    <a:pt x="554" y="677"/>
                    <a:pt x="563" y="671"/>
                  </a:cubicBezTo>
                  <a:cubicBezTo>
                    <a:pt x="573" y="665"/>
                    <a:pt x="582" y="658"/>
                    <a:pt x="591" y="648"/>
                  </a:cubicBezTo>
                  <a:close/>
                  <a:moveTo>
                    <a:pt x="616" y="832"/>
                  </a:moveTo>
                  <a:cubicBezTo>
                    <a:pt x="615" y="833"/>
                    <a:pt x="614" y="833"/>
                    <a:pt x="613" y="833"/>
                  </a:cubicBezTo>
                  <a:cubicBezTo>
                    <a:pt x="611" y="833"/>
                    <a:pt x="610" y="833"/>
                    <a:pt x="609" y="833"/>
                  </a:cubicBezTo>
                  <a:cubicBezTo>
                    <a:pt x="607" y="832"/>
                    <a:pt x="605" y="831"/>
                    <a:pt x="603" y="829"/>
                  </a:cubicBezTo>
                  <a:cubicBezTo>
                    <a:pt x="601" y="828"/>
                    <a:pt x="598" y="825"/>
                    <a:pt x="595" y="822"/>
                  </a:cubicBezTo>
                  <a:cubicBezTo>
                    <a:pt x="593" y="820"/>
                    <a:pt x="590" y="817"/>
                    <a:pt x="589" y="815"/>
                  </a:cubicBezTo>
                  <a:cubicBezTo>
                    <a:pt x="587" y="813"/>
                    <a:pt x="586" y="811"/>
                    <a:pt x="585" y="809"/>
                  </a:cubicBezTo>
                  <a:cubicBezTo>
                    <a:pt x="585" y="808"/>
                    <a:pt x="584" y="807"/>
                    <a:pt x="585" y="805"/>
                  </a:cubicBezTo>
                  <a:cubicBezTo>
                    <a:pt x="585" y="804"/>
                    <a:pt x="586" y="803"/>
                    <a:pt x="586" y="802"/>
                  </a:cubicBezTo>
                  <a:lnTo>
                    <a:pt x="823" y="566"/>
                  </a:lnTo>
                  <a:cubicBezTo>
                    <a:pt x="824" y="565"/>
                    <a:pt x="825" y="565"/>
                    <a:pt x="826" y="564"/>
                  </a:cubicBezTo>
                  <a:cubicBezTo>
                    <a:pt x="827" y="564"/>
                    <a:pt x="828" y="564"/>
                    <a:pt x="830" y="565"/>
                  </a:cubicBezTo>
                  <a:cubicBezTo>
                    <a:pt x="831" y="566"/>
                    <a:pt x="833" y="567"/>
                    <a:pt x="835" y="568"/>
                  </a:cubicBezTo>
                  <a:cubicBezTo>
                    <a:pt x="837" y="570"/>
                    <a:pt x="840" y="572"/>
                    <a:pt x="843" y="575"/>
                  </a:cubicBezTo>
                  <a:cubicBezTo>
                    <a:pt x="846" y="578"/>
                    <a:pt x="848" y="581"/>
                    <a:pt x="850" y="583"/>
                  </a:cubicBezTo>
                  <a:cubicBezTo>
                    <a:pt x="851" y="585"/>
                    <a:pt x="852" y="587"/>
                    <a:pt x="853" y="588"/>
                  </a:cubicBezTo>
                  <a:cubicBezTo>
                    <a:pt x="854" y="590"/>
                    <a:pt x="854" y="591"/>
                    <a:pt x="854" y="592"/>
                  </a:cubicBezTo>
                  <a:cubicBezTo>
                    <a:pt x="853" y="593"/>
                    <a:pt x="853" y="595"/>
                    <a:pt x="852" y="595"/>
                  </a:cubicBezTo>
                  <a:lnTo>
                    <a:pt x="616" y="832"/>
                  </a:lnTo>
                  <a:close/>
                  <a:moveTo>
                    <a:pt x="888" y="931"/>
                  </a:moveTo>
                  <a:cubicBezTo>
                    <a:pt x="883" y="936"/>
                    <a:pt x="879" y="938"/>
                    <a:pt x="875" y="937"/>
                  </a:cubicBezTo>
                  <a:cubicBezTo>
                    <a:pt x="870" y="937"/>
                    <a:pt x="867" y="935"/>
                    <a:pt x="864" y="932"/>
                  </a:cubicBezTo>
                  <a:lnTo>
                    <a:pt x="759" y="828"/>
                  </a:lnTo>
                  <a:cubicBezTo>
                    <a:pt x="750" y="836"/>
                    <a:pt x="743" y="845"/>
                    <a:pt x="738" y="854"/>
                  </a:cubicBezTo>
                  <a:cubicBezTo>
                    <a:pt x="733" y="863"/>
                    <a:pt x="729" y="872"/>
                    <a:pt x="728" y="881"/>
                  </a:cubicBezTo>
                  <a:cubicBezTo>
                    <a:pt x="728" y="890"/>
                    <a:pt x="729" y="900"/>
                    <a:pt x="733" y="909"/>
                  </a:cubicBezTo>
                  <a:cubicBezTo>
                    <a:pt x="737" y="918"/>
                    <a:pt x="744" y="928"/>
                    <a:pt x="753" y="937"/>
                  </a:cubicBezTo>
                  <a:cubicBezTo>
                    <a:pt x="761" y="945"/>
                    <a:pt x="768" y="951"/>
                    <a:pt x="775" y="956"/>
                  </a:cubicBezTo>
                  <a:cubicBezTo>
                    <a:pt x="783" y="960"/>
                    <a:pt x="789" y="964"/>
                    <a:pt x="795" y="967"/>
                  </a:cubicBezTo>
                  <a:cubicBezTo>
                    <a:pt x="801" y="970"/>
                    <a:pt x="806" y="972"/>
                    <a:pt x="810" y="974"/>
                  </a:cubicBezTo>
                  <a:cubicBezTo>
                    <a:pt x="814" y="975"/>
                    <a:pt x="816" y="977"/>
                    <a:pt x="818" y="978"/>
                  </a:cubicBezTo>
                  <a:cubicBezTo>
                    <a:pt x="819" y="979"/>
                    <a:pt x="819" y="980"/>
                    <a:pt x="819" y="981"/>
                  </a:cubicBezTo>
                  <a:cubicBezTo>
                    <a:pt x="820" y="982"/>
                    <a:pt x="820" y="983"/>
                    <a:pt x="819" y="984"/>
                  </a:cubicBezTo>
                  <a:cubicBezTo>
                    <a:pt x="819" y="985"/>
                    <a:pt x="818" y="987"/>
                    <a:pt x="816" y="988"/>
                  </a:cubicBezTo>
                  <a:cubicBezTo>
                    <a:pt x="815" y="990"/>
                    <a:pt x="813" y="992"/>
                    <a:pt x="811" y="994"/>
                  </a:cubicBezTo>
                  <a:cubicBezTo>
                    <a:pt x="810" y="996"/>
                    <a:pt x="808" y="997"/>
                    <a:pt x="807" y="998"/>
                  </a:cubicBezTo>
                  <a:cubicBezTo>
                    <a:pt x="806" y="999"/>
                    <a:pt x="805" y="1000"/>
                    <a:pt x="804" y="1000"/>
                  </a:cubicBezTo>
                  <a:cubicBezTo>
                    <a:pt x="803" y="1001"/>
                    <a:pt x="802" y="1002"/>
                    <a:pt x="800" y="1002"/>
                  </a:cubicBezTo>
                  <a:cubicBezTo>
                    <a:pt x="799" y="1002"/>
                    <a:pt x="798" y="1002"/>
                    <a:pt x="797" y="1002"/>
                  </a:cubicBezTo>
                  <a:cubicBezTo>
                    <a:pt x="796" y="1002"/>
                    <a:pt x="793" y="1002"/>
                    <a:pt x="788" y="1000"/>
                  </a:cubicBezTo>
                  <a:cubicBezTo>
                    <a:pt x="783" y="998"/>
                    <a:pt x="778" y="995"/>
                    <a:pt x="771" y="992"/>
                  </a:cubicBezTo>
                  <a:cubicBezTo>
                    <a:pt x="765" y="988"/>
                    <a:pt x="758" y="984"/>
                    <a:pt x="750" y="978"/>
                  </a:cubicBezTo>
                  <a:cubicBezTo>
                    <a:pt x="742" y="972"/>
                    <a:pt x="734" y="966"/>
                    <a:pt x="727" y="958"/>
                  </a:cubicBezTo>
                  <a:cubicBezTo>
                    <a:pt x="714" y="945"/>
                    <a:pt x="704" y="932"/>
                    <a:pt x="698" y="919"/>
                  </a:cubicBezTo>
                  <a:cubicBezTo>
                    <a:pt x="692" y="905"/>
                    <a:pt x="689" y="891"/>
                    <a:pt x="689" y="877"/>
                  </a:cubicBezTo>
                  <a:cubicBezTo>
                    <a:pt x="690" y="864"/>
                    <a:pt x="694" y="849"/>
                    <a:pt x="701" y="835"/>
                  </a:cubicBezTo>
                  <a:cubicBezTo>
                    <a:pt x="709" y="821"/>
                    <a:pt x="720" y="807"/>
                    <a:pt x="734" y="792"/>
                  </a:cubicBezTo>
                  <a:cubicBezTo>
                    <a:pt x="748" y="779"/>
                    <a:pt x="762" y="768"/>
                    <a:pt x="776" y="761"/>
                  </a:cubicBezTo>
                  <a:cubicBezTo>
                    <a:pt x="791" y="753"/>
                    <a:pt x="805" y="749"/>
                    <a:pt x="819" y="748"/>
                  </a:cubicBezTo>
                  <a:cubicBezTo>
                    <a:pt x="833" y="747"/>
                    <a:pt x="847" y="749"/>
                    <a:pt x="861" y="755"/>
                  </a:cubicBezTo>
                  <a:cubicBezTo>
                    <a:pt x="874" y="760"/>
                    <a:pt x="887" y="769"/>
                    <a:pt x="898" y="780"/>
                  </a:cubicBezTo>
                  <a:cubicBezTo>
                    <a:pt x="911" y="793"/>
                    <a:pt x="920" y="805"/>
                    <a:pt x="924" y="818"/>
                  </a:cubicBezTo>
                  <a:cubicBezTo>
                    <a:pt x="929" y="831"/>
                    <a:pt x="931" y="844"/>
                    <a:pt x="930" y="856"/>
                  </a:cubicBezTo>
                  <a:cubicBezTo>
                    <a:pt x="929" y="869"/>
                    <a:pt x="925" y="881"/>
                    <a:pt x="918" y="892"/>
                  </a:cubicBezTo>
                  <a:cubicBezTo>
                    <a:pt x="912" y="904"/>
                    <a:pt x="904" y="915"/>
                    <a:pt x="893" y="926"/>
                  </a:cubicBezTo>
                  <a:lnTo>
                    <a:pt x="888" y="931"/>
                  </a:lnTo>
                  <a:close/>
                  <a:moveTo>
                    <a:pt x="867" y="893"/>
                  </a:moveTo>
                  <a:cubicBezTo>
                    <a:pt x="883" y="878"/>
                    <a:pt x="891" y="863"/>
                    <a:pt x="893" y="847"/>
                  </a:cubicBezTo>
                  <a:cubicBezTo>
                    <a:pt x="895" y="831"/>
                    <a:pt x="888" y="816"/>
                    <a:pt x="874" y="802"/>
                  </a:cubicBezTo>
                  <a:cubicBezTo>
                    <a:pt x="867" y="794"/>
                    <a:pt x="859" y="789"/>
                    <a:pt x="851" y="787"/>
                  </a:cubicBezTo>
                  <a:cubicBezTo>
                    <a:pt x="843" y="784"/>
                    <a:pt x="835" y="783"/>
                    <a:pt x="827" y="784"/>
                  </a:cubicBezTo>
                  <a:cubicBezTo>
                    <a:pt x="818" y="785"/>
                    <a:pt x="810" y="787"/>
                    <a:pt x="802" y="791"/>
                  </a:cubicBezTo>
                  <a:cubicBezTo>
                    <a:pt x="794" y="795"/>
                    <a:pt x="787" y="800"/>
                    <a:pt x="780" y="806"/>
                  </a:cubicBezTo>
                  <a:lnTo>
                    <a:pt x="867" y="893"/>
                  </a:lnTo>
                  <a:close/>
                  <a:moveTo>
                    <a:pt x="1294" y="1124"/>
                  </a:moveTo>
                  <a:cubicBezTo>
                    <a:pt x="1292" y="1126"/>
                    <a:pt x="1290" y="1128"/>
                    <a:pt x="1288" y="1129"/>
                  </a:cubicBezTo>
                  <a:cubicBezTo>
                    <a:pt x="1286" y="1131"/>
                    <a:pt x="1284" y="1132"/>
                    <a:pt x="1283" y="1133"/>
                  </a:cubicBezTo>
                  <a:cubicBezTo>
                    <a:pt x="1281" y="1133"/>
                    <a:pt x="1280" y="1133"/>
                    <a:pt x="1279" y="1133"/>
                  </a:cubicBezTo>
                  <a:cubicBezTo>
                    <a:pt x="1277" y="1133"/>
                    <a:pt x="1276" y="1132"/>
                    <a:pt x="1276" y="1132"/>
                  </a:cubicBezTo>
                  <a:cubicBezTo>
                    <a:pt x="1274" y="1130"/>
                    <a:pt x="1273" y="1127"/>
                    <a:pt x="1272" y="1121"/>
                  </a:cubicBezTo>
                  <a:cubicBezTo>
                    <a:pt x="1271" y="1116"/>
                    <a:pt x="1269" y="1109"/>
                    <a:pt x="1266" y="1101"/>
                  </a:cubicBezTo>
                  <a:cubicBezTo>
                    <a:pt x="1263" y="1092"/>
                    <a:pt x="1259" y="1083"/>
                    <a:pt x="1254" y="1073"/>
                  </a:cubicBezTo>
                  <a:cubicBezTo>
                    <a:pt x="1248" y="1063"/>
                    <a:pt x="1240" y="1053"/>
                    <a:pt x="1229" y="1042"/>
                  </a:cubicBezTo>
                  <a:cubicBezTo>
                    <a:pt x="1217" y="1030"/>
                    <a:pt x="1203" y="1021"/>
                    <a:pt x="1189" y="1015"/>
                  </a:cubicBezTo>
                  <a:cubicBezTo>
                    <a:pt x="1174" y="1010"/>
                    <a:pt x="1159" y="1008"/>
                    <a:pt x="1144" y="1009"/>
                  </a:cubicBezTo>
                  <a:cubicBezTo>
                    <a:pt x="1129" y="1010"/>
                    <a:pt x="1114" y="1014"/>
                    <a:pt x="1099" y="1022"/>
                  </a:cubicBezTo>
                  <a:cubicBezTo>
                    <a:pt x="1084" y="1029"/>
                    <a:pt x="1070" y="1040"/>
                    <a:pt x="1057" y="1053"/>
                  </a:cubicBezTo>
                  <a:cubicBezTo>
                    <a:pt x="1042" y="1067"/>
                    <a:pt x="1032" y="1082"/>
                    <a:pt x="1024" y="1098"/>
                  </a:cubicBezTo>
                  <a:cubicBezTo>
                    <a:pt x="1017" y="1113"/>
                    <a:pt x="1013" y="1128"/>
                    <a:pt x="1013" y="1143"/>
                  </a:cubicBezTo>
                  <a:cubicBezTo>
                    <a:pt x="1012" y="1158"/>
                    <a:pt x="1015" y="1173"/>
                    <a:pt x="1021" y="1187"/>
                  </a:cubicBezTo>
                  <a:cubicBezTo>
                    <a:pt x="1027" y="1201"/>
                    <a:pt x="1035" y="1214"/>
                    <a:pt x="1047" y="1225"/>
                  </a:cubicBezTo>
                  <a:cubicBezTo>
                    <a:pt x="1054" y="1233"/>
                    <a:pt x="1062" y="1239"/>
                    <a:pt x="1071" y="1244"/>
                  </a:cubicBezTo>
                  <a:cubicBezTo>
                    <a:pt x="1080" y="1250"/>
                    <a:pt x="1090" y="1254"/>
                    <a:pt x="1099" y="1257"/>
                  </a:cubicBezTo>
                  <a:lnTo>
                    <a:pt x="1166" y="1190"/>
                  </a:lnTo>
                  <a:lnTo>
                    <a:pt x="1113" y="1137"/>
                  </a:lnTo>
                  <a:cubicBezTo>
                    <a:pt x="1111" y="1135"/>
                    <a:pt x="1110" y="1133"/>
                    <a:pt x="1111" y="1130"/>
                  </a:cubicBezTo>
                  <a:cubicBezTo>
                    <a:pt x="1112" y="1127"/>
                    <a:pt x="1115" y="1123"/>
                    <a:pt x="1119" y="1119"/>
                  </a:cubicBezTo>
                  <a:cubicBezTo>
                    <a:pt x="1122" y="1117"/>
                    <a:pt x="1124" y="1115"/>
                    <a:pt x="1125" y="1114"/>
                  </a:cubicBezTo>
                  <a:cubicBezTo>
                    <a:pt x="1127" y="1112"/>
                    <a:pt x="1129" y="1111"/>
                    <a:pt x="1130" y="1111"/>
                  </a:cubicBezTo>
                  <a:cubicBezTo>
                    <a:pt x="1132" y="1110"/>
                    <a:pt x="1133" y="1110"/>
                    <a:pt x="1134" y="1110"/>
                  </a:cubicBezTo>
                  <a:cubicBezTo>
                    <a:pt x="1136" y="1111"/>
                    <a:pt x="1137" y="1111"/>
                    <a:pt x="1138" y="1112"/>
                  </a:cubicBezTo>
                  <a:lnTo>
                    <a:pt x="1210" y="1185"/>
                  </a:lnTo>
                  <a:cubicBezTo>
                    <a:pt x="1212" y="1186"/>
                    <a:pt x="1213" y="1188"/>
                    <a:pt x="1214" y="1190"/>
                  </a:cubicBezTo>
                  <a:cubicBezTo>
                    <a:pt x="1215" y="1191"/>
                    <a:pt x="1215" y="1193"/>
                    <a:pt x="1215" y="1195"/>
                  </a:cubicBezTo>
                  <a:cubicBezTo>
                    <a:pt x="1215" y="1197"/>
                    <a:pt x="1215" y="1199"/>
                    <a:pt x="1214" y="1202"/>
                  </a:cubicBezTo>
                  <a:cubicBezTo>
                    <a:pt x="1213" y="1204"/>
                    <a:pt x="1211" y="1206"/>
                    <a:pt x="1209" y="1208"/>
                  </a:cubicBezTo>
                  <a:lnTo>
                    <a:pt x="1122" y="1295"/>
                  </a:lnTo>
                  <a:cubicBezTo>
                    <a:pt x="1119" y="1298"/>
                    <a:pt x="1116" y="1301"/>
                    <a:pt x="1112" y="1302"/>
                  </a:cubicBezTo>
                  <a:cubicBezTo>
                    <a:pt x="1109" y="1303"/>
                    <a:pt x="1105" y="1303"/>
                    <a:pt x="1100" y="1301"/>
                  </a:cubicBezTo>
                  <a:cubicBezTo>
                    <a:pt x="1094" y="1299"/>
                    <a:pt x="1088" y="1297"/>
                    <a:pt x="1081" y="1293"/>
                  </a:cubicBezTo>
                  <a:cubicBezTo>
                    <a:pt x="1073" y="1290"/>
                    <a:pt x="1066" y="1286"/>
                    <a:pt x="1059" y="1282"/>
                  </a:cubicBezTo>
                  <a:cubicBezTo>
                    <a:pt x="1052" y="1277"/>
                    <a:pt x="1045" y="1272"/>
                    <a:pt x="1038" y="1267"/>
                  </a:cubicBezTo>
                  <a:cubicBezTo>
                    <a:pt x="1032" y="1262"/>
                    <a:pt x="1025" y="1257"/>
                    <a:pt x="1020" y="1251"/>
                  </a:cubicBezTo>
                  <a:cubicBezTo>
                    <a:pt x="1002" y="1233"/>
                    <a:pt x="989" y="1215"/>
                    <a:pt x="980" y="1195"/>
                  </a:cubicBezTo>
                  <a:cubicBezTo>
                    <a:pt x="972" y="1176"/>
                    <a:pt x="968" y="1156"/>
                    <a:pt x="969" y="1136"/>
                  </a:cubicBezTo>
                  <a:cubicBezTo>
                    <a:pt x="969" y="1117"/>
                    <a:pt x="974" y="1097"/>
                    <a:pt x="983" y="1078"/>
                  </a:cubicBezTo>
                  <a:cubicBezTo>
                    <a:pt x="992" y="1059"/>
                    <a:pt x="1005" y="1041"/>
                    <a:pt x="1023" y="1023"/>
                  </a:cubicBezTo>
                  <a:cubicBezTo>
                    <a:pt x="1041" y="1005"/>
                    <a:pt x="1060" y="991"/>
                    <a:pt x="1080" y="982"/>
                  </a:cubicBezTo>
                  <a:cubicBezTo>
                    <a:pt x="1101" y="973"/>
                    <a:pt x="1121" y="968"/>
                    <a:pt x="1141" y="967"/>
                  </a:cubicBezTo>
                  <a:cubicBezTo>
                    <a:pt x="1161" y="967"/>
                    <a:pt x="1181" y="971"/>
                    <a:pt x="1201" y="979"/>
                  </a:cubicBezTo>
                  <a:cubicBezTo>
                    <a:pt x="1221" y="987"/>
                    <a:pt x="1239" y="1000"/>
                    <a:pt x="1256" y="1017"/>
                  </a:cubicBezTo>
                  <a:cubicBezTo>
                    <a:pt x="1265" y="1026"/>
                    <a:pt x="1272" y="1035"/>
                    <a:pt x="1278" y="1044"/>
                  </a:cubicBezTo>
                  <a:cubicBezTo>
                    <a:pt x="1285" y="1053"/>
                    <a:pt x="1290" y="1062"/>
                    <a:pt x="1293" y="1070"/>
                  </a:cubicBezTo>
                  <a:cubicBezTo>
                    <a:pt x="1297" y="1078"/>
                    <a:pt x="1300" y="1085"/>
                    <a:pt x="1302" y="1091"/>
                  </a:cubicBezTo>
                  <a:cubicBezTo>
                    <a:pt x="1303" y="1098"/>
                    <a:pt x="1304" y="1103"/>
                    <a:pt x="1304" y="1106"/>
                  </a:cubicBezTo>
                  <a:cubicBezTo>
                    <a:pt x="1304" y="1109"/>
                    <a:pt x="1303" y="1112"/>
                    <a:pt x="1302" y="1114"/>
                  </a:cubicBezTo>
                  <a:cubicBezTo>
                    <a:pt x="1301" y="1117"/>
                    <a:pt x="1298" y="1120"/>
                    <a:pt x="1294" y="1124"/>
                  </a:cubicBezTo>
                  <a:close/>
                  <a:moveTo>
                    <a:pt x="1405" y="1324"/>
                  </a:moveTo>
                  <a:cubicBezTo>
                    <a:pt x="1403" y="1326"/>
                    <a:pt x="1400" y="1328"/>
                    <a:pt x="1398" y="1330"/>
                  </a:cubicBezTo>
                  <a:cubicBezTo>
                    <a:pt x="1397" y="1332"/>
                    <a:pt x="1395" y="1333"/>
                    <a:pt x="1394" y="1334"/>
                  </a:cubicBezTo>
                  <a:cubicBezTo>
                    <a:pt x="1392" y="1334"/>
                    <a:pt x="1391" y="1335"/>
                    <a:pt x="1390" y="1335"/>
                  </a:cubicBezTo>
                  <a:cubicBezTo>
                    <a:pt x="1389" y="1335"/>
                    <a:pt x="1388" y="1334"/>
                    <a:pt x="1387" y="1333"/>
                  </a:cubicBezTo>
                  <a:cubicBezTo>
                    <a:pt x="1386" y="1332"/>
                    <a:pt x="1385" y="1331"/>
                    <a:pt x="1384" y="1329"/>
                  </a:cubicBezTo>
                  <a:cubicBezTo>
                    <a:pt x="1383" y="1327"/>
                    <a:pt x="1382" y="1325"/>
                    <a:pt x="1381" y="1323"/>
                  </a:cubicBezTo>
                  <a:cubicBezTo>
                    <a:pt x="1380" y="1320"/>
                    <a:pt x="1379" y="1318"/>
                    <a:pt x="1377" y="1315"/>
                  </a:cubicBezTo>
                  <a:cubicBezTo>
                    <a:pt x="1375" y="1313"/>
                    <a:pt x="1373" y="1310"/>
                    <a:pt x="1371" y="1308"/>
                  </a:cubicBezTo>
                  <a:cubicBezTo>
                    <a:pt x="1368" y="1305"/>
                    <a:pt x="1364" y="1303"/>
                    <a:pt x="1360" y="1301"/>
                  </a:cubicBezTo>
                  <a:cubicBezTo>
                    <a:pt x="1356" y="1299"/>
                    <a:pt x="1351" y="1298"/>
                    <a:pt x="1346" y="1298"/>
                  </a:cubicBezTo>
                  <a:cubicBezTo>
                    <a:pt x="1340" y="1297"/>
                    <a:pt x="1333" y="1298"/>
                    <a:pt x="1325" y="1299"/>
                  </a:cubicBezTo>
                  <a:cubicBezTo>
                    <a:pt x="1317" y="1300"/>
                    <a:pt x="1308" y="1302"/>
                    <a:pt x="1297" y="1304"/>
                  </a:cubicBezTo>
                  <a:lnTo>
                    <a:pt x="1193" y="1409"/>
                  </a:lnTo>
                  <a:cubicBezTo>
                    <a:pt x="1192" y="1410"/>
                    <a:pt x="1191" y="1410"/>
                    <a:pt x="1190" y="1410"/>
                  </a:cubicBezTo>
                  <a:cubicBezTo>
                    <a:pt x="1188" y="1410"/>
                    <a:pt x="1187" y="1410"/>
                    <a:pt x="1186" y="1410"/>
                  </a:cubicBezTo>
                  <a:cubicBezTo>
                    <a:pt x="1184" y="1409"/>
                    <a:pt x="1182" y="1408"/>
                    <a:pt x="1180" y="1406"/>
                  </a:cubicBezTo>
                  <a:cubicBezTo>
                    <a:pt x="1178" y="1405"/>
                    <a:pt x="1175" y="1402"/>
                    <a:pt x="1172" y="1399"/>
                  </a:cubicBezTo>
                  <a:cubicBezTo>
                    <a:pt x="1170" y="1397"/>
                    <a:pt x="1167" y="1394"/>
                    <a:pt x="1166" y="1392"/>
                  </a:cubicBezTo>
                  <a:cubicBezTo>
                    <a:pt x="1164" y="1390"/>
                    <a:pt x="1163" y="1388"/>
                    <a:pt x="1162" y="1386"/>
                  </a:cubicBezTo>
                  <a:cubicBezTo>
                    <a:pt x="1162" y="1385"/>
                    <a:pt x="1161" y="1384"/>
                    <a:pt x="1162" y="1382"/>
                  </a:cubicBezTo>
                  <a:cubicBezTo>
                    <a:pt x="1162" y="1381"/>
                    <a:pt x="1163" y="1380"/>
                    <a:pt x="1163" y="1379"/>
                  </a:cubicBezTo>
                  <a:lnTo>
                    <a:pt x="1323" y="1220"/>
                  </a:lnTo>
                  <a:cubicBezTo>
                    <a:pt x="1324" y="1219"/>
                    <a:pt x="1324" y="1219"/>
                    <a:pt x="1325" y="1219"/>
                  </a:cubicBezTo>
                  <a:cubicBezTo>
                    <a:pt x="1326" y="1218"/>
                    <a:pt x="1328" y="1218"/>
                    <a:pt x="1329" y="1219"/>
                  </a:cubicBezTo>
                  <a:cubicBezTo>
                    <a:pt x="1331" y="1219"/>
                    <a:pt x="1333" y="1220"/>
                    <a:pt x="1335" y="1222"/>
                  </a:cubicBezTo>
                  <a:cubicBezTo>
                    <a:pt x="1336" y="1223"/>
                    <a:pt x="1339" y="1225"/>
                    <a:pt x="1341" y="1228"/>
                  </a:cubicBezTo>
                  <a:cubicBezTo>
                    <a:pt x="1344" y="1231"/>
                    <a:pt x="1346" y="1233"/>
                    <a:pt x="1347" y="1235"/>
                  </a:cubicBezTo>
                  <a:cubicBezTo>
                    <a:pt x="1349" y="1237"/>
                    <a:pt x="1350" y="1238"/>
                    <a:pt x="1350" y="1240"/>
                  </a:cubicBezTo>
                  <a:cubicBezTo>
                    <a:pt x="1351" y="1241"/>
                    <a:pt x="1351" y="1243"/>
                    <a:pt x="1351" y="1244"/>
                  </a:cubicBezTo>
                  <a:cubicBezTo>
                    <a:pt x="1350" y="1245"/>
                    <a:pt x="1350" y="1246"/>
                    <a:pt x="1349" y="1247"/>
                  </a:cubicBezTo>
                  <a:lnTo>
                    <a:pt x="1326" y="1270"/>
                  </a:lnTo>
                  <a:cubicBezTo>
                    <a:pt x="1336" y="1268"/>
                    <a:pt x="1346" y="1267"/>
                    <a:pt x="1354" y="1267"/>
                  </a:cubicBezTo>
                  <a:cubicBezTo>
                    <a:pt x="1361" y="1266"/>
                    <a:pt x="1368" y="1267"/>
                    <a:pt x="1374" y="1268"/>
                  </a:cubicBezTo>
                  <a:cubicBezTo>
                    <a:pt x="1380" y="1269"/>
                    <a:pt x="1385" y="1271"/>
                    <a:pt x="1389" y="1273"/>
                  </a:cubicBezTo>
                  <a:cubicBezTo>
                    <a:pt x="1393" y="1276"/>
                    <a:pt x="1397" y="1279"/>
                    <a:pt x="1400" y="1282"/>
                  </a:cubicBezTo>
                  <a:cubicBezTo>
                    <a:pt x="1402" y="1284"/>
                    <a:pt x="1404" y="1286"/>
                    <a:pt x="1405" y="1288"/>
                  </a:cubicBezTo>
                  <a:cubicBezTo>
                    <a:pt x="1407" y="1290"/>
                    <a:pt x="1409" y="1292"/>
                    <a:pt x="1410" y="1295"/>
                  </a:cubicBezTo>
                  <a:cubicBezTo>
                    <a:pt x="1412" y="1297"/>
                    <a:pt x="1413" y="1300"/>
                    <a:pt x="1415" y="1302"/>
                  </a:cubicBezTo>
                  <a:cubicBezTo>
                    <a:pt x="1416" y="1304"/>
                    <a:pt x="1416" y="1306"/>
                    <a:pt x="1416" y="1308"/>
                  </a:cubicBezTo>
                  <a:cubicBezTo>
                    <a:pt x="1417" y="1309"/>
                    <a:pt x="1416" y="1310"/>
                    <a:pt x="1416" y="1311"/>
                  </a:cubicBezTo>
                  <a:cubicBezTo>
                    <a:pt x="1416" y="1311"/>
                    <a:pt x="1415" y="1312"/>
                    <a:pt x="1415" y="1313"/>
                  </a:cubicBezTo>
                  <a:cubicBezTo>
                    <a:pt x="1414" y="1314"/>
                    <a:pt x="1413" y="1316"/>
                    <a:pt x="1411" y="1317"/>
                  </a:cubicBezTo>
                  <a:cubicBezTo>
                    <a:pt x="1410" y="1319"/>
                    <a:pt x="1408" y="1321"/>
                    <a:pt x="1405" y="1324"/>
                  </a:cubicBezTo>
                  <a:close/>
                  <a:moveTo>
                    <a:pt x="1517" y="1571"/>
                  </a:moveTo>
                  <a:cubicBezTo>
                    <a:pt x="1504" y="1584"/>
                    <a:pt x="1491" y="1594"/>
                    <a:pt x="1476" y="1601"/>
                  </a:cubicBezTo>
                  <a:cubicBezTo>
                    <a:pt x="1462" y="1609"/>
                    <a:pt x="1447" y="1613"/>
                    <a:pt x="1433" y="1614"/>
                  </a:cubicBezTo>
                  <a:cubicBezTo>
                    <a:pt x="1418" y="1615"/>
                    <a:pt x="1403" y="1613"/>
                    <a:pt x="1389" y="1607"/>
                  </a:cubicBezTo>
                  <a:cubicBezTo>
                    <a:pt x="1374" y="1601"/>
                    <a:pt x="1360" y="1592"/>
                    <a:pt x="1347" y="1578"/>
                  </a:cubicBezTo>
                  <a:cubicBezTo>
                    <a:pt x="1334" y="1565"/>
                    <a:pt x="1324" y="1552"/>
                    <a:pt x="1318" y="1538"/>
                  </a:cubicBezTo>
                  <a:cubicBezTo>
                    <a:pt x="1313" y="1525"/>
                    <a:pt x="1310" y="1511"/>
                    <a:pt x="1311" y="1497"/>
                  </a:cubicBezTo>
                  <a:cubicBezTo>
                    <a:pt x="1312" y="1483"/>
                    <a:pt x="1316" y="1469"/>
                    <a:pt x="1324" y="1455"/>
                  </a:cubicBezTo>
                  <a:cubicBezTo>
                    <a:pt x="1331" y="1442"/>
                    <a:pt x="1341" y="1428"/>
                    <a:pt x="1355" y="1415"/>
                  </a:cubicBezTo>
                  <a:cubicBezTo>
                    <a:pt x="1368" y="1402"/>
                    <a:pt x="1381" y="1391"/>
                    <a:pt x="1396" y="1384"/>
                  </a:cubicBezTo>
                  <a:cubicBezTo>
                    <a:pt x="1410" y="1376"/>
                    <a:pt x="1424" y="1372"/>
                    <a:pt x="1439" y="1371"/>
                  </a:cubicBezTo>
                  <a:cubicBezTo>
                    <a:pt x="1454" y="1370"/>
                    <a:pt x="1468" y="1372"/>
                    <a:pt x="1483" y="1378"/>
                  </a:cubicBezTo>
                  <a:cubicBezTo>
                    <a:pt x="1497" y="1384"/>
                    <a:pt x="1511" y="1393"/>
                    <a:pt x="1525" y="1407"/>
                  </a:cubicBezTo>
                  <a:cubicBezTo>
                    <a:pt x="1538" y="1420"/>
                    <a:pt x="1548" y="1433"/>
                    <a:pt x="1553" y="1447"/>
                  </a:cubicBezTo>
                  <a:cubicBezTo>
                    <a:pt x="1559" y="1461"/>
                    <a:pt x="1562" y="1474"/>
                    <a:pt x="1561" y="1488"/>
                  </a:cubicBezTo>
                  <a:cubicBezTo>
                    <a:pt x="1560" y="1502"/>
                    <a:pt x="1556" y="1516"/>
                    <a:pt x="1548" y="1530"/>
                  </a:cubicBezTo>
                  <a:cubicBezTo>
                    <a:pt x="1541" y="1544"/>
                    <a:pt x="1531" y="1557"/>
                    <a:pt x="1517" y="1571"/>
                  </a:cubicBezTo>
                  <a:close/>
                  <a:moveTo>
                    <a:pt x="1485" y="1542"/>
                  </a:moveTo>
                  <a:cubicBezTo>
                    <a:pt x="1494" y="1534"/>
                    <a:pt x="1501" y="1525"/>
                    <a:pt x="1507" y="1515"/>
                  </a:cubicBezTo>
                  <a:cubicBezTo>
                    <a:pt x="1513" y="1506"/>
                    <a:pt x="1517" y="1497"/>
                    <a:pt x="1519" y="1487"/>
                  </a:cubicBezTo>
                  <a:cubicBezTo>
                    <a:pt x="1521" y="1478"/>
                    <a:pt x="1521" y="1468"/>
                    <a:pt x="1518" y="1459"/>
                  </a:cubicBezTo>
                  <a:cubicBezTo>
                    <a:pt x="1515" y="1449"/>
                    <a:pt x="1509" y="1440"/>
                    <a:pt x="1499" y="1430"/>
                  </a:cubicBezTo>
                  <a:cubicBezTo>
                    <a:pt x="1491" y="1421"/>
                    <a:pt x="1482" y="1416"/>
                    <a:pt x="1472" y="1412"/>
                  </a:cubicBezTo>
                  <a:cubicBezTo>
                    <a:pt x="1463" y="1409"/>
                    <a:pt x="1454" y="1408"/>
                    <a:pt x="1444" y="1410"/>
                  </a:cubicBezTo>
                  <a:cubicBezTo>
                    <a:pt x="1434" y="1411"/>
                    <a:pt x="1425" y="1415"/>
                    <a:pt x="1415" y="1421"/>
                  </a:cubicBezTo>
                  <a:cubicBezTo>
                    <a:pt x="1406" y="1426"/>
                    <a:pt x="1396" y="1434"/>
                    <a:pt x="1387" y="1443"/>
                  </a:cubicBezTo>
                  <a:cubicBezTo>
                    <a:pt x="1378" y="1452"/>
                    <a:pt x="1371" y="1461"/>
                    <a:pt x="1365" y="1470"/>
                  </a:cubicBezTo>
                  <a:cubicBezTo>
                    <a:pt x="1359" y="1479"/>
                    <a:pt x="1355" y="1489"/>
                    <a:pt x="1353" y="1498"/>
                  </a:cubicBezTo>
                  <a:cubicBezTo>
                    <a:pt x="1351" y="1507"/>
                    <a:pt x="1351" y="1517"/>
                    <a:pt x="1354" y="1527"/>
                  </a:cubicBezTo>
                  <a:cubicBezTo>
                    <a:pt x="1357" y="1536"/>
                    <a:pt x="1363" y="1546"/>
                    <a:pt x="1373" y="1555"/>
                  </a:cubicBezTo>
                  <a:cubicBezTo>
                    <a:pt x="1381" y="1564"/>
                    <a:pt x="1390" y="1570"/>
                    <a:pt x="1400" y="1573"/>
                  </a:cubicBezTo>
                  <a:cubicBezTo>
                    <a:pt x="1409" y="1576"/>
                    <a:pt x="1419" y="1577"/>
                    <a:pt x="1428" y="1576"/>
                  </a:cubicBezTo>
                  <a:cubicBezTo>
                    <a:pt x="1438" y="1574"/>
                    <a:pt x="1447" y="1570"/>
                    <a:pt x="1457" y="1565"/>
                  </a:cubicBezTo>
                  <a:cubicBezTo>
                    <a:pt x="1466" y="1559"/>
                    <a:pt x="1476" y="1551"/>
                    <a:pt x="1485" y="1542"/>
                  </a:cubicBezTo>
                  <a:close/>
                  <a:moveTo>
                    <a:pt x="1623" y="1753"/>
                  </a:moveTo>
                  <a:cubicBezTo>
                    <a:pt x="1615" y="1761"/>
                    <a:pt x="1607" y="1767"/>
                    <a:pt x="1597" y="1770"/>
                  </a:cubicBezTo>
                  <a:cubicBezTo>
                    <a:pt x="1588" y="1773"/>
                    <a:pt x="1578" y="1774"/>
                    <a:pt x="1568" y="1773"/>
                  </a:cubicBezTo>
                  <a:cubicBezTo>
                    <a:pt x="1558" y="1772"/>
                    <a:pt x="1548" y="1769"/>
                    <a:pt x="1539" y="1763"/>
                  </a:cubicBezTo>
                  <a:cubicBezTo>
                    <a:pt x="1529" y="1758"/>
                    <a:pt x="1519" y="1751"/>
                    <a:pt x="1510" y="1742"/>
                  </a:cubicBezTo>
                  <a:cubicBezTo>
                    <a:pt x="1504" y="1736"/>
                    <a:pt x="1499" y="1730"/>
                    <a:pt x="1495" y="1724"/>
                  </a:cubicBezTo>
                  <a:cubicBezTo>
                    <a:pt x="1491" y="1718"/>
                    <a:pt x="1487" y="1712"/>
                    <a:pt x="1485" y="1707"/>
                  </a:cubicBezTo>
                  <a:cubicBezTo>
                    <a:pt x="1482" y="1701"/>
                    <a:pt x="1480" y="1697"/>
                    <a:pt x="1479" y="1692"/>
                  </a:cubicBezTo>
                  <a:cubicBezTo>
                    <a:pt x="1477" y="1688"/>
                    <a:pt x="1476" y="1685"/>
                    <a:pt x="1476" y="1682"/>
                  </a:cubicBezTo>
                  <a:cubicBezTo>
                    <a:pt x="1476" y="1680"/>
                    <a:pt x="1477" y="1677"/>
                    <a:pt x="1478" y="1674"/>
                  </a:cubicBezTo>
                  <a:cubicBezTo>
                    <a:pt x="1480" y="1672"/>
                    <a:pt x="1483" y="1668"/>
                    <a:pt x="1486" y="1665"/>
                  </a:cubicBezTo>
                  <a:cubicBezTo>
                    <a:pt x="1489" y="1663"/>
                    <a:pt x="1491" y="1661"/>
                    <a:pt x="1492" y="1659"/>
                  </a:cubicBezTo>
                  <a:cubicBezTo>
                    <a:pt x="1494" y="1658"/>
                    <a:pt x="1496" y="1657"/>
                    <a:pt x="1497" y="1657"/>
                  </a:cubicBezTo>
                  <a:cubicBezTo>
                    <a:pt x="1498" y="1656"/>
                    <a:pt x="1499" y="1656"/>
                    <a:pt x="1500" y="1656"/>
                  </a:cubicBezTo>
                  <a:cubicBezTo>
                    <a:pt x="1501" y="1656"/>
                    <a:pt x="1502" y="1657"/>
                    <a:pt x="1503" y="1658"/>
                  </a:cubicBezTo>
                  <a:cubicBezTo>
                    <a:pt x="1505" y="1659"/>
                    <a:pt x="1506" y="1662"/>
                    <a:pt x="1507" y="1666"/>
                  </a:cubicBezTo>
                  <a:cubicBezTo>
                    <a:pt x="1508" y="1670"/>
                    <a:pt x="1509" y="1675"/>
                    <a:pt x="1511" y="1680"/>
                  </a:cubicBezTo>
                  <a:cubicBezTo>
                    <a:pt x="1513" y="1686"/>
                    <a:pt x="1515" y="1692"/>
                    <a:pt x="1519" y="1699"/>
                  </a:cubicBezTo>
                  <a:cubicBezTo>
                    <a:pt x="1522" y="1705"/>
                    <a:pt x="1527" y="1712"/>
                    <a:pt x="1534" y="1719"/>
                  </a:cubicBezTo>
                  <a:cubicBezTo>
                    <a:pt x="1539" y="1724"/>
                    <a:pt x="1544" y="1728"/>
                    <a:pt x="1549" y="1731"/>
                  </a:cubicBezTo>
                  <a:cubicBezTo>
                    <a:pt x="1554" y="1733"/>
                    <a:pt x="1559" y="1735"/>
                    <a:pt x="1564" y="1736"/>
                  </a:cubicBezTo>
                  <a:cubicBezTo>
                    <a:pt x="1569" y="1737"/>
                    <a:pt x="1574" y="1737"/>
                    <a:pt x="1579" y="1735"/>
                  </a:cubicBezTo>
                  <a:cubicBezTo>
                    <a:pt x="1583" y="1734"/>
                    <a:pt x="1588" y="1731"/>
                    <a:pt x="1592" y="1726"/>
                  </a:cubicBezTo>
                  <a:cubicBezTo>
                    <a:pt x="1597" y="1722"/>
                    <a:pt x="1599" y="1717"/>
                    <a:pt x="1600" y="1712"/>
                  </a:cubicBezTo>
                  <a:cubicBezTo>
                    <a:pt x="1601" y="1706"/>
                    <a:pt x="1601" y="1700"/>
                    <a:pt x="1599" y="1694"/>
                  </a:cubicBezTo>
                  <a:cubicBezTo>
                    <a:pt x="1598" y="1688"/>
                    <a:pt x="1596" y="1682"/>
                    <a:pt x="1593" y="1675"/>
                  </a:cubicBezTo>
                  <a:cubicBezTo>
                    <a:pt x="1590" y="1669"/>
                    <a:pt x="1587" y="1662"/>
                    <a:pt x="1584" y="1655"/>
                  </a:cubicBezTo>
                  <a:cubicBezTo>
                    <a:pt x="1581" y="1648"/>
                    <a:pt x="1578" y="1641"/>
                    <a:pt x="1576" y="1633"/>
                  </a:cubicBezTo>
                  <a:cubicBezTo>
                    <a:pt x="1574" y="1626"/>
                    <a:pt x="1573" y="1619"/>
                    <a:pt x="1573" y="1611"/>
                  </a:cubicBezTo>
                  <a:cubicBezTo>
                    <a:pt x="1572" y="1604"/>
                    <a:pt x="1574" y="1597"/>
                    <a:pt x="1577" y="1589"/>
                  </a:cubicBezTo>
                  <a:cubicBezTo>
                    <a:pt x="1579" y="1582"/>
                    <a:pt x="1584" y="1575"/>
                    <a:pt x="1591" y="1568"/>
                  </a:cubicBezTo>
                  <a:cubicBezTo>
                    <a:pt x="1598" y="1561"/>
                    <a:pt x="1605" y="1557"/>
                    <a:pt x="1613" y="1553"/>
                  </a:cubicBezTo>
                  <a:cubicBezTo>
                    <a:pt x="1621" y="1550"/>
                    <a:pt x="1630" y="1549"/>
                    <a:pt x="1639" y="1549"/>
                  </a:cubicBezTo>
                  <a:cubicBezTo>
                    <a:pt x="1648" y="1550"/>
                    <a:pt x="1657" y="1552"/>
                    <a:pt x="1667" y="1557"/>
                  </a:cubicBezTo>
                  <a:cubicBezTo>
                    <a:pt x="1677" y="1562"/>
                    <a:pt x="1687" y="1569"/>
                    <a:pt x="1696" y="1578"/>
                  </a:cubicBezTo>
                  <a:cubicBezTo>
                    <a:pt x="1701" y="1583"/>
                    <a:pt x="1705" y="1587"/>
                    <a:pt x="1708" y="1592"/>
                  </a:cubicBezTo>
                  <a:cubicBezTo>
                    <a:pt x="1712" y="1597"/>
                    <a:pt x="1715" y="1602"/>
                    <a:pt x="1717" y="1606"/>
                  </a:cubicBezTo>
                  <a:cubicBezTo>
                    <a:pt x="1719" y="1611"/>
                    <a:pt x="1721" y="1615"/>
                    <a:pt x="1722" y="1618"/>
                  </a:cubicBezTo>
                  <a:cubicBezTo>
                    <a:pt x="1723" y="1622"/>
                    <a:pt x="1724" y="1625"/>
                    <a:pt x="1724" y="1627"/>
                  </a:cubicBezTo>
                  <a:cubicBezTo>
                    <a:pt x="1725" y="1629"/>
                    <a:pt x="1725" y="1631"/>
                    <a:pt x="1724" y="1632"/>
                  </a:cubicBezTo>
                  <a:cubicBezTo>
                    <a:pt x="1724" y="1633"/>
                    <a:pt x="1724" y="1634"/>
                    <a:pt x="1723" y="1635"/>
                  </a:cubicBezTo>
                  <a:cubicBezTo>
                    <a:pt x="1722" y="1636"/>
                    <a:pt x="1721" y="1638"/>
                    <a:pt x="1720" y="1639"/>
                  </a:cubicBezTo>
                  <a:cubicBezTo>
                    <a:pt x="1719" y="1641"/>
                    <a:pt x="1718" y="1642"/>
                    <a:pt x="1716" y="1644"/>
                  </a:cubicBezTo>
                  <a:cubicBezTo>
                    <a:pt x="1714" y="1646"/>
                    <a:pt x="1712" y="1648"/>
                    <a:pt x="1710" y="1649"/>
                  </a:cubicBezTo>
                  <a:cubicBezTo>
                    <a:pt x="1709" y="1651"/>
                    <a:pt x="1707" y="1651"/>
                    <a:pt x="1706" y="1652"/>
                  </a:cubicBezTo>
                  <a:cubicBezTo>
                    <a:pt x="1704" y="1652"/>
                    <a:pt x="1703" y="1653"/>
                    <a:pt x="1702" y="1652"/>
                  </a:cubicBezTo>
                  <a:cubicBezTo>
                    <a:pt x="1701" y="1652"/>
                    <a:pt x="1700" y="1652"/>
                    <a:pt x="1700" y="1651"/>
                  </a:cubicBezTo>
                  <a:cubicBezTo>
                    <a:pt x="1699" y="1650"/>
                    <a:pt x="1698" y="1648"/>
                    <a:pt x="1697" y="1645"/>
                  </a:cubicBezTo>
                  <a:cubicBezTo>
                    <a:pt x="1696" y="1641"/>
                    <a:pt x="1695" y="1637"/>
                    <a:pt x="1693" y="1633"/>
                  </a:cubicBezTo>
                  <a:cubicBezTo>
                    <a:pt x="1692" y="1628"/>
                    <a:pt x="1689" y="1623"/>
                    <a:pt x="1686" y="1617"/>
                  </a:cubicBezTo>
                  <a:cubicBezTo>
                    <a:pt x="1683" y="1612"/>
                    <a:pt x="1679" y="1606"/>
                    <a:pt x="1673" y="1601"/>
                  </a:cubicBezTo>
                  <a:cubicBezTo>
                    <a:pt x="1669" y="1596"/>
                    <a:pt x="1664" y="1592"/>
                    <a:pt x="1659" y="1589"/>
                  </a:cubicBezTo>
                  <a:cubicBezTo>
                    <a:pt x="1654" y="1587"/>
                    <a:pt x="1649" y="1585"/>
                    <a:pt x="1645" y="1585"/>
                  </a:cubicBezTo>
                  <a:cubicBezTo>
                    <a:pt x="1640" y="1584"/>
                    <a:pt x="1636" y="1585"/>
                    <a:pt x="1632" y="1587"/>
                  </a:cubicBezTo>
                  <a:cubicBezTo>
                    <a:pt x="1628" y="1588"/>
                    <a:pt x="1624" y="1591"/>
                    <a:pt x="1621" y="1594"/>
                  </a:cubicBezTo>
                  <a:cubicBezTo>
                    <a:pt x="1616" y="1598"/>
                    <a:pt x="1614" y="1604"/>
                    <a:pt x="1613" y="1609"/>
                  </a:cubicBezTo>
                  <a:cubicBezTo>
                    <a:pt x="1612" y="1614"/>
                    <a:pt x="1612" y="1620"/>
                    <a:pt x="1614" y="1626"/>
                  </a:cubicBezTo>
                  <a:cubicBezTo>
                    <a:pt x="1615" y="1633"/>
                    <a:pt x="1617" y="1639"/>
                    <a:pt x="1620" y="1646"/>
                  </a:cubicBezTo>
                  <a:cubicBezTo>
                    <a:pt x="1623" y="1652"/>
                    <a:pt x="1626" y="1659"/>
                    <a:pt x="1629" y="1666"/>
                  </a:cubicBezTo>
                  <a:cubicBezTo>
                    <a:pt x="1632" y="1673"/>
                    <a:pt x="1635" y="1680"/>
                    <a:pt x="1637" y="1688"/>
                  </a:cubicBezTo>
                  <a:cubicBezTo>
                    <a:pt x="1640" y="1695"/>
                    <a:pt x="1641" y="1703"/>
                    <a:pt x="1641" y="1710"/>
                  </a:cubicBezTo>
                  <a:cubicBezTo>
                    <a:pt x="1642" y="1717"/>
                    <a:pt x="1640" y="1724"/>
                    <a:pt x="1638" y="1732"/>
                  </a:cubicBezTo>
                  <a:cubicBezTo>
                    <a:pt x="1635" y="1739"/>
                    <a:pt x="1630" y="1746"/>
                    <a:pt x="1623" y="1753"/>
                  </a:cubicBezTo>
                  <a:close/>
                  <a:moveTo>
                    <a:pt x="1725" y="1926"/>
                  </a:moveTo>
                  <a:cubicBezTo>
                    <a:pt x="1723" y="1928"/>
                    <a:pt x="1721" y="1930"/>
                    <a:pt x="1719" y="1931"/>
                  </a:cubicBezTo>
                  <a:cubicBezTo>
                    <a:pt x="1717" y="1932"/>
                    <a:pt x="1716" y="1933"/>
                    <a:pt x="1714" y="1933"/>
                  </a:cubicBezTo>
                  <a:cubicBezTo>
                    <a:pt x="1713" y="1934"/>
                    <a:pt x="1711" y="1934"/>
                    <a:pt x="1710" y="1934"/>
                  </a:cubicBezTo>
                  <a:cubicBezTo>
                    <a:pt x="1709" y="1933"/>
                    <a:pt x="1708" y="1932"/>
                    <a:pt x="1707" y="1932"/>
                  </a:cubicBezTo>
                  <a:lnTo>
                    <a:pt x="1609" y="1834"/>
                  </a:lnTo>
                  <a:cubicBezTo>
                    <a:pt x="1606" y="1831"/>
                    <a:pt x="1605" y="1828"/>
                    <a:pt x="1605" y="1825"/>
                  </a:cubicBezTo>
                  <a:cubicBezTo>
                    <a:pt x="1605" y="1822"/>
                    <a:pt x="1607" y="1818"/>
                    <a:pt x="1611" y="1814"/>
                  </a:cubicBezTo>
                  <a:lnTo>
                    <a:pt x="1617" y="1808"/>
                  </a:lnTo>
                  <a:cubicBezTo>
                    <a:pt x="1619" y="1807"/>
                    <a:pt x="1620" y="1805"/>
                    <a:pt x="1622" y="1804"/>
                  </a:cubicBezTo>
                  <a:cubicBezTo>
                    <a:pt x="1623" y="1803"/>
                    <a:pt x="1625" y="1802"/>
                    <a:pt x="1627" y="1801"/>
                  </a:cubicBezTo>
                  <a:cubicBezTo>
                    <a:pt x="1629" y="1801"/>
                    <a:pt x="1631" y="1800"/>
                    <a:pt x="1633" y="1799"/>
                  </a:cubicBezTo>
                  <a:cubicBezTo>
                    <a:pt x="1635" y="1799"/>
                    <a:pt x="1638" y="1798"/>
                    <a:pt x="1641" y="1797"/>
                  </a:cubicBezTo>
                  <a:lnTo>
                    <a:pt x="1820" y="1758"/>
                  </a:lnTo>
                  <a:lnTo>
                    <a:pt x="1752" y="1690"/>
                  </a:lnTo>
                  <a:cubicBezTo>
                    <a:pt x="1750" y="1688"/>
                    <a:pt x="1750" y="1686"/>
                    <a:pt x="1751" y="1683"/>
                  </a:cubicBezTo>
                  <a:cubicBezTo>
                    <a:pt x="1752" y="1680"/>
                    <a:pt x="1754" y="1676"/>
                    <a:pt x="1759" y="1671"/>
                  </a:cubicBezTo>
                  <a:cubicBezTo>
                    <a:pt x="1761" y="1669"/>
                    <a:pt x="1763" y="1668"/>
                    <a:pt x="1764" y="1666"/>
                  </a:cubicBezTo>
                  <a:cubicBezTo>
                    <a:pt x="1766" y="1665"/>
                    <a:pt x="1768" y="1664"/>
                    <a:pt x="1769" y="1664"/>
                  </a:cubicBezTo>
                  <a:cubicBezTo>
                    <a:pt x="1771" y="1663"/>
                    <a:pt x="1772" y="1663"/>
                    <a:pt x="1774" y="1663"/>
                  </a:cubicBezTo>
                  <a:cubicBezTo>
                    <a:pt x="1775" y="1664"/>
                    <a:pt x="1776" y="1664"/>
                    <a:pt x="1777" y="1665"/>
                  </a:cubicBezTo>
                  <a:lnTo>
                    <a:pt x="1868" y="1757"/>
                  </a:lnTo>
                  <a:cubicBezTo>
                    <a:pt x="1869" y="1758"/>
                    <a:pt x="1870" y="1759"/>
                    <a:pt x="1871" y="1761"/>
                  </a:cubicBezTo>
                  <a:cubicBezTo>
                    <a:pt x="1872" y="1762"/>
                    <a:pt x="1872" y="1763"/>
                    <a:pt x="1872" y="1765"/>
                  </a:cubicBezTo>
                  <a:cubicBezTo>
                    <a:pt x="1872" y="1767"/>
                    <a:pt x="1871" y="1768"/>
                    <a:pt x="1870" y="1770"/>
                  </a:cubicBezTo>
                  <a:cubicBezTo>
                    <a:pt x="1869" y="1772"/>
                    <a:pt x="1868" y="1773"/>
                    <a:pt x="1866" y="1775"/>
                  </a:cubicBezTo>
                  <a:lnTo>
                    <a:pt x="1860" y="1781"/>
                  </a:lnTo>
                  <a:cubicBezTo>
                    <a:pt x="1859" y="1783"/>
                    <a:pt x="1857" y="1784"/>
                    <a:pt x="1855" y="1785"/>
                  </a:cubicBezTo>
                  <a:cubicBezTo>
                    <a:pt x="1854" y="1787"/>
                    <a:pt x="1852" y="1788"/>
                    <a:pt x="1850" y="1788"/>
                  </a:cubicBezTo>
                  <a:cubicBezTo>
                    <a:pt x="1848" y="1789"/>
                    <a:pt x="1846" y="1790"/>
                    <a:pt x="1844" y="1791"/>
                  </a:cubicBezTo>
                  <a:cubicBezTo>
                    <a:pt x="1842" y="1792"/>
                    <a:pt x="1839" y="1792"/>
                    <a:pt x="1836" y="1793"/>
                  </a:cubicBezTo>
                  <a:lnTo>
                    <a:pt x="1657" y="1832"/>
                  </a:lnTo>
                  <a:lnTo>
                    <a:pt x="1731" y="1907"/>
                  </a:lnTo>
                  <a:cubicBezTo>
                    <a:pt x="1732" y="1908"/>
                    <a:pt x="1733" y="1909"/>
                    <a:pt x="1733" y="1910"/>
                  </a:cubicBezTo>
                  <a:cubicBezTo>
                    <a:pt x="1734" y="1911"/>
                    <a:pt x="1734" y="1913"/>
                    <a:pt x="1733" y="1914"/>
                  </a:cubicBezTo>
                  <a:cubicBezTo>
                    <a:pt x="1733" y="1916"/>
                    <a:pt x="1732" y="1917"/>
                    <a:pt x="1731" y="1919"/>
                  </a:cubicBezTo>
                  <a:cubicBezTo>
                    <a:pt x="1729" y="1921"/>
                    <a:pt x="1728" y="1923"/>
                    <a:pt x="1725" y="1926"/>
                  </a:cubicBezTo>
                  <a:close/>
                  <a:moveTo>
                    <a:pt x="1992" y="2046"/>
                  </a:moveTo>
                  <a:cubicBezTo>
                    <a:pt x="1979" y="2059"/>
                    <a:pt x="1966" y="2069"/>
                    <a:pt x="1951" y="2076"/>
                  </a:cubicBezTo>
                  <a:cubicBezTo>
                    <a:pt x="1937" y="2084"/>
                    <a:pt x="1923" y="2088"/>
                    <a:pt x="1908" y="2089"/>
                  </a:cubicBezTo>
                  <a:cubicBezTo>
                    <a:pt x="1893" y="2090"/>
                    <a:pt x="1879" y="2088"/>
                    <a:pt x="1864" y="2082"/>
                  </a:cubicBezTo>
                  <a:cubicBezTo>
                    <a:pt x="1849" y="2077"/>
                    <a:pt x="1835" y="2067"/>
                    <a:pt x="1822" y="2054"/>
                  </a:cubicBezTo>
                  <a:cubicBezTo>
                    <a:pt x="1809" y="2040"/>
                    <a:pt x="1799" y="2027"/>
                    <a:pt x="1794" y="2013"/>
                  </a:cubicBezTo>
                  <a:cubicBezTo>
                    <a:pt x="1788" y="2000"/>
                    <a:pt x="1785" y="1986"/>
                    <a:pt x="1786" y="1972"/>
                  </a:cubicBezTo>
                  <a:cubicBezTo>
                    <a:pt x="1787" y="1958"/>
                    <a:pt x="1791" y="1944"/>
                    <a:pt x="1799" y="1931"/>
                  </a:cubicBezTo>
                  <a:cubicBezTo>
                    <a:pt x="1806" y="1917"/>
                    <a:pt x="1817" y="1903"/>
                    <a:pt x="1830" y="1890"/>
                  </a:cubicBezTo>
                  <a:cubicBezTo>
                    <a:pt x="1843" y="1877"/>
                    <a:pt x="1857" y="1867"/>
                    <a:pt x="1871" y="1859"/>
                  </a:cubicBezTo>
                  <a:cubicBezTo>
                    <a:pt x="1885" y="1852"/>
                    <a:pt x="1900" y="1847"/>
                    <a:pt x="1914" y="1846"/>
                  </a:cubicBezTo>
                  <a:cubicBezTo>
                    <a:pt x="1929" y="1845"/>
                    <a:pt x="1944" y="1847"/>
                    <a:pt x="1958" y="1853"/>
                  </a:cubicBezTo>
                  <a:cubicBezTo>
                    <a:pt x="1973" y="1859"/>
                    <a:pt x="1987" y="1868"/>
                    <a:pt x="2000" y="1882"/>
                  </a:cubicBezTo>
                  <a:cubicBezTo>
                    <a:pt x="2013" y="1895"/>
                    <a:pt x="2023" y="1908"/>
                    <a:pt x="2029" y="1922"/>
                  </a:cubicBezTo>
                  <a:cubicBezTo>
                    <a:pt x="2034" y="1936"/>
                    <a:pt x="2037" y="1949"/>
                    <a:pt x="2036" y="1963"/>
                  </a:cubicBezTo>
                  <a:cubicBezTo>
                    <a:pt x="2035" y="1977"/>
                    <a:pt x="2031" y="1991"/>
                    <a:pt x="2023" y="2005"/>
                  </a:cubicBezTo>
                  <a:cubicBezTo>
                    <a:pt x="2016" y="2019"/>
                    <a:pt x="2006" y="2032"/>
                    <a:pt x="1992" y="2046"/>
                  </a:cubicBezTo>
                  <a:close/>
                  <a:moveTo>
                    <a:pt x="1960" y="2017"/>
                  </a:moveTo>
                  <a:cubicBezTo>
                    <a:pt x="1969" y="2009"/>
                    <a:pt x="1976" y="2000"/>
                    <a:pt x="1982" y="1991"/>
                  </a:cubicBezTo>
                  <a:cubicBezTo>
                    <a:pt x="1988" y="1981"/>
                    <a:pt x="1992" y="1972"/>
                    <a:pt x="1994" y="1963"/>
                  </a:cubicBezTo>
                  <a:cubicBezTo>
                    <a:pt x="1996" y="1953"/>
                    <a:pt x="1996" y="1944"/>
                    <a:pt x="1993" y="1934"/>
                  </a:cubicBezTo>
                  <a:cubicBezTo>
                    <a:pt x="1990" y="1924"/>
                    <a:pt x="1984" y="1915"/>
                    <a:pt x="1975" y="1905"/>
                  </a:cubicBezTo>
                  <a:cubicBezTo>
                    <a:pt x="1966" y="1897"/>
                    <a:pt x="1957" y="1891"/>
                    <a:pt x="1948" y="1887"/>
                  </a:cubicBezTo>
                  <a:cubicBezTo>
                    <a:pt x="1938" y="1884"/>
                    <a:pt x="1929" y="1884"/>
                    <a:pt x="1919" y="1885"/>
                  </a:cubicBezTo>
                  <a:cubicBezTo>
                    <a:pt x="1910" y="1887"/>
                    <a:pt x="1900" y="1890"/>
                    <a:pt x="1890" y="1896"/>
                  </a:cubicBezTo>
                  <a:cubicBezTo>
                    <a:pt x="1881" y="1902"/>
                    <a:pt x="1871" y="1909"/>
                    <a:pt x="1862" y="1918"/>
                  </a:cubicBezTo>
                  <a:cubicBezTo>
                    <a:pt x="1854" y="1927"/>
                    <a:pt x="1846" y="1936"/>
                    <a:pt x="1840" y="1945"/>
                  </a:cubicBezTo>
                  <a:cubicBezTo>
                    <a:pt x="1834" y="1954"/>
                    <a:pt x="1830" y="1964"/>
                    <a:pt x="1828" y="1973"/>
                  </a:cubicBezTo>
                  <a:cubicBezTo>
                    <a:pt x="1826" y="1983"/>
                    <a:pt x="1827" y="1992"/>
                    <a:pt x="1830" y="2002"/>
                  </a:cubicBezTo>
                  <a:cubicBezTo>
                    <a:pt x="1832" y="2012"/>
                    <a:pt x="1839" y="2021"/>
                    <a:pt x="1848" y="2030"/>
                  </a:cubicBezTo>
                  <a:cubicBezTo>
                    <a:pt x="1857" y="2039"/>
                    <a:pt x="1866" y="2045"/>
                    <a:pt x="1875" y="2048"/>
                  </a:cubicBezTo>
                  <a:cubicBezTo>
                    <a:pt x="1884" y="2051"/>
                    <a:pt x="1894" y="2052"/>
                    <a:pt x="1903" y="2051"/>
                  </a:cubicBezTo>
                  <a:cubicBezTo>
                    <a:pt x="1913" y="2049"/>
                    <a:pt x="1923" y="2046"/>
                    <a:pt x="1932" y="2040"/>
                  </a:cubicBezTo>
                  <a:cubicBezTo>
                    <a:pt x="1942" y="2034"/>
                    <a:pt x="1951" y="2027"/>
                    <a:pt x="1960" y="2017"/>
                  </a:cubicBezTo>
                  <a:close/>
                  <a:moveTo>
                    <a:pt x="2337" y="2235"/>
                  </a:moveTo>
                  <a:cubicBezTo>
                    <a:pt x="2337" y="2235"/>
                    <a:pt x="2336" y="2236"/>
                    <a:pt x="2334" y="2237"/>
                  </a:cubicBezTo>
                  <a:cubicBezTo>
                    <a:pt x="2333" y="2238"/>
                    <a:pt x="2331" y="2239"/>
                    <a:pt x="2328" y="2240"/>
                  </a:cubicBezTo>
                  <a:lnTo>
                    <a:pt x="2130" y="2345"/>
                  </a:lnTo>
                  <a:cubicBezTo>
                    <a:pt x="2129" y="2346"/>
                    <a:pt x="2127" y="2346"/>
                    <a:pt x="2126" y="2346"/>
                  </a:cubicBezTo>
                  <a:cubicBezTo>
                    <a:pt x="2124" y="2346"/>
                    <a:pt x="2122" y="2346"/>
                    <a:pt x="2120" y="2345"/>
                  </a:cubicBezTo>
                  <a:cubicBezTo>
                    <a:pt x="2119" y="2344"/>
                    <a:pt x="2116" y="2343"/>
                    <a:pt x="2114" y="2340"/>
                  </a:cubicBezTo>
                  <a:cubicBezTo>
                    <a:pt x="2111" y="2338"/>
                    <a:pt x="2108" y="2335"/>
                    <a:pt x="2105" y="2332"/>
                  </a:cubicBezTo>
                  <a:cubicBezTo>
                    <a:pt x="2101" y="2328"/>
                    <a:pt x="2098" y="2325"/>
                    <a:pt x="2096" y="2322"/>
                  </a:cubicBezTo>
                  <a:cubicBezTo>
                    <a:pt x="2094" y="2320"/>
                    <a:pt x="2092" y="2317"/>
                    <a:pt x="2091" y="2315"/>
                  </a:cubicBezTo>
                  <a:cubicBezTo>
                    <a:pt x="2090" y="2313"/>
                    <a:pt x="2090" y="2312"/>
                    <a:pt x="2090" y="2310"/>
                  </a:cubicBezTo>
                  <a:cubicBezTo>
                    <a:pt x="2090" y="2308"/>
                    <a:pt x="2090" y="2307"/>
                    <a:pt x="2091" y="2305"/>
                  </a:cubicBezTo>
                  <a:lnTo>
                    <a:pt x="2173" y="2157"/>
                  </a:lnTo>
                  <a:lnTo>
                    <a:pt x="2174" y="2155"/>
                  </a:lnTo>
                  <a:lnTo>
                    <a:pt x="2173" y="2156"/>
                  </a:lnTo>
                  <a:lnTo>
                    <a:pt x="2026" y="2240"/>
                  </a:lnTo>
                  <a:cubicBezTo>
                    <a:pt x="2024" y="2241"/>
                    <a:pt x="2023" y="2242"/>
                    <a:pt x="2021" y="2242"/>
                  </a:cubicBezTo>
                  <a:cubicBezTo>
                    <a:pt x="2020" y="2242"/>
                    <a:pt x="2018" y="2241"/>
                    <a:pt x="2016" y="2240"/>
                  </a:cubicBezTo>
                  <a:cubicBezTo>
                    <a:pt x="2014" y="2239"/>
                    <a:pt x="2012" y="2238"/>
                    <a:pt x="2009" y="2235"/>
                  </a:cubicBezTo>
                  <a:cubicBezTo>
                    <a:pt x="2006" y="2233"/>
                    <a:pt x="2003" y="2230"/>
                    <a:pt x="2000" y="2227"/>
                  </a:cubicBezTo>
                  <a:cubicBezTo>
                    <a:pt x="1996" y="2223"/>
                    <a:pt x="1993" y="2220"/>
                    <a:pt x="1991" y="2217"/>
                  </a:cubicBezTo>
                  <a:cubicBezTo>
                    <a:pt x="1989" y="2215"/>
                    <a:pt x="1988" y="2213"/>
                    <a:pt x="1987" y="2211"/>
                  </a:cubicBezTo>
                  <a:cubicBezTo>
                    <a:pt x="1986" y="2209"/>
                    <a:pt x="1985" y="2207"/>
                    <a:pt x="1985" y="2206"/>
                  </a:cubicBezTo>
                  <a:cubicBezTo>
                    <a:pt x="1985" y="2204"/>
                    <a:pt x="1986" y="2202"/>
                    <a:pt x="1987" y="2201"/>
                  </a:cubicBezTo>
                  <a:lnTo>
                    <a:pt x="2091" y="2003"/>
                  </a:lnTo>
                  <a:cubicBezTo>
                    <a:pt x="2093" y="2001"/>
                    <a:pt x="2094" y="1999"/>
                    <a:pt x="2095" y="1998"/>
                  </a:cubicBezTo>
                  <a:cubicBezTo>
                    <a:pt x="2095" y="1996"/>
                    <a:pt x="2096" y="1995"/>
                    <a:pt x="2097" y="1994"/>
                  </a:cubicBezTo>
                  <a:cubicBezTo>
                    <a:pt x="2098" y="1993"/>
                    <a:pt x="2099" y="1993"/>
                    <a:pt x="2100" y="1992"/>
                  </a:cubicBezTo>
                  <a:cubicBezTo>
                    <a:pt x="2102" y="1992"/>
                    <a:pt x="2103" y="1993"/>
                    <a:pt x="2104" y="1993"/>
                  </a:cubicBezTo>
                  <a:cubicBezTo>
                    <a:pt x="2106" y="1994"/>
                    <a:pt x="2108" y="1995"/>
                    <a:pt x="2110" y="1997"/>
                  </a:cubicBezTo>
                  <a:cubicBezTo>
                    <a:pt x="2112" y="1999"/>
                    <a:pt x="2114" y="2001"/>
                    <a:pt x="2117" y="2004"/>
                  </a:cubicBezTo>
                  <a:cubicBezTo>
                    <a:pt x="2120" y="2007"/>
                    <a:pt x="2123" y="2010"/>
                    <a:pt x="2125" y="2012"/>
                  </a:cubicBezTo>
                  <a:cubicBezTo>
                    <a:pt x="2126" y="2014"/>
                    <a:pt x="2128" y="2016"/>
                    <a:pt x="2128" y="2017"/>
                  </a:cubicBezTo>
                  <a:cubicBezTo>
                    <a:pt x="2129" y="2019"/>
                    <a:pt x="2129" y="2020"/>
                    <a:pt x="2129" y="2021"/>
                  </a:cubicBezTo>
                  <a:cubicBezTo>
                    <a:pt x="2128" y="2023"/>
                    <a:pt x="2128" y="2024"/>
                    <a:pt x="2127" y="2025"/>
                  </a:cubicBezTo>
                  <a:lnTo>
                    <a:pt x="2034" y="2195"/>
                  </a:lnTo>
                  <a:lnTo>
                    <a:pt x="2033" y="2197"/>
                  </a:lnTo>
                  <a:lnTo>
                    <a:pt x="2035" y="2196"/>
                  </a:lnTo>
                  <a:lnTo>
                    <a:pt x="2202" y="2100"/>
                  </a:lnTo>
                  <a:cubicBezTo>
                    <a:pt x="2203" y="2099"/>
                    <a:pt x="2204" y="2098"/>
                    <a:pt x="2205" y="2098"/>
                  </a:cubicBezTo>
                  <a:cubicBezTo>
                    <a:pt x="2207" y="2098"/>
                    <a:pt x="2208" y="2098"/>
                    <a:pt x="2210" y="2099"/>
                  </a:cubicBezTo>
                  <a:cubicBezTo>
                    <a:pt x="2211" y="2099"/>
                    <a:pt x="2213" y="2100"/>
                    <a:pt x="2215" y="2102"/>
                  </a:cubicBezTo>
                  <a:cubicBezTo>
                    <a:pt x="2217" y="2104"/>
                    <a:pt x="2219" y="2106"/>
                    <a:pt x="2222" y="2109"/>
                  </a:cubicBezTo>
                  <a:cubicBezTo>
                    <a:pt x="2225" y="2112"/>
                    <a:pt x="2227" y="2114"/>
                    <a:pt x="2229" y="2116"/>
                  </a:cubicBezTo>
                  <a:cubicBezTo>
                    <a:pt x="2231" y="2118"/>
                    <a:pt x="2232" y="2120"/>
                    <a:pt x="2232" y="2121"/>
                  </a:cubicBezTo>
                  <a:cubicBezTo>
                    <a:pt x="2233" y="2123"/>
                    <a:pt x="2233" y="2124"/>
                    <a:pt x="2233" y="2125"/>
                  </a:cubicBezTo>
                  <a:cubicBezTo>
                    <a:pt x="2233" y="2127"/>
                    <a:pt x="2232" y="2128"/>
                    <a:pt x="2232" y="2129"/>
                  </a:cubicBezTo>
                  <a:lnTo>
                    <a:pt x="2138" y="2299"/>
                  </a:lnTo>
                  <a:lnTo>
                    <a:pt x="2137" y="2300"/>
                  </a:lnTo>
                  <a:lnTo>
                    <a:pt x="2139" y="2299"/>
                  </a:lnTo>
                  <a:lnTo>
                    <a:pt x="2308" y="2206"/>
                  </a:lnTo>
                  <a:cubicBezTo>
                    <a:pt x="2309" y="2205"/>
                    <a:pt x="2310" y="2204"/>
                    <a:pt x="2311" y="2204"/>
                  </a:cubicBezTo>
                  <a:cubicBezTo>
                    <a:pt x="2313" y="2204"/>
                    <a:pt x="2314" y="2204"/>
                    <a:pt x="2316" y="2205"/>
                  </a:cubicBezTo>
                  <a:cubicBezTo>
                    <a:pt x="2317" y="2206"/>
                    <a:pt x="2319" y="2207"/>
                    <a:pt x="2321" y="2209"/>
                  </a:cubicBezTo>
                  <a:cubicBezTo>
                    <a:pt x="2323" y="2210"/>
                    <a:pt x="2326" y="2213"/>
                    <a:pt x="2329" y="2216"/>
                  </a:cubicBezTo>
                  <a:cubicBezTo>
                    <a:pt x="2332" y="2219"/>
                    <a:pt x="2334" y="2221"/>
                    <a:pt x="2336" y="2223"/>
                  </a:cubicBezTo>
                  <a:cubicBezTo>
                    <a:pt x="2337" y="2225"/>
                    <a:pt x="2338" y="2226"/>
                    <a:pt x="2339" y="2228"/>
                  </a:cubicBezTo>
                  <a:cubicBezTo>
                    <a:pt x="2339" y="2229"/>
                    <a:pt x="2339" y="2230"/>
                    <a:pt x="2339" y="2231"/>
                  </a:cubicBezTo>
                  <a:cubicBezTo>
                    <a:pt x="2339" y="2232"/>
                    <a:pt x="2339" y="2233"/>
                    <a:pt x="2337" y="2235"/>
                  </a:cubicBezTo>
                  <a:close/>
                  <a:moveTo>
                    <a:pt x="2234" y="2449"/>
                  </a:moveTo>
                  <a:cubicBezTo>
                    <a:pt x="2233" y="2450"/>
                    <a:pt x="2232" y="2451"/>
                    <a:pt x="2230" y="2451"/>
                  </a:cubicBezTo>
                  <a:cubicBezTo>
                    <a:pt x="2229" y="2451"/>
                    <a:pt x="2228" y="2451"/>
                    <a:pt x="2226" y="2451"/>
                  </a:cubicBezTo>
                  <a:cubicBezTo>
                    <a:pt x="2225" y="2450"/>
                    <a:pt x="2223" y="2449"/>
                    <a:pt x="2221" y="2447"/>
                  </a:cubicBezTo>
                  <a:cubicBezTo>
                    <a:pt x="2219" y="2446"/>
                    <a:pt x="2216" y="2443"/>
                    <a:pt x="2213" y="2440"/>
                  </a:cubicBezTo>
                  <a:cubicBezTo>
                    <a:pt x="2211" y="2437"/>
                    <a:pt x="2208" y="2435"/>
                    <a:pt x="2207" y="2433"/>
                  </a:cubicBezTo>
                  <a:cubicBezTo>
                    <a:pt x="2205" y="2431"/>
                    <a:pt x="2204" y="2429"/>
                    <a:pt x="2203" y="2427"/>
                  </a:cubicBezTo>
                  <a:cubicBezTo>
                    <a:pt x="2203" y="2426"/>
                    <a:pt x="2202" y="2424"/>
                    <a:pt x="2203" y="2423"/>
                  </a:cubicBezTo>
                  <a:cubicBezTo>
                    <a:pt x="2203" y="2422"/>
                    <a:pt x="2203" y="2421"/>
                    <a:pt x="2204" y="2420"/>
                  </a:cubicBezTo>
                  <a:lnTo>
                    <a:pt x="2363" y="2261"/>
                  </a:lnTo>
                  <a:cubicBezTo>
                    <a:pt x="2364" y="2260"/>
                    <a:pt x="2365" y="2260"/>
                    <a:pt x="2366" y="2260"/>
                  </a:cubicBezTo>
                  <a:cubicBezTo>
                    <a:pt x="2367" y="2259"/>
                    <a:pt x="2369" y="2259"/>
                    <a:pt x="2370" y="2260"/>
                  </a:cubicBezTo>
                  <a:cubicBezTo>
                    <a:pt x="2372" y="2261"/>
                    <a:pt x="2374" y="2262"/>
                    <a:pt x="2376" y="2264"/>
                  </a:cubicBezTo>
                  <a:cubicBezTo>
                    <a:pt x="2378" y="2265"/>
                    <a:pt x="2381" y="2267"/>
                    <a:pt x="2383" y="2270"/>
                  </a:cubicBezTo>
                  <a:cubicBezTo>
                    <a:pt x="2386" y="2273"/>
                    <a:pt x="2389" y="2276"/>
                    <a:pt x="2390" y="2278"/>
                  </a:cubicBezTo>
                  <a:cubicBezTo>
                    <a:pt x="2392" y="2280"/>
                    <a:pt x="2393" y="2282"/>
                    <a:pt x="2394" y="2283"/>
                  </a:cubicBezTo>
                  <a:cubicBezTo>
                    <a:pt x="2394" y="2285"/>
                    <a:pt x="2394" y="2286"/>
                    <a:pt x="2394" y="2287"/>
                  </a:cubicBezTo>
                  <a:cubicBezTo>
                    <a:pt x="2394" y="2289"/>
                    <a:pt x="2393" y="2290"/>
                    <a:pt x="2393" y="2290"/>
                  </a:cubicBezTo>
                  <a:lnTo>
                    <a:pt x="2234" y="2449"/>
                  </a:lnTo>
                  <a:close/>
                  <a:moveTo>
                    <a:pt x="2450" y="2240"/>
                  </a:moveTo>
                  <a:cubicBezTo>
                    <a:pt x="2443" y="2247"/>
                    <a:pt x="2437" y="2250"/>
                    <a:pt x="2432" y="2250"/>
                  </a:cubicBezTo>
                  <a:cubicBezTo>
                    <a:pt x="2427" y="2250"/>
                    <a:pt x="2421" y="2246"/>
                    <a:pt x="2414" y="2239"/>
                  </a:cubicBezTo>
                  <a:cubicBezTo>
                    <a:pt x="2407" y="2233"/>
                    <a:pt x="2404" y="2227"/>
                    <a:pt x="2403" y="2222"/>
                  </a:cubicBezTo>
                  <a:cubicBezTo>
                    <a:pt x="2403" y="2217"/>
                    <a:pt x="2407" y="2211"/>
                    <a:pt x="2413" y="2204"/>
                  </a:cubicBezTo>
                  <a:cubicBezTo>
                    <a:pt x="2420" y="2197"/>
                    <a:pt x="2426" y="2194"/>
                    <a:pt x="2431" y="2194"/>
                  </a:cubicBezTo>
                  <a:cubicBezTo>
                    <a:pt x="2436" y="2194"/>
                    <a:pt x="2442" y="2198"/>
                    <a:pt x="2449" y="2205"/>
                  </a:cubicBezTo>
                  <a:cubicBezTo>
                    <a:pt x="2456" y="2212"/>
                    <a:pt x="2459" y="2218"/>
                    <a:pt x="2460" y="2223"/>
                  </a:cubicBezTo>
                  <a:cubicBezTo>
                    <a:pt x="2460" y="2227"/>
                    <a:pt x="2456" y="2233"/>
                    <a:pt x="2450" y="2240"/>
                  </a:cubicBezTo>
                  <a:close/>
                  <a:moveTo>
                    <a:pt x="2433" y="2601"/>
                  </a:moveTo>
                  <a:cubicBezTo>
                    <a:pt x="2431" y="2603"/>
                    <a:pt x="2430" y="2605"/>
                    <a:pt x="2428" y="2606"/>
                  </a:cubicBezTo>
                  <a:cubicBezTo>
                    <a:pt x="2426" y="2607"/>
                    <a:pt x="2425" y="2608"/>
                    <a:pt x="2424" y="2609"/>
                  </a:cubicBezTo>
                  <a:cubicBezTo>
                    <a:pt x="2422" y="2610"/>
                    <a:pt x="2421" y="2610"/>
                    <a:pt x="2420" y="2611"/>
                  </a:cubicBezTo>
                  <a:cubicBezTo>
                    <a:pt x="2419" y="2611"/>
                    <a:pt x="2417" y="2611"/>
                    <a:pt x="2414" y="2611"/>
                  </a:cubicBezTo>
                  <a:cubicBezTo>
                    <a:pt x="2411" y="2611"/>
                    <a:pt x="2407" y="2611"/>
                    <a:pt x="2401" y="2609"/>
                  </a:cubicBezTo>
                  <a:cubicBezTo>
                    <a:pt x="2395" y="2608"/>
                    <a:pt x="2389" y="2606"/>
                    <a:pt x="2383" y="2603"/>
                  </a:cubicBezTo>
                  <a:cubicBezTo>
                    <a:pt x="2377" y="2600"/>
                    <a:pt x="2371" y="2597"/>
                    <a:pt x="2364" y="2593"/>
                  </a:cubicBezTo>
                  <a:cubicBezTo>
                    <a:pt x="2358" y="2589"/>
                    <a:pt x="2352" y="2584"/>
                    <a:pt x="2347" y="2578"/>
                  </a:cubicBezTo>
                  <a:cubicBezTo>
                    <a:pt x="2335" y="2567"/>
                    <a:pt x="2327" y="2555"/>
                    <a:pt x="2322" y="2542"/>
                  </a:cubicBezTo>
                  <a:cubicBezTo>
                    <a:pt x="2317" y="2530"/>
                    <a:pt x="2315" y="2517"/>
                    <a:pt x="2316" y="2504"/>
                  </a:cubicBezTo>
                  <a:cubicBezTo>
                    <a:pt x="2318" y="2490"/>
                    <a:pt x="2322" y="2477"/>
                    <a:pt x="2329" y="2463"/>
                  </a:cubicBezTo>
                  <a:cubicBezTo>
                    <a:pt x="2337" y="2450"/>
                    <a:pt x="2348" y="2436"/>
                    <a:pt x="2361" y="2422"/>
                  </a:cubicBezTo>
                  <a:cubicBezTo>
                    <a:pt x="2377" y="2406"/>
                    <a:pt x="2392" y="2395"/>
                    <a:pt x="2407" y="2387"/>
                  </a:cubicBezTo>
                  <a:cubicBezTo>
                    <a:pt x="2423" y="2380"/>
                    <a:pt x="2437" y="2376"/>
                    <a:pt x="2451" y="2376"/>
                  </a:cubicBezTo>
                  <a:cubicBezTo>
                    <a:pt x="2465" y="2375"/>
                    <a:pt x="2478" y="2377"/>
                    <a:pt x="2490" y="2383"/>
                  </a:cubicBezTo>
                  <a:cubicBezTo>
                    <a:pt x="2503" y="2389"/>
                    <a:pt x="2514" y="2397"/>
                    <a:pt x="2525" y="2407"/>
                  </a:cubicBezTo>
                  <a:cubicBezTo>
                    <a:pt x="2530" y="2412"/>
                    <a:pt x="2534" y="2418"/>
                    <a:pt x="2538" y="2423"/>
                  </a:cubicBezTo>
                  <a:cubicBezTo>
                    <a:pt x="2542" y="2429"/>
                    <a:pt x="2545" y="2435"/>
                    <a:pt x="2548" y="2440"/>
                  </a:cubicBezTo>
                  <a:cubicBezTo>
                    <a:pt x="2550" y="2446"/>
                    <a:pt x="2552" y="2451"/>
                    <a:pt x="2553" y="2456"/>
                  </a:cubicBezTo>
                  <a:cubicBezTo>
                    <a:pt x="2554" y="2461"/>
                    <a:pt x="2555" y="2465"/>
                    <a:pt x="2555" y="2468"/>
                  </a:cubicBezTo>
                  <a:cubicBezTo>
                    <a:pt x="2555" y="2471"/>
                    <a:pt x="2555" y="2473"/>
                    <a:pt x="2554" y="2474"/>
                  </a:cubicBezTo>
                  <a:cubicBezTo>
                    <a:pt x="2554" y="2476"/>
                    <a:pt x="2553" y="2477"/>
                    <a:pt x="2553" y="2479"/>
                  </a:cubicBezTo>
                  <a:cubicBezTo>
                    <a:pt x="2552" y="2480"/>
                    <a:pt x="2551" y="2482"/>
                    <a:pt x="2550" y="2483"/>
                  </a:cubicBezTo>
                  <a:cubicBezTo>
                    <a:pt x="2548" y="2485"/>
                    <a:pt x="2547" y="2486"/>
                    <a:pt x="2544" y="2489"/>
                  </a:cubicBezTo>
                  <a:cubicBezTo>
                    <a:pt x="2540" y="2493"/>
                    <a:pt x="2536" y="2496"/>
                    <a:pt x="2533" y="2497"/>
                  </a:cubicBezTo>
                  <a:cubicBezTo>
                    <a:pt x="2530" y="2497"/>
                    <a:pt x="2528" y="2497"/>
                    <a:pt x="2527" y="2495"/>
                  </a:cubicBezTo>
                  <a:cubicBezTo>
                    <a:pt x="2525" y="2494"/>
                    <a:pt x="2524" y="2491"/>
                    <a:pt x="2523" y="2486"/>
                  </a:cubicBezTo>
                  <a:cubicBezTo>
                    <a:pt x="2523" y="2482"/>
                    <a:pt x="2522" y="2477"/>
                    <a:pt x="2521" y="2471"/>
                  </a:cubicBezTo>
                  <a:cubicBezTo>
                    <a:pt x="2520" y="2465"/>
                    <a:pt x="2518" y="2459"/>
                    <a:pt x="2515" y="2452"/>
                  </a:cubicBezTo>
                  <a:cubicBezTo>
                    <a:pt x="2512" y="2445"/>
                    <a:pt x="2507" y="2438"/>
                    <a:pt x="2500" y="2431"/>
                  </a:cubicBezTo>
                  <a:cubicBezTo>
                    <a:pt x="2486" y="2417"/>
                    <a:pt x="2470" y="2412"/>
                    <a:pt x="2451" y="2415"/>
                  </a:cubicBezTo>
                  <a:cubicBezTo>
                    <a:pt x="2433" y="2418"/>
                    <a:pt x="2414" y="2430"/>
                    <a:pt x="2393" y="2451"/>
                  </a:cubicBezTo>
                  <a:cubicBezTo>
                    <a:pt x="2383" y="2461"/>
                    <a:pt x="2375" y="2471"/>
                    <a:pt x="2369" y="2481"/>
                  </a:cubicBezTo>
                  <a:cubicBezTo>
                    <a:pt x="2363" y="2490"/>
                    <a:pt x="2360" y="2500"/>
                    <a:pt x="2358" y="2509"/>
                  </a:cubicBezTo>
                  <a:cubicBezTo>
                    <a:pt x="2357" y="2518"/>
                    <a:pt x="2358" y="2526"/>
                    <a:pt x="2361" y="2534"/>
                  </a:cubicBezTo>
                  <a:cubicBezTo>
                    <a:pt x="2364" y="2542"/>
                    <a:pt x="2369" y="2550"/>
                    <a:pt x="2376" y="2557"/>
                  </a:cubicBezTo>
                  <a:cubicBezTo>
                    <a:pt x="2383" y="2564"/>
                    <a:pt x="2389" y="2568"/>
                    <a:pt x="2397" y="2571"/>
                  </a:cubicBezTo>
                  <a:cubicBezTo>
                    <a:pt x="2404" y="2574"/>
                    <a:pt x="2411" y="2576"/>
                    <a:pt x="2417" y="2577"/>
                  </a:cubicBezTo>
                  <a:cubicBezTo>
                    <a:pt x="2423" y="2579"/>
                    <a:pt x="2428" y="2579"/>
                    <a:pt x="2433" y="2580"/>
                  </a:cubicBezTo>
                  <a:cubicBezTo>
                    <a:pt x="2438" y="2580"/>
                    <a:pt x="2441" y="2581"/>
                    <a:pt x="2442" y="2583"/>
                  </a:cubicBezTo>
                  <a:cubicBezTo>
                    <a:pt x="2443" y="2584"/>
                    <a:pt x="2443" y="2585"/>
                    <a:pt x="2444" y="2586"/>
                  </a:cubicBezTo>
                  <a:cubicBezTo>
                    <a:pt x="2444" y="2587"/>
                    <a:pt x="2443" y="2588"/>
                    <a:pt x="2443" y="2589"/>
                  </a:cubicBezTo>
                  <a:cubicBezTo>
                    <a:pt x="2442" y="2591"/>
                    <a:pt x="2441" y="2593"/>
                    <a:pt x="2439" y="2595"/>
                  </a:cubicBezTo>
                  <a:cubicBezTo>
                    <a:pt x="2438" y="2597"/>
                    <a:pt x="2436" y="2599"/>
                    <a:pt x="2433" y="2601"/>
                  </a:cubicBezTo>
                  <a:close/>
                  <a:moveTo>
                    <a:pt x="2664" y="2707"/>
                  </a:moveTo>
                  <a:cubicBezTo>
                    <a:pt x="2660" y="2712"/>
                    <a:pt x="2655" y="2714"/>
                    <a:pt x="2651" y="2714"/>
                  </a:cubicBezTo>
                  <a:cubicBezTo>
                    <a:pt x="2647" y="2713"/>
                    <a:pt x="2643" y="2712"/>
                    <a:pt x="2640" y="2709"/>
                  </a:cubicBezTo>
                  <a:lnTo>
                    <a:pt x="2535" y="2604"/>
                  </a:lnTo>
                  <a:cubicBezTo>
                    <a:pt x="2526" y="2613"/>
                    <a:pt x="2519" y="2621"/>
                    <a:pt x="2514" y="2630"/>
                  </a:cubicBezTo>
                  <a:cubicBezTo>
                    <a:pt x="2509" y="2639"/>
                    <a:pt x="2506" y="2648"/>
                    <a:pt x="2505" y="2657"/>
                  </a:cubicBezTo>
                  <a:cubicBezTo>
                    <a:pt x="2504" y="2667"/>
                    <a:pt x="2505" y="2676"/>
                    <a:pt x="2509" y="2685"/>
                  </a:cubicBezTo>
                  <a:cubicBezTo>
                    <a:pt x="2513" y="2695"/>
                    <a:pt x="2520" y="2704"/>
                    <a:pt x="2530" y="2714"/>
                  </a:cubicBezTo>
                  <a:cubicBezTo>
                    <a:pt x="2537" y="2721"/>
                    <a:pt x="2544" y="2727"/>
                    <a:pt x="2552" y="2732"/>
                  </a:cubicBezTo>
                  <a:cubicBezTo>
                    <a:pt x="2559" y="2737"/>
                    <a:pt x="2565" y="2740"/>
                    <a:pt x="2571" y="2743"/>
                  </a:cubicBezTo>
                  <a:cubicBezTo>
                    <a:pt x="2577" y="2746"/>
                    <a:pt x="2582" y="2748"/>
                    <a:pt x="2586" y="2750"/>
                  </a:cubicBezTo>
                  <a:cubicBezTo>
                    <a:pt x="2590" y="2751"/>
                    <a:pt x="2593" y="2753"/>
                    <a:pt x="2594" y="2754"/>
                  </a:cubicBezTo>
                  <a:cubicBezTo>
                    <a:pt x="2595" y="2755"/>
                    <a:pt x="2595" y="2756"/>
                    <a:pt x="2596" y="2757"/>
                  </a:cubicBezTo>
                  <a:cubicBezTo>
                    <a:pt x="2596" y="2758"/>
                    <a:pt x="2596" y="2759"/>
                    <a:pt x="2595" y="2760"/>
                  </a:cubicBezTo>
                  <a:cubicBezTo>
                    <a:pt x="2595" y="2762"/>
                    <a:pt x="2594" y="2763"/>
                    <a:pt x="2593" y="2765"/>
                  </a:cubicBezTo>
                  <a:cubicBezTo>
                    <a:pt x="2591" y="2766"/>
                    <a:pt x="2590" y="2768"/>
                    <a:pt x="2588" y="2770"/>
                  </a:cubicBezTo>
                  <a:cubicBezTo>
                    <a:pt x="2586" y="2772"/>
                    <a:pt x="2585" y="2773"/>
                    <a:pt x="2583" y="2774"/>
                  </a:cubicBezTo>
                  <a:cubicBezTo>
                    <a:pt x="2582" y="2775"/>
                    <a:pt x="2581" y="2776"/>
                    <a:pt x="2580" y="2777"/>
                  </a:cubicBezTo>
                  <a:cubicBezTo>
                    <a:pt x="2579" y="2777"/>
                    <a:pt x="2578" y="2778"/>
                    <a:pt x="2577" y="2778"/>
                  </a:cubicBezTo>
                  <a:cubicBezTo>
                    <a:pt x="2576" y="2779"/>
                    <a:pt x="2574" y="2779"/>
                    <a:pt x="2573" y="2779"/>
                  </a:cubicBezTo>
                  <a:cubicBezTo>
                    <a:pt x="2572" y="2779"/>
                    <a:pt x="2569" y="2778"/>
                    <a:pt x="2564" y="2776"/>
                  </a:cubicBezTo>
                  <a:cubicBezTo>
                    <a:pt x="2560" y="2774"/>
                    <a:pt x="2554" y="2772"/>
                    <a:pt x="2547" y="2768"/>
                  </a:cubicBezTo>
                  <a:cubicBezTo>
                    <a:pt x="2541" y="2764"/>
                    <a:pt x="2534" y="2760"/>
                    <a:pt x="2526" y="2754"/>
                  </a:cubicBezTo>
                  <a:cubicBezTo>
                    <a:pt x="2518" y="2749"/>
                    <a:pt x="2511" y="2742"/>
                    <a:pt x="2503" y="2735"/>
                  </a:cubicBezTo>
                  <a:cubicBezTo>
                    <a:pt x="2490" y="2722"/>
                    <a:pt x="2480" y="2708"/>
                    <a:pt x="2474" y="2695"/>
                  </a:cubicBezTo>
                  <a:cubicBezTo>
                    <a:pt x="2468" y="2681"/>
                    <a:pt x="2465" y="2668"/>
                    <a:pt x="2466" y="2654"/>
                  </a:cubicBezTo>
                  <a:cubicBezTo>
                    <a:pt x="2466" y="2640"/>
                    <a:pt x="2470" y="2626"/>
                    <a:pt x="2477" y="2611"/>
                  </a:cubicBezTo>
                  <a:cubicBezTo>
                    <a:pt x="2485" y="2597"/>
                    <a:pt x="2496" y="2583"/>
                    <a:pt x="2510" y="2568"/>
                  </a:cubicBezTo>
                  <a:cubicBezTo>
                    <a:pt x="2524" y="2555"/>
                    <a:pt x="2538" y="2544"/>
                    <a:pt x="2552" y="2537"/>
                  </a:cubicBezTo>
                  <a:cubicBezTo>
                    <a:pt x="2567" y="2530"/>
                    <a:pt x="2581" y="2525"/>
                    <a:pt x="2595" y="2524"/>
                  </a:cubicBezTo>
                  <a:cubicBezTo>
                    <a:pt x="2610" y="2524"/>
                    <a:pt x="2624" y="2526"/>
                    <a:pt x="2637" y="2531"/>
                  </a:cubicBezTo>
                  <a:cubicBezTo>
                    <a:pt x="2650" y="2536"/>
                    <a:pt x="2663" y="2545"/>
                    <a:pt x="2675" y="2557"/>
                  </a:cubicBezTo>
                  <a:cubicBezTo>
                    <a:pt x="2687" y="2569"/>
                    <a:pt x="2696" y="2582"/>
                    <a:pt x="2701" y="2595"/>
                  </a:cubicBezTo>
                  <a:cubicBezTo>
                    <a:pt x="2705" y="2607"/>
                    <a:pt x="2707" y="2620"/>
                    <a:pt x="2706" y="2632"/>
                  </a:cubicBezTo>
                  <a:cubicBezTo>
                    <a:pt x="2705" y="2645"/>
                    <a:pt x="2701" y="2657"/>
                    <a:pt x="2695" y="2669"/>
                  </a:cubicBezTo>
                  <a:cubicBezTo>
                    <a:pt x="2688" y="2680"/>
                    <a:pt x="2680" y="2692"/>
                    <a:pt x="2669" y="2702"/>
                  </a:cubicBezTo>
                  <a:lnTo>
                    <a:pt x="2664" y="2707"/>
                  </a:lnTo>
                  <a:close/>
                  <a:moveTo>
                    <a:pt x="2643" y="2669"/>
                  </a:moveTo>
                  <a:cubicBezTo>
                    <a:pt x="2659" y="2654"/>
                    <a:pt x="2668" y="2639"/>
                    <a:pt x="2669" y="2623"/>
                  </a:cubicBezTo>
                  <a:cubicBezTo>
                    <a:pt x="2671" y="2607"/>
                    <a:pt x="2665" y="2592"/>
                    <a:pt x="2650" y="2578"/>
                  </a:cubicBezTo>
                  <a:cubicBezTo>
                    <a:pt x="2643" y="2571"/>
                    <a:pt x="2636" y="2566"/>
                    <a:pt x="2627" y="2563"/>
                  </a:cubicBezTo>
                  <a:cubicBezTo>
                    <a:pt x="2619" y="2560"/>
                    <a:pt x="2611" y="2559"/>
                    <a:pt x="2603" y="2560"/>
                  </a:cubicBezTo>
                  <a:cubicBezTo>
                    <a:pt x="2595" y="2561"/>
                    <a:pt x="2587" y="2563"/>
                    <a:pt x="2579" y="2567"/>
                  </a:cubicBezTo>
                  <a:cubicBezTo>
                    <a:pt x="2571" y="2571"/>
                    <a:pt x="2563" y="2576"/>
                    <a:pt x="2557" y="2582"/>
                  </a:cubicBezTo>
                  <a:lnTo>
                    <a:pt x="2643" y="266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97" name="Freeform 144"/>
            <p:cNvSpPr>
              <a:spLocks noEditPoints="1"/>
            </p:cNvSpPr>
            <p:nvPr/>
          </p:nvSpPr>
          <p:spPr bwMode="auto">
            <a:xfrm>
              <a:off x="1795" y="2378"/>
              <a:ext cx="175" cy="180"/>
            </a:xfrm>
            <a:custGeom>
              <a:avLst/>
              <a:gdLst>
                <a:gd name="T0" fmla="*/ 9 w 1663"/>
                <a:gd name="T1" fmla="*/ 213 h 1705"/>
                <a:gd name="T2" fmla="*/ 26 w 1663"/>
                <a:gd name="T3" fmla="*/ 154 h 1705"/>
                <a:gd name="T4" fmla="*/ 111 w 1663"/>
                <a:gd name="T5" fmla="*/ 256 h 1705"/>
                <a:gd name="T6" fmla="*/ 138 w 1663"/>
                <a:gd name="T7" fmla="*/ 112 h 1705"/>
                <a:gd name="T8" fmla="*/ 289 w 1663"/>
                <a:gd name="T9" fmla="*/ 35 h 1705"/>
                <a:gd name="T10" fmla="*/ 319 w 1663"/>
                <a:gd name="T11" fmla="*/ 110 h 1705"/>
                <a:gd name="T12" fmla="*/ 287 w 1663"/>
                <a:gd name="T13" fmla="*/ 100 h 1705"/>
                <a:gd name="T14" fmla="*/ 181 w 1663"/>
                <a:gd name="T15" fmla="*/ 74 h 1705"/>
                <a:gd name="T16" fmla="*/ 187 w 1663"/>
                <a:gd name="T17" fmla="*/ 268 h 1705"/>
                <a:gd name="T18" fmla="*/ 194 w 1663"/>
                <a:gd name="T19" fmla="*/ 365 h 1705"/>
                <a:gd name="T20" fmla="*/ 436 w 1663"/>
                <a:gd name="T21" fmla="*/ 315 h 1705"/>
                <a:gd name="T22" fmla="*/ 400 w 1663"/>
                <a:gd name="T23" fmla="*/ 326 h 1705"/>
                <a:gd name="T24" fmla="*/ 235 w 1663"/>
                <a:gd name="T25" fmla="*/ 366 h 1705"/>
                <a:gd name="T26" fmla="*/ 506 w 1663"/>
                <a:gd name="T27" fmla="*/ 621 h 1705"/>
                <a:gd name="T28" fmla="*/ 361 w 1663"/>
                <a:gd name="T29" fmla="*/ 560 h 1705"/>
                <a:gd name="T30" fmla="*/ 386 w 1663"/>
                <a:gd name="T31" fmla="*/ 525 h 1705"/>
                <a:gd name="T32" fmla="*/ 461 w 1663"/>
                <a:gd name="T33" fmla="*/ 603 h 1705"/>
                <a:gd name="T34" fmla="*/ 455 w 1663"/>
                <a:gd name="T35" fmla="*/ 479 h 1705"/>
                <a:gd name="T36" fmla="*/ 591 w 1663"/>
                <a:gd name="T37" fmla="*/ 460 h 1705"/>
                <a:gd name="T38" fmla="*/ 598 w 1663"/>
                <a:gd name="T39" fmla="*/ 512 h 1705"/>
                <a:gd name="T40" fmla="*/ 569 w 1663"/>
                <a:gd name="T41" fmla="*/ 485 h 1705"/>
                <a:gd name="T42" fmla="*/ 496 w 1663"/>
                <a:gd name="T43" fmla="*/ 494 h 1705"/>
                <a:gd name="T44" fmla="*/ 635 w 1663"/>
                <a:gd name="T45" fmla="*/ 837 h 1705"/>
                <a:gd name="T46" fmla="*/ 605 w 1663"/>
                <a:gd name="T47" fmla="*/ 811 h 1705"/>
                <a:gd name="T48" fmla="*/ 685 w 1663"/>
                <a:gd name="T49" fmla="*/ 618 h 1705"/>
                <a:gd name="T50" fmla="*/ 501 w 1663"/>
                <a:gd name="T51" fmla="*/ 712 h 1705"/>
                <a:gd name="T52" fmla="*/ 670 w 1663"/>
                <a:gd name="T53" fmla="*/ 542 h 1705"/>
                <a:gd name="T54" fmla="*/ 712 w 1663"/>
                <a:gd name="T55" fmla="*/ 593 h 1705"/>
                <a:gd name="T56" fmla="*/ 920 w 1663"/>
                <a:gd name="T57" fmla="*/ 959 h 1705"/>
                <a:gd name="T58" fmla="*/ 727 w 1663"/>
                <a:gd name="T59" fmla="*/ 844 h 1705"/>
                <a:gd name="T60" fmla="*/ 964 w 1663"/>
                <a:gd name="T61" fmla="*/ 876 h 1705"/>
                <a:gd name="T62" fmla="*/ 902 w 1663"/>
                <a:gd name="T63" fmla="*/ 818 h 1705"/>
                <a:gd name="T64" fmla="*/ 757 w 1663"/>
                <a:gd name="T65" fmla="*/ 915 h 1705"/>
                <a:gd name="T66" fmla="*/ 1262 w 1663"/>
                <a:gd name="T67" fmla="*/ 1150 h 1705"/>
                <a:gd name="T68" fmla="*/ 1024 w 1663"/>
                <a:gd name="T69" fmla="*/ 1235 h 1705"/>
                <a:gd name="T70" fmla="*/ 954 w 1663"/>
                <a:gd name="T71" fmla="*/ 1153 h 1705"/>
                <a:gd name="T72" fmla="*/ 913 w 1663"/>
                <a:gd name="T73" fmla="*/ 1119 h 1705"/>
                <a:gd name="T74" fmla="*/ 1037 w 1663"/>
                <a:gd name="T75" fmla="*/ 910 h 1705"/>
                <a:gd name="T76" fmla="*/ 961 w 1663"/>
                <a:gd name="T77" fmla="*/ 1110 h 1705"/>
                <a:gd name="T78" fmla="*/ 1157 w 1663"/>
                <a:gd name="T79" fmla="*/ 1029 h 1705"/>
                <a:gd name="T80" fmla="*/ 1235 w 1663"/>
                <a:gd name="T81" fmla="*/ 1119 h 1705"/>
                <a:gd name="T82" fmla="*/ 1267 w 1663"/>
                <a:gd name="T83" fmla="*/ 1144 h 1705"/>
                <a:gd name="T84" fmla="*/ 1146 w 1663"/>
                <a:gd name="T85" fmla="*/ 1357 h 1705"/>
                <a:gd name="T86" fmla="*/ 1315 w 1663"/>
                <a:gd name="T87" fmla="*/ 1188 h 1705"/>
                <a:gd name="T88" fmla="*/ 1389 w 1663"/>
                <a:gd name="T89" fmla="*/ 1164 h 1705"/>
                <a:gd name="T90" fmla="*/ 1399 w 1663"/>
                <a:gd name="T91" fmla="*/ 1147 h 1705"/>
                <a:gd name="T92" fmla="*/ 1285 w 1663"/>
                <a:gd name="T93" fmla="*/ 1423 h 1705"/>
                <a:gd name="T94" fmla="*/ 1376 w 1663"/>
                <a:gd name="T95" fmla="*/ 1523 h 1705"/>
                <a:gd name="T96" fmla="*/ 1354 w 1663"/>
                <a:gd name="T97" fmla="*/ 1545 h 1705"/>
                <a:gd name="T98" fmla="*/ 1258 w 1663"/>
                <a:gd name="T99" fmla="*/ 1377 h 1705"/>
                <a:gd name="T100" fmla="*/ 1487 w 1663"/>
                <a:gd name="T101" fmla="*/ 1398 h 1705"/>
                <a:gd name="T102" fmla="*/ 1408 w 1663"/>
                <a:gd name="T103" fmla="*/ 1329 h 1705"/>
                <a:gd name="T104" fmla="*/ 1532 w 1663"/>
                <a:gd name="T105" fmla="*/ 1703 h 1705"/>
                <a:gd name="T106" fmla="*/ 1431 w 1663"/>
                <a:gd name="T107" fmla="*/ 1636 h 1705"/>
                <a:gd name="T108" fmla="*/ 1634 w 1663"/>
                <a:gd name="T109" fmla="*/ 1501 h 1705"/>
                <a:gd name="T110" fmla="*/ 1658 w 1663"/>
                <a:gd name="T111" fmla="*/ 1577 h 1705"/>
                <a:gd name="T112" fmla="*/ 1609 w 1663"/>
                <a:gd name="T113" fmla="*/ 1525 h 1705"/>
                <a:gd name="T114" fmla="*/ 1505 w 1663"/>
                <a:gd name="T115" fmla="*/ 1665 h 1705"/>
                <a:gd name="T116" fmla="*/ 1542 w 1663"/>
                <a:gd name="T117" fmla="*/ 1695 h 1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63" h="1705">
                  <a:moveTo>
                    <a:pt x="187" y="268"/>
                  </a:moveTo>
                  <a:cubicBezTo>
                    <a:pt x="176" y="279"/>
                    <a:pt x="164" y="287"/>
                    <a:pt x="152" y="291"/>
                  </a:cubicBezTo>
                  <a:cubicBezTo>
                    <a:pt x="140" y="296"/>
                    <a:pt x="127" y="297"/>
                    <a:pt x="114" y="296"/>
                  </a:cubicBezTo>
                  <a:cubicBezTo>
                    <a:pt x="101" y="295"/>
                    <a:pt x="89" y="291"/>
                    <a:pt x="76" y="284"/>
                  </a:cubicBezTo>
                  <a:cubicBezTo>
                    <a:pt x="64" y="278"/>
                    <a:pt x="52" y="269"/>
                    <a:pt x="41" y="258"/>
                  </a:cubicBezTo>
                  <a:cubicBezTo>
                    <a:pt x="34" y="251"/>
                    <a:pt x="27" y="243"/>
                    <a:pt x="22" y="235"/>
                  </a:cubicBezTo>
                  <a:cubicBezTo>
                    <a:pt x="17" y="227"/>
                    <a:pt x="12" y="220"/>
                    <a:pt x="9" y="213"/>
                  </a:cubicBezTo>
                  <a:cubicBezTo>
                    <a:pt x="6" y="206"/>
                    <a:pt x="4" y="199"/>
                    <a:pt x="2" y="194"/>
                  </a:cubicBezTo>
                  <a:cubicBezTo>
                    <a:pt x="1" y="188"/>
                    <a:pt x="0" y="184"/>
                    <a:pt x="0" y="182"/>
                  </a:cubicBezTo>
                  <a:cubicBezTo>
                    <a:pt x="0" y="179"/>
                    <a:pt x="1" y="176"/>
                    <a:pt x="2" y="173"/>
                  </a:cubicBezTo>
                  <a:cubicBezTo>
                    <a:pt x="4" y="170"/>
                    <a:pt x="7" y="167"/>
                    <a:pt x="10" y="163"/>
                  </a:cubicBezTo>
                  <a:cubicBezTo>
                    <a:pt x="13" y="161"/>
                    <a:pt x="15" y="159"/>
                    <a:pt x="17" y="157"/>
                  </a:cubicBezTo>
                  <a:cubicBezTo>
                    <a:pt x="19" y="156"/>
                    <a:pt x="21" y="155"/>
                    <a:pt x="22" y="154"/>
                  </a:cubicBezTo>
                  <a:cubicBezTo>
                    <a:pt x="24" y="154"/>
                    <a:pt x="25" y="154"/>
                    <a:pt x="26" y="154"/>
                  </a:cubicBezTo>
                  <a:cubicBezTo>
                    <a:pt x="27" y="154"/>
                    <a:pt x="28" y="155"/>
                    <a:pt x="29" y="156"/>
                  </a:cubicBezTo>
                  <a:cubicBezTo>
                    <a:pt x="31" y="157"/>
                    <a:pt x="32" y="161"/>
                    <a:pt x="33" y="166"/>
                  </a:cubicBezTo>
                  <a:cubicBezTo>
                    <a:pt x="34" y="171"/>
                    <a:pt x="36" y="177"/>
                    <a:pt x="38" y="184"/>
                  </a:cubicBezTo>
                  <a:cubicBezTo>
                    <a:pt x="41" y="191"/>
                    <a:pt x="44" y="199"/>
                    <a:pt x="49" y="207"/>
                  </a:cubicBezTo>
                  <a:cubicBezTo>
                    <a:pt x="53" y="216"/>
                    <a:pt x="60" y="225"/>
                    <a:pt x="69" y="234"/>
                  </a:cubicBezTo>
                  <a:cubicBezTo>
                    <a:pt x="75" y="240"/>
                    <a:pt x="82" y="245"/>
                    <a:pt x="90" y="249"/>
                  </a:cubicBezTo>
                  <a:cubicBezTo>
                    <a:pt x="97" y="253"/>
                    <a:pt x="104" y="255"/>
                    <a:pt x="111" y="256"/>
                  </a:cubicBezTo>
                  <a:cubicBezTo>
                    <a:pt x="118" y="256"/>
                    <a:pt x="125" y="256"/>
                    <a:pt x="132" y="253"/>
                  </a:cubicBezTo>
                  <a:cubicBezTo>
                    <a:pt x="139" y="250"/>
                    <a:pt x="145" y="246"/>
                    <a:pt x="151" y="240"/>
                  </a:cubicBezTo>
                  <a:cubicBezTo>
                    <a:pt x="158" y="234"/>
                    <a:pt x="162" y="227"/>
                    <a:pt x="164" y="219"/>
                  </a:cubicBezTo>
                  <a:cubicBezTo>
                    <a:pt x="165" y="211"/>
                    <a:pt x="165" y="204"/>
                    <a:pt x="164" y="195"/>
                  </a:cubicBezTo>
                  <a:cubicBezTo>
                    <a:pt x="163" y="187"/>
                    <a:pt x="160" y="178"/>
                    <a:pt x="157" y="169"/>
                  </a:cubicBezTo>
                  <a:cubicBezTo>
                    <a:pt x="154" y="160"/>
                    <a:pt x="150" y="151"/>
                    <a:pt x="147" y="141"/>
                  </a:cubicBezTo>
                  <a:cubicBezTo>
                    <a:pt x="143" y="132"/>
                    <a:pt x="141" y="122"/>
                    <a:pt x="138" y="112"/>
                  </a:cubicBezTo>
                  <a:cubicBezTo>
                    <a:pt x="136" y="103"/>
                    <a:pt x="134" y="93"/>
                    <a:pt x="134" y="83"/>
                  </a:cubicBezTo>
                  <a:cubicBezTo>
                    <a:pt x="135" y="73"/>
                    <a:pt x="136" y="64"/>
                    <a:pt x="140" y="54"/>
                  </a:cubicBezTo>
                  <a:cubicBezTo>
                    <a:pt x="144" y="44"/>
                    <a:pt x="150" y="35"/>
                    <a:pt x="160" y="25"/>
                  </a:cubicBezTo>
                  <a:cubicBezTo>
                    <a:pt x="169" y="16"/>
                    <a:pt x="179" y="9"/>
                    <a:pt x="190" y="5"/>
                  </a:cubicBezTo>
                  <a:cubicBezTo>
                    <a:pt x="201" y="1"/>
                    <a:pt x="212" y="0"/>
                    <a:pt x="224" y="1"/>
                  </a:cubicBezTo>
                  <a:cubicBezTo>
                    <a:pt x="235" y="2"/>
                    <a:pt x="246" y="5"/>
                    <a:pt x="257" y="11"/>
                  </a:cubicBezTo>
                  <a:cubicBezTo>
                    <a:pt x="269" y="17"/>
                    <a:pt x="279" y="25"/>
                    <a:pt x="289" y="35"/>
                  </a:cubicBezTo>
                  <a:cubicBezTo>
                    <a:pt x="294" y="40"/>
                    <a:pt x="299" y="46"/>
                    <a:pt x="303" y="52"/>
                  </a:cubicBezTo>
                  <a:cubicBezTo>
                    <a:pt x="307" y="58"/>
                    <a:pt x="311" y="64"/>
                    <a:pt x="314" y="70"/>
                  </a:cubicBezTo>
                  <a:cubicBezTo>
                    <a:pt x="317" y="76"/>
                    <a:pt x="319" y="81"/>
                    <a:pt x="321" y="87"/>
                  </a:cubicBezTo>
                  <a:cubicBezTo>
                    <a:pt x="323" y="92"/>
                    <a:pt x="324" y="96"/>
                    <a:pt x="324" y="98"/>
                  </a:cubicBezTo>
                  <a:cubicBezTo>
                    <a:pt x="324" y="100"/>
                    <a:pt x="323" y="102"/>
                    <a:pt x="323" y="103"/>
                  </a:cubicBezTo>
                  <a:cubicBezTo>
                    <a:pt x="323" y="104"/>
                    <a:pt x="322" y="105"/>
                    <a:pt x="322" y="106"/>
                  </a:cubicBezTo>
                  <a:cubicBezTo>
                    <a:pt x="321" y="108"/>
                    <a:pt x="320" y="109"/>
                    <a:pt x="319" y="110"/>
                  </a:cubicBezTo>
                  <a:cubicBezTo>
                    <a:pt x="317" y="112"/>
                    <a:pt x="315" y="114"/>
                    <a:pt x="313" y="116"/>
                  </a:cubicBezTo>
                  <a:cubicBezTo>
                    <a:pt x="311" y="118"/>
                    <a:pt x="309" y="120"/>
                    <a:pt x="307" y="121"/>
                  </a:cubicBezTo>
                  <a:cubicBezTo>
                    <a:pt x="305" y="123"/>
                    <a:pt x="304" y="124"/>
                    <a:pt x="302" y="125"/>
                  </a:cubicBezTo>
                  <a:cubicBezTo>
                    <a:pt x="301" y="126"/>
                    <a:pt x="300" y="126"/>
                    <a:pt x="298" y="126"/>
                  </a:cubicBezTo>
                  <a:cubicBezTo>
                    <a:pt x="297" y="126"/>
                    <a:pt x="296" y="125"/>
                    <a:pt x="295" y="124"/>
                  </a:cubicBezTo>
                  <a:cubicBezTo>
                    <a:pt x="294" y="123"/>
                    <a:pt x="293" y="120"/>
                    <a:pt x="292" y="116"/>
                  </a:cubicBezTo>
                  <a:cubicBezTo>
                    <a:pt x="291" y="111"/>
                    <a:pt x="289" y="106"/>
                    <a:pt x="287" y="100"/>
                  </a:cubicBezTo>
                  <a:cubicBezTo>
                    <a:pt x="285" y="94"/>
                    <a:pt x="282" y="87"/>
                    <a:pt x="279" y="80"/>
                  </a:cubicBezTo>
                  <a:cubicBezTo>
                    <a:pt x="275" y="73"/>
                    <a:pt x="269" y="66"/>
                    <a:pt x="263" y="59"/>
                  </a:cubicBezTo>
                  <a:cubicBezTo>
                    <a:pt x="256" y="53"/>
                    <a:pt x="250" y="48"/>
                    <a:pt x="243" y="45"/>
                  </a:cubicBezTo>
                  <a:cubicBezTo>
                    <a:pt x="237" y="42"/>
                    <a:pt x="231" y="40"/>
                    <a:pt x="225" y="40"/>
                  </a:cubicBezTo>
                  <a:cubicBezTo>
                    <a:pt x="219" y="40"/>
                    <a:pt x="213" y="41"/>
                    <a:pt x="208" y="43"/>
                  </a:cubicBezTo>
                  <a:cubicBezTo>
                    <a:pt x="203" y="46"/>
                    <a:pt x="198" y="49"/>
                    <a:pt x="193" y="54"/>
                  </a:cubicBezTo>
                  <a:cubicBezTo>
                    <a:pt x="187" y="60"/>
                    <a:pt x="183" y="67"/>
                    <a:pt x="181" y="74"/>
                  </a:cubicBezTo>
                  <a:cubicBezTo>
                    <a:pt x="180" y="82"/>
                    <a:pt x="180" y="90"/>
                    <a:pt x="181" y="98"/>
                  </a:cubicBezTo>
                  <a:cubicBezTo>
                    <a:pt x="182" y="107"/>
                    <a:pt x="185" y="116"/>
                    <a:pt x="188" y="125"/>
                  </a:cubicBezTo>
                  <a:cubicBezTo>
                    <a:pt x="191" y="134"/>
                    <a:pt x="195" y="143"/>
                    <a:pt x="198" y="153"/>
                  </a:cubicBezTo>
                  <a:cubicBezTo>
                    <a:pt x="202" y="162"/>
                    <a:pt x="205" y="172"/>
                    <a:pt x="207" y="182"/>
                  </a:cubicBezTo>
                  <a:cubicBezTo>
                    <a:pt x="210" y="192"/>
                    <a:pt x="211" y="201"/>
                    <a:pt x="211" y="211"/>
                  </a:cubicBezTo>
                  <a:cubicBezTo>
                    <a:pt x="211" y="221"/>
                    <a:pt x="209" y="231"/>
                    <a:pt x="206" y="240"/>
                  </a:cubicBezTo>
                  <a:cubicBezTo>
                    <a:pt x="202" y="250"/>
                    <a:pt x="196" y="259"/>
                    <a:pt x="187" y="268"/>
                  </a:cubicBezTo>
                  <a:close/>
                  <a:moveTo>
                    <a:pt x="400" y="438"/>
                  </a:moveTo>
                  <a:cubicBezTo>
                    <a:pt x="387" y="451"/>
                    <a:pt x="373" y="462"/>
                    <a:pt x="359" y="469"/>
                  </a:cubicBezTo>
                  <a:cubicBezTo>
                    <a:pt x="344" y="477"/>
                    <a:pt x="330" y="481"/>
                    <a:pt x="315" y="482"/>
                  </a:cubicBezTo>
                  <a:cubicBezTo>
                    <a:pt x="301" y="483"/>
                    <a:pt x="286" y="481"/>
                    <a:pt x="271" y="475"/>
                  </a:cubicBezTo>
                  <a:cubicBezTo>
                    <a:pt x="257" y="469"/>
                    <a:pt x="243" y="460"/>
                    <a:pt x="229" y="446"/>
                  </a:cubicBezTo>
                  <a:cubicBezTo>
                    <a:pt x="216" y="433"/>
                    <a:pt x="207" y="420"/>
                    <a:pt x="201" y="406"/>
                  </a:cubicBezTo>
                  <a:cubicBezTo>
                    <a:pt x="195" y="392"/>
                    <a:pt x="193" y="379"/>
                    <a:pt x="194" y="365"/>
                  </a:cubicBezTo>
                  <a:cubicBezTo>
                    <a:pt x="194" y="351"/>
                    <a:pt x="199" y="337"/>
                    <a:pt x="206" y="323"/>
                  </a:cubicBezTo>
                  <a:cubicBezTo>
                    <a:pt x="214" y="309"/>
                    <a:pt x="224" y="296"/>
                    <a:pt x="237" y="282"/>
                  </a:cubicBezTo>
                  <a:cubicBezTo>
                    <a:pt x="250" y="269"/>
                    <a:pt x="264" y="259"/>
                    <a:pt x="278" y="252"/>
                  </a:cubicBezTo>
                  <a:cubicBezTo>
                    <a:pt x="292" y="244"/>
                    <a:pt x="307" y="240"/>
                    <a:pt x="322" y="239"/>
                  </a:cubicBezTo>
                  <a:cubicBezTo>
                    <a:pt x="336" y="238"/>
                    <a:pt x="351" y="240"/>
                    <a:pt x="365" y="246"/>
                  </a:cubicBezTo>
                  <a:cubicBezTo>
                    <a:pt x="380" y="251"/>
                    <a:pt x="394" y="261"/>
                    <a:pt x="407" y="275"/>
                  </a:cubicBezTo>
                  <a:cubicBezTo>
                    <a:pt x="421" y="288"/>
                    <a:pt x="430" y="301"/>
                    <a:pt x="436" y="315"/>
                  </a:cubicBezTo>
                  <a:cubicBezTo>
                    <a:pt x="442" y="328"/>
                    <a:pt x="444" y="342"/>
                    <a:pt x="443" y="356"/>
                  </a:cubicBezTo>
                  <a:cubicBezTo>
                    <a:pt x="442" y="370"/>
                    <a:pt x="438" y="384"/>
                    <a:pt x="431" y="398"/>
                  </a:cubicBezTo>
                  <a:cubicBezTo>
                    <a:pt x="423" y="411"/>
                    <a:pt x="413" y="425"/>
                    <a:pt x="400" y="438"/>
                  </a:cubicBezTo>
                  <a:close/>
                  <a:moveTo>
                    <a:pt x="367" y="410"/>
                  </a:moveTo>
                  <a:cubicBezTo>
                    <a:pt x="376" y="401"/>
                    <a:pt x="383" y="393"/>
                    <a:pt x="389" y="383"/>
                  </a:cubicBezTo>
                  <a:cubicBezTo>
                    <a:pt x="396" y="374"/>
                    <a:pt x="400" y="365"/>
                    <a:pt x="402" y="355"/>
                  </a:cubicBezTo>
                  <a:cubicBezTo>
                    <a:pt x="404" y="346"/>
                    <a:pt x="403" y="336"/>
                    <a:pt x="400" y="326"/>
                  </a:cubicBezTo>
                  <a:cubicBezTo>
                    <a:pt x="397" y="317"/>
                    <a:pt x="391" y="307"/>
                    <a:pt x="382" y="298"/>
                  </a:cubicBezTo>
                  <a:cubicBezTo>
                    <a:pt x="373" y="289"/>
                    <a:pt x="364" y="283"/>
                    <a:pt x="355" y="280"/>
                  </a:cubicBezTo>
                  <a:cubicBezTo>
                    <a:pt x="346" y="277"/>
                    <a:pt x="336" y="276"/>
                    <a:pt x="326" y="278"/>
                  </a:cubicBezTo>
                  <a:cubicBezTo>
                    <a:pt x="317" y="279"/>
                    <a:pt x="307" y="283"/>
                    <a:pt x="298" y="289"/>
                  </a:cubicBezTo>
                  <a:cubicBezTo>
                    <a:pt x="288" y="294"/>
                    <a:pt x="279" y="302"/>
                    <a:pt x="270" y="311"/>
                  </a:cubicBezTo>
                  <a:cubicBezTo>
                    <a:pt x="261" y="319"/>
                    <a:pt x="253" y="328"/>
                    <a:pt x="247" y="338"/>
                  </a:cubicBezTo>
                  <a:cubicBezTo>
                    <a:pt x="241" y="347"/>
                    <a:pt x="237" y="356"/>
                    <a:pt x="235" y="366"/>
                  </a:cubicBezTo>
                  <a:cubicBezTo>
                    <a:pt x="233" y="375"/>
                    <a:pt x="234" y="385"/>
                    <a:pt x="237" y="394"/>
                  </a:cubicBezTo>
                  <a:cubicBezTo>
                    <a:pt x="240" y="404"/>
                    <a:pt x="246" y="414"/>
                    <a:pt x="255" y="423"/>
                  </a:cubicBezTo>
                  <a:cubicBezTo>
                    <a:pt x="264" y="432"/>
                    <a:pt x="273" y="438"/>
                    <a:pt x="282" y="441"/>
                  </a:cubicBezTo>
                  <a:cubicBezTo>
                    <a:pt x="292" y="444"/>
                    <a:pt x="301" y="445"/>
                    <a:pt x="311" y="443"/>
                  </a:cubicBezTo>
                  <a:cubicBezTo>
                    <a:pt x="320" y="442"/>
                    <a:pt x="330" y="438"/>
                    <a:pt x="339" y="432"/>
                  </a:cubicBezTo>
                  <a:cubicBezTo>
                    <a:pt x="349" y="427"/>
                    <a:pt x="358" y="419"/>
                    <a:pt x="367" y="410"/>
                  </a:cubicBezTo>
                  <a:close/>
                  <a:moveTo>
                    <a:pt x="506" y="621"/>
                  </a:moveTo>
                  <a:cubicBezTo>
                    <a:pt x="498" y="629"/>
                    <a:pt x="489" y="634"/>
                    <a:pt x="480" y="638"/>
                  </a:cubicBezTo>
                  <a:cubicBezTo>
                    <a:pt x="470" y="641"/>
                    <a:pt x="461" y="642"/>
                    <a:pt x="451" y="641"/>
                  </a:cubicBezTo>
                  <a:cubicBezTo>
                    <a:pt x="441" y="640"/>
                    <a:pt x="431" y="637"/>
                    <a:pt x="421" y="631"/>
                  </a:cubicBezTo>
                  <a:cubicBezTo>
                    <a:pt x="411" y="626"/>
                    <a:pt x="402" y="618"/>
                    <a:pt x="392" y="609"/>
                  </a:cubicBezTo>
                  <a:cubicBezTo>
                    <a:pt x="387" y="604"/>
                    <a:pt x="382" y="598"/>
                    <a:pt x="378" y="592"/>
                  </a:cubicBezTo>
                  <a:cubicBezTo>
                    <a:pt x="373" y="586"/>
                    <a:pt x="370" y="580"/>
                    <a:pt x="367" y="575"/>
                  </a:cubicBezTo>
                  <a:cubicBezTo>
                    <a:pt x="364" y="569"/>
                    <a:pt x="362" y="564"/>
                    <a:pt x="361" y="560"/>
                  </a:cubicBezTo>
                  <a:cubicBezTo>
                    <a:pt x="360" y="556"/>
                    <a:pt x="359" y="552"/>
                    <a:pt x="359" y="550"/>
                  </a:cubicBezTo>
                  <a:cubicBezTo>
                    <a:pt x="359" y="547"/>
                    <a:pt x="359" y="545"/>
                    <a:pt x="361" y="542"/>
                  </a:cubicBezTo>
                  <a:cubicBezTo>
                    <a:pt x="362" y="539"/>
                    <a:pt x="365" y="536"/>
                    <a:pt x="369" y="533"/>
                  </a:cubicBezTo>
                  <a:cubicBezTo>
                    <a:pt x="371" y="530"/>
                    <a:pt x="373" y="529"/>
                    <a:pt x="375" y="527"/>
                  </a:cubicBezTo>
                  <a:cubicBezTo>
                    <a:pt x="376" y="526"/>
                    <a:pt x="378" y="525"/>
                    <a:pt x="379" y="524"/>
                  </a:cubicBezTo>
                  <a:cubicBezTo>
                    <a:pt x="381" y="524"/>
                    <a:pt x="382" y="524"/>
                    <a:pt x="383" y="524"/>
                  </a:cubicBezTo>
                  <a:cubicBezTo>
                    <a:pt x="384" y="524"/>
                    <a:pt x="385" y="525"/>
                    <a:pt x="386" y="525"/>
                  </a:cubicBezTo>
                  <a:cubicBezTo>
                    <a:pt x="387" y="527"/>
                    <a:pt x="388" y="530"/>
                    <a:pt x="389" y="534"/>
                  </a:cubicBezTo>
                  <a:cubicBezTo>
                    <a:pt x="390" y="538"/>
                    <a:pt x="391" y="543"/>
                    <a:pt x="393" y="548"/>
                  </a:cubicBezTo>
                  <a:cubicBezTo>
                    <a:pt x="395" y="554"/>
                    <a:pt x="398" y="560"/>
                    <a:pt x="401" y="567"/>
                  </a:cubicBezTo>
                  <a:cubicBezTo>
                    <a:pt x="405" y="573"/>
                    <a:pt x="410" y="580"/>
                    <a:pt x="416" y="586"/>
                  </a:cubicBezTo>
                  <a:cubicBezTo>
                    <a:pt x="421" y="591"/>
                    <a:pt x="426" y="595"/>
                    <a:pt x="431" y="598"/>
                  </a:cubicBezTo>
                  <a:cubicBezTo>
                    <a:pt x="436" y="601"/>
                    <a:pt x="441" y="603"/>
                    <a:pt x="446" y="604"/>
                  </a:cubicBezTo>
                  <a:cubicBezTo>
                    <a:pt x="451" y="605"/>
                    <a:pt x="456" y="605"/>
                    <a:pt x="461" y="603"/>
                  </a:cubicBezTo>
                  <a:cubicBezTo>
                    <a:pt x="466" y="601"/>
                    <a:pt x="470" y="598"/>
                    <a:pt x="475" y="594"/>
                  </a:cubicBezTo>
                  <a:cubicBezTo>
                    <a:pt x="479" y="590"/>
                    <a:pt x="482" y="585"/>
                    <a:pt x="483" y="579"/>
                  </a:cubicBezTo>
                  <a:cubicBezTo>
                    <a:pt x="483" y="574"/>
                    <a:pt x="483" y="568"/>
                    <a:pt x="482" y="562"/>
                  </a:cubicBezTo>
                  <a:cubicBezTo>
                    <a:pt x="480" y="556"/>
                    <a:pt x="478" y="550"/>
                    <a:pt x="475" y="543"/>
                  </a:cubicBezTo>
                  <a:cubicBezTo>
                    <a:pt x="472" y="537"/>
                    <a:pt x="469" y="530"/>
                    <a:pt x="466" y="523"/>
                  </a:cubicBezTo>
                  <a:cubicBezTo>
                    <a:pt x="463" y="516"/>
                    <a:pt x="461" y="509"/>
                    <a:pt x="459" y="501"/>
                  </a:cubicBezTo>
                  <a:cubicBezTo>
                    <a:pt x="456" y="494"/>
                    <a:pt x="455" y="487"/>
                    <a:pt x="455" y="479"/>
                  </a:cubicBezTo>
                  <a:cubicBezTo>
                    <a:pt x="455" y="472"/>
                    <a:pt x="456" y="464"/>
                    <a:pt x="459" y="457"/>
                  </a:cubicBezTo>
                  <a:cubicBezTo>
                    <a:pt x="462" y="450"/>
                    <a:pt x="467" y="442"/>
                    <a:pt x="474" y="435"/>
                  </a:cubicBezTo>
                  <a:cubicBezTo>
                    <a:pt x="480" y="429"/>
                    <a:pt x="487" y="424"/>
                    <a:pt x="495" y="421"/>
                  </a:cubicBezTo>
                  <a:cubicBezTo>
                    <a:pt x="503" y="418"/>
                    <a:pt x="512" y="416"/>
                    <a:pt x="521" y="417"/>
                  </a:cubicBezTo>
                  <a:cubicBezTo>
                    <a:pt x="530" y="417"/>
                    <a:pt x="540" y="420"/>
                    <a:pt x="550" y="425"/>
                  </a:cubicBezTo>
                  <a:cubicBezTo>
                    <a:pt x="559" y="429"/>
                    <a:pt x="569" y="436"/>
                    <a:pt x="579" y="446"/>
                  </a:cubicBezTo>
                  <a:cubicBezTo>
                    <a:pt x="583" y="450"/>
                    <a:pt x="587" y="455"/>
                    <a:pt x="591" y="460"/>
                  </a:cubicBezTo>
                  <a:cubicBezTo>
                    <a:pt x="594" y="465"/>
                    <a:pt x="597" y="470"/>
                    <a:pt x="599" y="474"/>
                  </a:cubicBezTo>
                  <a:cubicBezTo>
                    <a:pt x="602" y="479"/>
                    <a:pt x="604" y="483"/>
                    <a:pt x="605" y="486"/>
                  </a:cubicBezTo>
                  <a:cubicBezTo>
                    <a:pt x="606" y="490"/>
                    <a:pt x="607" y="493"/>
                    <a:pt x="607" y="495"/>
                  </a:cubicBezTo>
                  <a:cubicBezTo>
                    <a:pt x="607" y="497"/>
                    <a:pt x="607" y="499"/>
                    <a:pt x="607" y="500"/>
                  </a:cubicBezTo>
                  <a:cubicBezTo>
                    <a:pt x="607" y="501"/>
                    <a:pt x="606" y="502"/>
                    <a:pt x="605" y="503"/>
                  </a:cubicBezTo>
                  <a:cubicBezTo>
                    <a:pt x="605" y="504"/>
                    <a:pt x="604" y="506"/>
                    <a:pt x="603" y="507"/>
                  </a:cubicBezTo>
                  <a:cubicBezTo>
                    <a:pt x="602" y="508"/>
                    <a:pt x="600" y="510"/>
                    <a:pt x="598" y="512"/>
                  </a:cubicBezTo>
                  <a:cubicBezTo>
                    <a:pt x="596" y="514"/>
                    <a:pt x="594" y="516"/>
                    <a:pt x="593" y="517"/>
                  </a:cubicBezTo>
                  <a:cubicBezTo>
                    <a:pt x="591" y="518"/>
                    <a:pt x="590" y="519"/>
                    <a:pt x="588" y="520"/>
                  </a:cubicBezTo>
                  <a:cubicBezTo>
                    <a:pt x="587" y="520"/>
                    <a:pt x="586" y="520"/>
                    <a:pt x="585" y="520"/>
                  </a:cubicBezTo>
                  <a:cubicBezTo>
                    <a:pt x="584" y="520"/>
                    <a:pt x="583" y="520"/>
                    <a:pt x="582" y="519"/>
                  </a:cubicBezTo>
                  <a:cubicBezTo>
                    <a:pt x="581" y="518"/>
                    <a:pt x="580" y="516"/>
                    <a:pt x="579" y="512"/>
                  </a:cubicBezTo>
                  <a:cubicBezTo>
                    <a:pt x="579" y="509"/>
                    <a:pt x="578" y="505"/>
                    <a:pt x="576" y="500"/>
                  </a:cubicBezTo>
                  <a:cubicBezTo>
                    <a:pt x="574" y="496"/>
                    <a:pt x="572" y="491"/>
                    <a:pt x="569" y="485"/>
                  </a:cubicBezTo>
                  <a:cubicBezTo>
                    <a:pt x="566" y="480"/>
                    <a:pt x="561" y="474"/>
                    <a:pt x="556" y="468"/>
                  </a:cubicBezTo>
                  <a:cubicBezTo>
                    <a:pt x="551" y="463"/>
                    <a:pt x="546" y="460"/>
                    <a:pt x="541" y="457"/>
                  </a:cubicBezTo>
                  <a:cubicBezTo>
                    <a:pt x="536" y="454"/>
                    <a:pt x="532" y="453"/>
                    <a:pt x="527" y="452"/>
                  </a:cubicBezTo>
                  <a:cubicBezTo>
                    <a:pt x="523" y="452"/>
                    <a:pt x="518" y="453"/>
                    <a:pt x="514" y="454"/>
                  </a:cubicBezTo>
                  <a:cubicBezTo>
                    <a:pt x="510" y="456"/>
                    <a:pt x="507" y="458"/>
                    <a:pt x="503" y="462"/>
                  </a:cubicBezTo>
                  <a:cubicBezTo>
                    <a:pt x="499" y="466"/>
                    <a:pt x="496" y="471"/>
                    <a:pt x="495" y="477"/>
                  </a:cubicBezTo>
                  <a:cubicBezTo>
                    <a:pt x="494" y="482"/>
                    <a:pt x="495" y="488"/>
                    <a:pt x="496" y="494"/>
                  </a:cubicBezTo>
                  <a:cubicBezTo>
                    <a:pt x="498" y="500"/>
                    <a:pt x="500" y="507"/>
                    <a:pt x="503" y="513"/>
                  </a:cubicBezTo>
                  <a:cubicBezTo>
                    <a:pt x="506" y="520"/>
                    <a:pt x="509" y="527"/>
                    <a:pt x="512" y="534"/>
                  </a:cubicBezTo>
                  <a:cubicBezTo>
                    <a:pt x="515" y="541"/>
                    <a:pt x="517" y="548"/>
                    <a:pt x="520" y="556"/>
                  </a:cubicBezTo>
                  <a:cubicBezTo>
                    <a:pt x="522" y="563"/>
                    <a:pt x="524" y="570"/>
                    <a:pt x="524" y="578"/>
                  </a:cubicBezTo>
                  <a:cubicBezTo>
                    <a:pt x="524" y="585"/>
                    <a:pt x="523" y="592"/>
                    <a:pt x="520" y="599"/>
                  </a:cubicBezTo>
                  <a:cubicBezTo>
                    <a:pt x="517" y="607"/>
                    <a:pt x="513" y="614"/>
                    <a:pt x="506" y="621"/>
                  </a:cubicBezTo>
                  <a:close/>
                  <a:moveTo>
                    <a:pt x="635" y="837"/>
                  </a:moveTo>
                  <a:cubicBezTo>
                    <a:pt x="635" y="838"/>
                    <a:pt x="634" y="838"/>
                    <a:pt x="632" y="838"/>
                  </a:cubicBezTo>
                  <a:cubicBezTo>
                    <a:pt x="631" y="839"/>
                    <a:pt x="630" y="838"/>
                    <a:pt x="628" y="838"/>
                  </a:cubicBezTo>
                  <a:cubicBezTo>
                    <a:pt x="627" y="837"/>
                    <a:pt x="625" y="836"/>
                    <a:pt x="623" y="835"/>
                  </a:cubicBezTo>
                  <a:cubicBezTo>
                    <a:pt x="621" y="833"/>
                    <a:pt x="618" y="831"/>
                    <a:pt x="616" y="828"/>
                  </a:cubicBezTo>
                  <a:cubicBezTo>
                    <a:pt x="613" y="825"/>
                    <a:pt x="610" y="822"/>
                    <a:pt x="609" y="820"/>
                  </a:cubicBezTo>
                  <a:cubicBezTo>
                    <a:pt x="607" y="818"/>
                    <a:pt x="606" y="816"/>
                    <a:pt x="605" y="815"/>
                  </a:cubicBezTo>
                  <a:cubicBezTo>
                    <a:pt x="605" y="813"/>
                    <a:pt x="604" y="812"/>
                    <a:pt x="605" y="811"/>
                  </a:cubicBezTo>
                  <a:cubicBezTo>
                    <a:pt x="605" y="810"/>
                    <a:pt x="605" y="809"/>
                    <a:pt x="606" y="808"/>
                  </a:cubicBezTo>
                  <a:lnTo>
                    <a:pt x="699" y="714"/>
                  </a:lnTo>
                  <a:cubicBezTo>
                    <a:pt x="709" y="705"/>
                    <a:pt x="715" y="697"/>
                    <a:pt x="719" y="690"/>
                  </a:cubicBezTo>
                  <a:cubicBezTo>
                    <a:pt x="723" y="683"/>
                    <a:pt x="726" y="677"/>
                    <a:pt x="727" y="670"/>
                  </a:cubicBezTo>
                  <a:cubicBezTo>
                    <a:pt x="729" y="663"/>
                    <a:pt x="728" y="657"/>
                    <a:pt x="726" y="650"/>
                  </a:cubicBezTo>
                  <a:cubicBezTo>
                    <a:pt x="724" y="644"/>
                    <a:pt x="720" y="638"/>
                    <a:pt x="714" y="632"/>
                  </a:cubicBezTo>
                  <a:cubicBezTo>
                    <a:pt x="707" y="625"/>
                    <a:pt x="697" y="620"/>
                    <a:pt x="685" y="618"/>
                  </a:cubicBezTo>
                  <a:cubicBezTo>
                    <a:pt x="672" y="616"/>
                    <a:pt x="657" y="616"/>
                    <a:pt x="639" y="618"/>
                  </a:cubicBezTo>
                  <a:lnTo>
                    <a:pt x="528" y="729"/>
                  </a:lnTo>
                  <a:cubicBezTo>
                    <a:pt x="527" y="730"/>
                    <a:pt x="526" y="730"/>
                    <a:pt x="525" y="731"/>
                  </a:cubicBezTo>
                  <a:cubicBezTo>
                    <a:pt x="523" y="731"/>
                    <a:pt x="522" y="731"/>
                    <a:pt x="521" y="730"/>
                  </a:cubicBezTo>
                  <a:cubicBezTo>
                    <a:pt x="519" y="729"/>
                    <a:pt x="517" y="728"/>
                    <a:pt x="515" y="727"/>
                  </a:cubicBezTo>
                  <a:cubicBezTo>
                    <a:pt x="513" y="725"/>
                    <a:pt x="510" y="723"/>
                    <a:pt x="507" y="720"/>
                  </a:cubicBezTo>
                  <a:cubicBezTo>
                    <a:pt x="505" y="717"/>
                    <a:pt x="502" y="714"/>
                    <a:pt x="501" y="712"/>
                  </a:cubicBezTo>
                  <a:cubicBezTo>
                    <a:pt x="499" y="710"/>
                    <a:pt x="498" y="708"/>
                    <a:pt x="497" y="707"/>
                  </a:cubicBezTo>
                  <a:cubicBezTo>
                    <a:pt x="497" y="705"/>
                    <a:pt x="496" y="704"/>
                    <a:pt x="497" y="703"/>
                  </a:cubicBezTo>
                  <a:cubicBezTo>
                    <a:pt x="497" y="702"/>
                    <a:pt x="498" y="701"/>
                    <a:pt x="498" y="700"/>
                  </a:cubicBezTo>
                  <a:lnTo>
                    <a:pt x="658" y="541"/>
                  </a:lnTo>
                  <a:cubicBezTo>
                    <a:pt x="659" y="540"/>
                    <a:pt x="659" y="539"/>
                    <a:pt x="660" y="539"/>
                  </a:cubicBezTo>
                  <a:cubicBezTo>
                    <a:pt x="661" y="539"/>
                    <a:pt x="663" y="539"/>
                    <a:pt x="664" y="539"/>
                  </a:cubicBezTo>
                  <a:cubicBezTo>
                    <a:pt x="666" y="540"/>
                    <a:pt x="668" y="541"/>
                    <a:pt x="670" y="542"/>
                  </a:cubicBezTo>
                  <a:cubicBezTo>
                    <a:pt x="671" y="544"/>
                    <a:pt x="674" y="546"/>
                    <a:pt x="676" y="548"/>
                  </a:cubicBezTo>
                  <a:cubicBezTo>
                    <a:pt x="679" y="551"/>
                    <a:pt x="681" y="553"/>
                    <a:pt x="682" y="555"/>
                  </a:cubicBezTo>
                  <a:cubicBezTo>
                    <a:pt x="684" y="557"/>
                    <a:pt x="685" y="559"/>
                    <a:pt x="685" y="560"/>
                  </a:cubicBezTo>
                  <a:cubicBezTo>
                    <a:pt x="686" y="562"/>
                    <a:pt x="686" y="563"/>
                    <a:pt x="686" y="564"/>
                  </a:cubicBezTo>
                  <a:cubicBezTo>
                    <a:pt x="685" y="565"/>
                    <a:pt x="685" y="566"/>
                    <a:pt x="684" y="567"/>
                  </a:cubicBezTo>
                  <a:lnTo>
                    <a:pt x="663" y="588"/>
                  </a:lnTo>
                  <a:cubicBezTo>
                    <a:pt x="682" y="587"/>
                    <a:pt x="698" y="589"/>
                    <a:pt x="712" y="593"/>
                  </a:cubicBezTo>
                  <a:cubicBezTo>
                    <a:pt x="725" y="597"/>
                    <a:pt x="737" y="604"/>
                    <a:pt x="746" y="613"/>
                  </a:cubicBezTo>
                  <a:cubicBezTo>
                    <a:pt x="756" y="623"/>
                    <a:pt x="763" y="634"/>
                    <a:pt x="767" y="645"/>
                  </a:cubicBezTo>
                  <a:cubicBezTo>
                    <a:pt x="771" y="656"/>
                    <a:pt x="772" y="667"/>
                    <a:pt x="770" y="677"/>
                  </a:cubicBezTo>
                  <a:cubicBezTo>
                    <a:pt x="769" y="687"/>
                    <a:pt x="765" y="698"/>
                    <a:pt x="759" y="708"/>
                  </a:cubicBezTo>
                  <a:cubicBezTo>
                    <a:pt x="753" y="718"/>
                    <a:pt x="744" y="728"/>
                    <a:pt x="733" y="740"/>
                  </a:cubicBezTo>
                  <a:lnTo>
                    <a:pt x="635" y="837"/>
                  </a:lnTo>
                  <a:close/>
                  <a:moveTo>
                    <a:pt x="920" y="959"/>
                  </a:moveTo>
                  <a:cubicBezTo>
                    <a:pt x="907" y="972"/>
                    <a:pt x="893" y="982"/>
                    <a:pt x="879" y="989"/>
                  </a:cubicBezTo>
                  <a:cubicBezTo>
                    <a:pt x="865" y="997"/>
                    <a:pt x="850" y="1001"/>
                    <a:pt x="836" y="1002"/>
                  </a:cubicBezTo>
                  <a:cubicBezTo>
                    <a:pt x="821" y="1003"/>
                    <a:pt x="806" y="1001"/>
                    <a:pt x="792" y="995"/>
                  </a:cubicBezTo>
                  <a:cubicBezTo>
                    <a:pt x="777" y="990"/>
                    <a:pt x="763" y="980"/>
                    <a:pt x="750" y="967"/>
                  </a:cubicBezTo>
                  <a:cubicBezTo>
                    <a:pt x="737" y="953"/>
                    <a:pt x="727" y="940"/>
                    <a:pt x="721" y="927"/>
                  </a:cubicBezTo>
                  <a:cubicBezTo>
                    <a:pt x="715" y="913"/>
                    <a:pt x="713" y="899"/>
                    <a:pt x="714" y="885"/>
                  </a:cubicBezTo>
                  <a:cubicBezTo>
                    <a:pt x="715" y="871"/>
                    <a:pt x="719" y="857"/>
                    <a:pt x="727" y="844"/>
                  </a:cubicBezTo>
                  <a:cubicBezTo>
                    <a:pt x="734" y="830"/>
                    <a:pt x="744" y="816"/>
                    <a:pt x="758" y="803"/>
                  </a:cubicBezTo>
                  <a:cubicBezTo>
                    <a:pt x="771" y="790"/>
                    <a:pt x="784" y="780"/>
                    <a:pt x="799" y="772"/>
                  </a:cubicBezTo>
                  <a:cubicBezTo>
                    <a:pt x="813" y="765"/>
                    <a:pt x="827" y="760"/>
                    <a:pt x="842" y="759"/>
                  </a:cubicBezTo>
                  <a:cubicBezTo>
                    <a:pt x="857" y="758"/>
                    <a:pt x="871" y="760"/>
                    <a:pt x="886" y="766"/>
                  </a:cubicBezTo>
                  <a:cubicBezTo>
                    <a:pt x="900" y="772"/>
                    <a:pt x="914" y="782"/>
                    <a:pt x="928" y="795"/>
                  </a:cubicBezTo>
                  <a:cubicBezTo>
                    <a:pt x="941" y="808"/>
                    <a:pt x="950" y="822"/>
                    <a:pt x="956" y="835"/>
                  </a:cubicBezTo>
                  <a:cubicBezTo>
                    <a:pt x="962" y="849"/>
                    <a:pt x="965" y="862"/>
                    <a:pt x="964" y="876"/>
                  </a:cubicBezTo>
                  <a:cubicBezTo>
                    <a:pt x="963" y="890"/>
                    <a:pt x="958" y="904"/>
                    <a:pt x="951" y="918"/>
                  </a:cubicBezTo>
                  <a:cubicBezTo>
                    <a:pt x="944" y="932"/>
                    <a:pt x="933" y="945"/>
                    <a:pt x="920" y="959"/>
                  </a:cubicBezTo>
                  <a:close/>
                  <a:moveTo>
                    <a:pt x="888" y="930"/>
                  </a:moveTo>
                  <a:cubicBezTo>
                    <a:pt x="897" y="922"/>
                    <a:pt x="904" y="913"/>
                    <a:pt x="910" y="904"/>
                  </a:cubicBezTo>
                  <a:cubicBezTo>
                    <a:pt x="916" y="894"/>
                    <a:pt x="920" y="885"/>
                    <a:pt x="922" y="876"/>
                  </a:cubicBezTo>
                  <a:cubicBezTo>
                    <a:pt x="924" y="866"/>
                    <a:pt x="924" y="857"/>
                    <a:pt x="921" y="847"/>
                  </a:cubicBezTo>
                  <a:cubicBezTo>
                    <a:pt x="918" y="837"/>
                    <a:pt x="912" y="828"/>
                    <a:pt x="902" y="818"/>
                  </a:cubicBezTo>
                  <a:cubicBezTo>
                    <a:pt x="894" y="810"/>
                    <a:pt x="885" y="804"/>
                    <a:pt x="875" y="801"/>
                  </a:cubicBezTo>
                  <a:cubicBezTo>
                    <a:pt x="866" y="797"/>
                    <a:pt x="857" y="797"/>
                    <a:pt x="847" y="798"/>
                  </a:cubicBezTo>
                  <a:cubicBezTo>
                    <a:pt x="837" y="800"/>
                    <a:pt x="828" y="803"/>
                    <a:pt x="818" y="809"/>
                  </a:cubicBezTo>
                  <a:cubicBezTo>
                    <a:pt x="808" y="815"/>
                    <a:pt x="799" y="822"/>
                    <a:pt x="790" y="831"/>
                  </a:cubicBezTo>
                  <a:cubicBezTo>
                    <a:pt x="781" y="840"/>
                    <a:pt x="774" y="849"/>
                    <a:pt x="768" y="858"/>
                  </a:cubicBezTo>
                  <a:cubicBezTo>
                    <a:pt x="762" y="867"/>
                    <a:pt x="758" y="877"/>
                    <a:pt x="756" y="886"/>
                  </a:cubicBezTo>
                  <a:cubicBezTo>
                    <a:pt x="754" y="896"/>
                    <a:pt x="754" y="905"/>
                    <a:pt x="757" y="915"/>
                  </a:cubicBezTo>
                  <a:cubicBezTo>
                    <a:pt x="760" y="925"/>
                    <a:pt x="766" y="934"/>
                    <a:pt x="776" y="943"/>
                  </a:cubicBezTo>
                  <a:cubicBezTo>
                    <a:pt x="784" y="952"/>
                    <a:pt x="793" y="958"/>
                    <a:pt x="803" y="961"/>
                  </a:cubicBezTo>
                  <a:cubicBezTo>
                    <a:pt x="812" y="964"/>
                    <a:pt x="821" y="965"/>
                    <a:pt x="831" y="964"/>
                  </a:cubicBezTo>
                  <a:cubicBezTo>
                    <a:pt x="841" y="962"/>
                    <a:pt x="850" y="959"/>
                    <a:pt x="860" y="953"/>
                  </a:cubicBezTo>
                  <a:cubicBezTo>
                    <a:pt x="869" y="947"/>
                    <a:pt x="879" y="940"/>
                    <a:pt x="888" y="930"/>
                  </a:cubicBezTo>
                  <a:close/>
                  <a:moveTo>
                    <a:pt x="1265" y="1148"/>
                  </a:moveTo>
                  <a:cubicBezTo>
                    <a:pt x="1264" y="1148"/>
                    <a:pt x="1263" y="1149"/>
                    <a:pt x="1262" y="1150"/>
                  </a:cubicBezTo>
                  <a:cubicBezTo>
                    <a:pt x="1260" y="1151"/>
                    <a:pt x="1258" y="1152"/>
                    <a:pt x="1256" y="1153"/>
                  </a:cubicBezTo>
                  <a:lnTo>
                    <a:pt x="1058" y="1258"/>
                  </a:lnTo>
                  <a:cubicBezTo>
                    <a:pt x="1056" y="1259"/>
                    <a:pt x="1055" y="1259"/>
                    <a:pt x="1053" y="1259"/>
                  </a:cubicBezTo>
                  <a:cubicBezTo>
                    <a:pt x="1052" y="1259"/>
                    <a:pt x="1050" y="1259"/>
                    <a:pt x="1048" y="1258"/>
                  </a:cubicBezTo>
                  <a:cubicBezTo>
                    <a:pt x="1046" y="1257"/>
                    <a:pt x="1044" y="1256"/>
                    <a:pt x="1042" y="1253"/>
                  </a:cubicBezTo>
                  <a:cubicBezTo>
                    <a:pt x="1039" y="1251"/>
                    <a:pt x="1036" y="1248"/>
                    <a:pt x="1033" y="1245"/>
                  </a:cubicBezTo>
                  <a:cubicBezTo>
                    <a:pt x="1029" y="1241"/>
                    <a:pt x="1026" y="1238"/>
                    <a:pt x="1024" y="1235"/>
                  </a:cubicBezTo>
                  <a:cubicBezTo>
                    <a:pt x="1021" y="1233"/>
                    <a:pt x="1020" y="1230"/>
                    <a:pt x="1019" y="1228"/>
                  </a:cubicBezTo>
                  <a:cubicBezTo>
                    <a:pt x="1018" y="1226"/>
                    <a:pt x="1017" y="1225"/>
                    <a:pt x="1017" y="1223"/>
                  </a:cubicBezTo>
                  <a:cubicBezTo>
                    <a:pt x="1018" y="1222"/>
                    <a:pt x="1018" y="1220"/>
                    <a:pt x="1019" y="1218"/>
                  </a:cubicBezTo>
                  <a:lnTo>
                    <a:pt x="1101" y="1070"/>
                  </a:lnTo>
                  <a:lnTo>
                    <a:pt x="1102" y="1068"/>
                  </a:lnTo>
                  <a:lnTo>
                    <a:pt x="1100" y="1069"/>
                  </a:lnTo>
                  <a:lnTo>
                    <a:pt x="954" y="1153"/>
                  </a:lnTo>
                  <a:cubicBezTo>
                    <a:pt x="952" y="1154"/>
                    <a:pt x="951" y="1155"/>
                    <a:pt x="949" y="1155"/>
                  </a:cubicBezTo>
                  <a:cubicBezTo>
                    <a:pt x="947" y="1155"/>
                    <a:pt x="946" y="1154"/>
                    <a:pt x="944" y="1153"/>
                  </a:cubicBezTo>
                  <a:cubicBezTo>
                    <a:pt x="942" y="1152"/>
                    <a:pt x="939" y="1151"/>
                    <a:pt x="937" y="1148"/>
                  </a:cubicBezTo>
                  <a:cubicBezTo>
                    <a:pt x="934" y="1146"/>
                    <a:pt x="931" y="1143"/>
                    <a:pt x="928" y="1140"/>
                  </a:cubicBezTo>
                  <a:cubicBezTo>
                    <a:pt x="924" y="1136"/>
                    <a:pt x="921" y="1133"/>
                    <a:pt x="919" y="1131"/>
                  </a:cubicBezTo>
                  <a:cubicBezTo>
                    <a:pt x="917" y="1128"/>
                    <a:pt x="915" y="1126"/>
                    <a:pt x="914" y="1124"/>
                  </a:cubicBezTo>
                  <a:cubicBezTo>
                    <a:pt x="913" y="1122"/>
                    <a:pt x="913" y="1120"/>
                    <a:pt x="913" y="1119"/>
                  </a:cubicBezTo>
                  <a:cubicBezTo>
                    <a:pt x="913" y="1117"/>
                    <a:pt x="914" y="1116"/>
                    <a:pt x="914" y="1114"/>
                  </a:cubicBezTo>
                  <a:lnTo>
                    <a:pt x="1019" y="916"/>
                  </a:lnTo>
                  <a:cubicBezTo>
                    <a:pt x="1020" y="914"/>
                    <a:pt x="1021" y="912"/>
                    <a:pt x="1022" y="911"/>
                  </a:cubicBezTo>
                  <a:cubicBezTo>
                    <a:pt x="1023" y="909"/>
                    <a:pt x="1024" y="908"/>
                    <a:pt x="1025" y="907"/>
                  </a:cubicBezTo>
                  <a:cubicBezTo>
                    <a:pt x="1026" y="906"/>
                    <a:pt x="1027" y="906"/>
                    <a:pt x="1028" y="905"/>
                  </a:cubicBezTo>
                  <a:cubicBezTo>
                    <a:pt x="1029" y="905"/>
                    <a:pt x="1031" y="906"/>
                    <a:pt x="1032" y="906"/>
                  </a:cubicBezTo>
                  <a:cubicBezTo>
                    <a:pt x="1034" y="907"/>
                    <a:pt x="1035" y="908"/>
                    <a:pt x="1037" y="910"/>
                  </a:cubicBezTo>
                  <a:cubicBezTo>
                    <a:pt x="1039" y="912"/>
                    <a:pt x="1042" y="914"/>
                    <a:pt x="1045" y="917"/>
                  </a:cubicBezTo>
                  <a:cubicBezTo>
                    <a:pt x="1048" y="920"/>
                    <a:pt x="1050" y="923"/>
                    <a:pt x="1052" y="925"/>
                  </a:cubicBezTo>
                  <a:cubicBezTo>
                    <a:pt x="1054" y="927"/>
                    <a:pt x="1055" y="929"/>
                    <a:pt x="1056" y="930"/>
                  </a:cubicBezTo>
                  <a:cubicBezTo>
                    <a:pt x="1057" y="932"/>
                    <a:pt x="1057" y="933"/>
                    <a:pt x="1056" y="934"/>
                  </a:cubicBezTo>
                  <a:cubicBezTo>
                    <a:pt x="1056" y="936"/>
                    <a:pt x="1056" y="937"/>
                    <a:pt x="1055" y="938"/>
                  </a:cubicBezTo>
                  <a:lnTo>
                    <a:pt x="962" y="1108"/>
                  </a:lnTo>
                  <a:lnTo>
                    <a:pt x="961" y="1110"/>
                  </a:lnTo>
                  <a:lnTo>
                    <a:pt x="963" y="1109"/>
                  </a:lnTo>
                  <a:lnTo>
                    <a:pt x="1129" y="1013"/>
                  </a:lnTo>
                  <a:cubicBezTo>
                    <a:pt x="1131" y="1012"/>
                    <a:pt x="1132" y="1011"/>
                    <a:pt x="1133" y="1011"/>
                  </a:cubicBezTo>
                  <a:cubicBezTo>
                    <a:pt x="1134" y="1011"/>
                    <a:pt x="1136" y="1011"/>
                    <a:pt x="1137" y="1012"/>
                  </a:cubicBezTo>
                  <a:cubicBezTo>
                    <a:pt x="1139" y="1012"/>
                    <a:pt x="1140" y="1014"/>
                    <a:pt x="1142" y="1015"/>
                  </a:cubicBezTo>
                  <a:cubicBezTo>
                    <a:pt x="1144" y="1017"/>
                    <a:pt x="1147" y="1019"/>
                    <a:pt x="1150" y="1022"/>
                  </a:cubicBezTo>
                  <a:cubicBezTo>
                    <a:pt x="1153" y="1025"/>
                    <a:pt x="1155" y="1027"/>
                    <a:pt x="1157" y="1029"/>
                  </a:cubicBezTo>
                  <a:cubicBezTo>
                    <a:pt x="1158" y="1031"/>
                    <a:pt x="1159" y="1033"/>
                    <a:pt x="1160" y="1035"/>
                  </a:cubicBezTo>
                  <a:cubicBezTo>
                    <a:pt x="1161" y="1036"/>
                    <a:pt x="1161" y="1037"/>
                    <a:pt x="1161" y="1039"/>
                  </a:cubicBezTo>
                  <a:cubicBezTo>
                    <a:pt x="1160" y="1040"/>
                    <a:pt x="1160" y="1041"/>
                    <a:pt x="1159" y="1042"/>
                  </a:cubicBezTo>
                  <a:lnTo>
                    <a:pt x="1066" y="1212"/>
                  </a:lnTo>
                  <a:lnTo>
                    <a:pt x="1065" y="1214"/>
                  </a:lnTo>
                  <a:lnTo>
                    <a:pt x="1066" y="1212"/>
                  </a:lnTo>
                  <a:lnTo>
                    <a:pt x="1235" y="1119"/>
                  </a:lnTo>
                  <a:cubicBezTo>
                    <a:pt x="1237" y="1118"/>
                    <a:pt x="1238" y="1117"/>
                    <a:pt x="1239" y="1117"/>
                  </a:cubicBezTo>
                  <a:cubicBezTo>
                    <a:pt x="1240" y="1117"/>
                    <a:pt x="1242" y="1117"/>
                    <a:pt x="1243" y="1118"/>
                  </a:cubicBezTo>
                  <a:cubicBezTo>
                    <a:pt x="1245" y="1119"/>
                    <a:pt x="1247" y="1120"/>
                    <a:pt x="1249" y="1122"/>
                  </a:cubicBezTo>
                  <a:cubicBezTo>
                    <a:pt x="1251" y="1123"/>
                    <a:pt x="1254" y="1126"/>
                    <a:pt x="1257" y="1129"/>
                  </a:cubicBezTo>
                  <a:cubicBezTo>
                    <a:pt x="1259" y="1132"/>
                    <a:pt x="1262" y="1134"/>
                    <a:pt x="1263" y="1136"/>
                  </a:cubicBezTo>
                  <a:cubicBezTo>
                    <a:pt x="1265" y="1138"/>
                    <a:pt x="1266" y="1139"/>
                    <a:pt x="1266" y="1141"/>
                  </a:cubicBezTo>
                  <a:cubicBezTo>
                    <a:pt x="1267" y="1142"/>
                    <a:pt x="1267" y="1143"/>
                    <a:pt x="1267" y="1144"/>
                  </a:cubicBezTo>
                  <a:cubicBezTo>
                    <a:pt x="1267" y="1145"/>
                    <a:pt x="1266" y="1147"/>
                    <a:pt x="1265" y="1148"/>
                  </a:cubicBezTo>
                  <a:close/>
                  <a:moveTo>
                    <a:pt x="1173" y="1374"/>
                  </a:moveTo>
                  <a:cubicBezTo>
                    <a:pt x="1172" y="1375"/>
                    <a:pt x="1171" y="1375"/>
                    <a:pt x="1169" y="1376"/>
                  </a:cubicBezTo>
                  <a:cubicBezTo>
                    <a:pt x="1168" y="1376"/>
                    <a:pt x="1167" y="1375"/>
                    <a:pt x="1165" y="1375"/>
                  </a:cubicBezTo>
                  <a:cubicBezTo>
                    <a:pt x="1164" y="1374"/>
                    <a:pt x="1162" y="1373"/>
                    <a:pt x="1160" y="1372"/>
                  </a:cubicBezTo>
                  <a:cubicBezTo>
                    <a:pt x="1158" y="1370"/>
                    <a:pt x="1155" y="1368"/>
                    <a:pt x="1152" y="1365"/>
                  </a:cubicBezTo>
                  <a:cubicBezTo>
                    <a:pt x="1150" y="1362"/>
                    <a:pt x="1147" y="1359"/>
                    <a:pt x="1146" y="1357"/>
                  </a:cubicBezTo>
                  <a:cubicBezTo>
                    <a:pt x="1144" y="1355"/>
                    <a:pt x="1143" y="1353"/>
                    <a:pt x="1142" y="1352"/>
                  </a:cubicBezTo>
                  <a:cubicBezTo>
                    <a:pt x="1142" y="1350"/>
                    <a:pt x="1141" y="1349"/>
                    <a:pt x="1142" y="1348"/>
                  </a:cubicBezTo>
                  <a:cubicBezTo>
                    <a:pt x="1142" y="1347"/>
                    <a:pt x="1142" y="1346"/>
                    <a:pt x="1143" y="1345"/>
                  </a:cubicBezTo>
                  <a:lnTo>
                    <a:pt x="1302" y="1186"/>
                  </a:lnTo>
                  <a:cubicBezTo>
                    <a:pt x="1303" y="1185"/>
                    <a:pt x="1304" y="1184"/>
                    <a:pt x="1305" y="1184"/>
                  </a:cubicBezTo>
                  <a:cubicBezTo>
                    <a:pt x="1306" y="1184"/>
                    <a:pt x="1308" y="1184"/>
                    <a:pt x="1309" y="1184"/>
                  </a:cubicBezTo>
                  <a:cubicBezTo>
                    <a:pt x="1311" y="1185"/>
                    <a:pt x="1313" y="1186"/>
                    <a:pt x="1315" y="1188"/>
                  </a:cubicBezTo>
                  <a:cubicBezTo>
                    <a:pt x="1317" y="1190"/>
                    <a:pt x="1320" y="1192"/>
                    <a:pt x="1322" y="1195"/>
                  </a:cubicBezTo>
                  <a:cubicBezTo>
                    <a:pt x="1325" y="1198"/>
                    <a:pt x="1328" y="1200"/>
                    <a:pt x="1329" y="1202"/>
                  </a:cubicBezTo>
                  <a:cubicBezTo>
                    <a:pt x="1331" y="1204"/>
                    <a:pt x="1332" y="1206"/>
                    <a:pt x="1333" y="1208"/>
                  </a:cubicBezTo>
                  <a:cubicBezTo>
                    <a:pt x="1333" y="1209"/>
                    <a:pt x="1333" y="1211"/>
                    <a:pt x="1333" y="1212"/>
                  </a:cubicBezTo>
                  <a:cubicBezTo>
                    <a:pt x="1333" y="1213"/>
                    <a:pt x="1332" y="1214"/>
                    <a:pt x="1332" y="1215"/>
                  </a:cubicBezTo>
                  <a:lnTo>
                    <a:pt x="1173" y="1374"/>
                  </a:lnTo>
                  <a:close/>
                  <a:moveTo>
                    <a:pt x="1389" y="1164"/>
                  </a:moveTo>
                  <a:cubicBezTo>
                    <a:pt x="1382" y="1171"/>
                    <a:pt x="1376" y="1175"/>
                    <a:pt x="1371" y="1174"/>
                  </a:cubicBezTo>
                  <a:cubicBezTo>
                    <a:pt x="1366" y="1174"/>
                    <a:pt x="1360" y="1171"/>
                    <a:pt x="1353" y="1164"/>
                  </a:cubicBezTo>
                  <a:cubicBezTo>
                    <a:pt x="1346" y="1157"/>
                    <a:pt x="1343" y="1151"/>
                    <a:pt x="1342" y="1146"/>
                  </a:cubicBezTo>
                  <a:cubicBezTo>
                    <a:pt x="1342" y="1141"/>
                    <a:pt x="1346" y="1135"/>
                    <a:pt x="1352" y="1129"/>
                  </a:cubicBezTo>
                  <a:cubicBezTo>
                    <a:pt x="1359" y="1122"/>
                    <a:pt x="1365" y="1118"/>
                    <a:pt x="1370" y="1119"/>
                  </a:cubicBezTo>
                  <a:cubicBezTo>
                    <a:pt x="1375" y="1119"/>
                    <a:pt x="1381" y="1122"/>
                    <a:pt x="1388" y="1129"/>
                  </a:cubicBezTo>
                  <a:cubicBezTo>
                    <a:pt x="1395" y="1136"/>
                    <a:pt x="1399" y="1142"/>
                    <a:pt x="1399" y="1147"/>
                  </a:cubicBezTo>
                  <a:cubicBezTo>
                    <a:pt x="1399" y="1152"/>
                    <a:pt x="1395" y="1158"/>
                    <a:pt x="1389" y="1164"/>
                  </a:cubicBezTo>
                  <a:close/>
                  <a:moveTo>
                    <a:pt x="1445" y="1473"/>
                  </a:moveTo>
                  <a:cubicBezTo>
                    <a:pt x="1440" y="1478"/>
                    <a:pt x="1436" y="1480"/>
                    <a:pt x="1431" y="1480"/>
                  </a:cubicBezTo>
                  <a:cubicBezTo>
                    <a:pt x="1427" y="1479"/>
                    <a:pt x="1424" y="1478"/>
                    <a:pt x="1421" y="1475"/>
                  </a:cubicBezTo>
                  <a:lnTo>
                    <a:pt x="1316" y="1370"/>
                  </a:lnTo>
                  <a:cubicBezTo>
                    <a:pt x="1307" y="1379"/>
                    <a:pt x="1300" y="1387"/>
                    <a:pt x="1295" y="1396"/>
                  </a:cubicBezTo>
                  <a:cubicBezTo>
                    <a:pt x="1289" y="1405"/>
                    <a:pt x="1286" y="1414"/>
                    <a:pt x="1285" y="1423"/>
                  </a:cubicBezTo>
                  <a:cubicBezTo>
                    <a:pt x="1284" y="1433"/>
                    <a:pt x="1286" y="1442"/>
                    <a:pt x="1290" y="1451"/>
                  </a:cubicBezTo>
                  <a:cubicBezTo>
                    <a:pt x="1294" y="1461"/>
                    <a:pt x="1301" y="1470"/>
                    <a:pt x="1310" y="1480"/>
                  </a:cubicBezTo>
                  <a:cubicBezTo>
                    <a:pt x="1318" y="1487"/>
                    <a:pt x="1325" y="1493"/>
                    <a:pt x="1332" y="1498"/>
                  </a:cubicBezTo>
                  <a:cubicBezTo>
                    <a:pt x="1339" y="1503"/>
                    <a:pt x="1346" y="1506"/>
                    <a:pt x="1352" y="1509"/>
                  </a:cubicBezTo>
                  <a:cubicBezTo>
                    <a:pt x="1358" y="1512"/>
                    <a:pt x="1363" y="1514"/>
                    <a:pt x="1367" y="1516"/>
                  </a:cubicBezTo>
                  <a:cubicBezTo>
                    <a:pt x="1371" y="1517"/>
                    <a:pt x="1373" y="1519"/>
                    <a:pt x="1375" y="1520"/>
                  </a:cubicBezTo>
                  <a:cubicBezTo>
                    <a:pt x="1376" y="1521"/>
                    <a:pt x="1376" y="1522"/>
                    <a:pt x="1376" y="1523"/>
                  </a:cubicBezTo>
                  <a:cubicBezTo>
                    <a:pt x="1377" y="1524"/>
                    <a:pt x="1376" y="1525"/>
                    <a:pt x="1376" y="1526"/>
                  </a:cubicBezTo>
                  <a:cubicBezTo>
                    <a:pt x="1376" y="1528"/>
                    <a:pt x="1375" y="1529"/>
                    <a:pt x="1373" y="1531"/>
                  </a:cubicBezTo>
                  <a:cubicBezTo>
                    <a:pt x="1372" y="1532"/>
                    <a:pt x="1370" y="1534"/>
                    <a:pt x="1368" y="1536"/>
                  </a:cubicBezTo>
                  <a:cubicBezTo>
                    <a:pt x="1367" y="1538"/>
                    <a:pt x="1365" y="1539"/>
                    <a:pt x="1364" y="1540"/>
                  </a:cubicBezTo>
                  <a:cubicBezTo>
                    <a:pt x="1363" y="1541"/>
                    <a:pt x="1362" y="1542"/>
                    <a:pt x="1361" y="1543"/>
                  </a:cubicBezTo>
                  <a:cubicBezTo>
                    <a:pt x="1360" y="1543"/>
                    <a:pt x="1358" y="1544"/>
                    <a:pt x="1357" y="1544"/>
                  </a:cubicBezTo>
                  <a:cubicBezTo>
                    <a:pt x="1356" y="1544"/>
                    <a:pt x="1355" y="1545"/>
                    <a:pt x="1354" y="1545"/>
                  </a:cubicBezTo>
                  <a:cubicBezTo>
                    <a:pt x="1352" y="1545"/>
                    <a:pt x="1349" y="1544"/>
                    <a:pt x="1345" y="1542"/>
                  </a:cubicBezTo>
                  <a:cubicBezTo>
                    <a:pt x="1340" y="1540"/>
                    <a:pt x="1335" y="1538"/>
                    <a:pt x="1328" y="1534"/>
                  </a:cubicBezTo>
                  <a:cubicBezTo>
                    <a:pt x="1322" y="1530"/>
                    <a:pt x="1314" y="1526"/>
                    <a:pt x="1307" y="1520"/>
                  </a:cubicBezTo>
                  <a:cubicBezTo>
                    <a:pt x="1299" y="1515"/>
                    <a:pt x="1291" y="1508"/>
                    <a:pt x="1284" y="1501"/>
                  </a:cubicBezTo>
                  <a:cubicBezTo>
                    <a:pt x="1271" y="1488"/>
                    <a:pt x="1261" y="1474"/>
                    <a:pt x="1255" y="1461"/>
                  </a:cubicBezTo>
                  <a:cubicBezTo>
                    <a:pt x="1249" y="1447"/>
                    <a:pt x="1246" y="1434"/>
                    <a:pt x="1246" y="1420"/>
                  </a:cubicBezTo>
                  <a:cubicBezTo>
                    <a:pt x="1247" y="1406"/>
                    <a:pt x="1251" y="1392"/>
                    <a:pt x="1258" y="1377"/>
                  </a:cubicBezTo>
                  <a:cubicBezTo>
                    <a:pt x="1266" y="1363"/>
                    <a:pt x="1276" y="1349"/>
                    <a:pt x="1291" y="1334"/>
                  </a:cubicBezTo>
                  <a:cubicBezTo>
                    <a:pt x="1304" y="1321"/>
                    <a:pt x="1319" y="1310"/>
                    <a:pt x="1333" y="1303"/>
                  </a:cubicBezTo>
                  <a:cubicBezTo>
                    <a:pt x="1347" y="1296"/>
                    <a:pt x="1362" y="1291"/>
                    <a:pt x="1376" y="1290"/>
                  </a:cubicBezTo>
                  <a:cubicBezTo>
                    <a:pt x="1390" y="1289"/>
                    <a:pt x="1404" y="1292"/>
                    <a:pt x="1418" y="1297"/>
                  </a:cubicBezTo>
                  <a:cubicBezTo>
                    <a:pt x="1431" y="1302"/>
                    <a:pt x="1444" y="1311"/>
                    <a:pt x="1455" y="1323"/>
                  </a:cubicBezTo>
                  <a:cubicBezTo>
                    <a:pt x="1468" y="1335"/>
                    <a:pt x="1476" y="1348"/>
                    <a:pt x="1481" y="1361"/>
                  </a:cubicBezTo>
                  <a:cubicBezTo>
                    <a:pt x="1486" y="1373"/>
                    <a:pt x="1488" y="1386"/>
                    <a:pt x="1487" y="1398"/>
                  </a:cubicBezTo>
                  <a:cubicBezTo>
                    <a:pt x="1486" y="1411"/>
                    <a:pt x="1482" y="1423"/>
                    <a:pt x="1475" y="1435"/>
                  </a:cubicBezTo>
                  <a:cubicBezTo>
                    <a:pt x="1469" y="1446"/>
                    <a:pt x="1460" y="1458"/>
                    <a:pt x="1450" y="1468"/>
                  </a:cubicBezTo>
                  <a:lnTo>
                    <a:pt x="1445" y="1473"/>
                  </a:lnTo>
                  <a:close/>
                  <a:moveTo>
                    <a:pt x="1424" y="1435"/>
                  </a:moveTo>
                  <a:cubicBezTo>
                    <a:pt x="1440" y="1420"/>
                    <a:pt x="1448" y="1405"/>
                    <a:pt x="1450" y="1389"/>
                  </a:cubicBezTo>
                  <a:cubicBezTo>
                    <a:pt x="1451" y="1373"/>
                    <a:pt x="1445" y="1358"/>
                    <a:pt x="1431" y="1344"/>
                  </a:cubicBezTo>
                  <a:cubicBezTo>
                    <a:pt x="1424" y="1337"/>
                    <a:pt x="1416" y="1332"/>
                    <a:pt x="1408" y="1329"/>
                  </a:cubicBezTo>
                  <a:cubicBezTo>
                    <a:pt x="1400" y="1326"/>
                    <a:pt x="1392" y="1325"/>
                    <a:pt x="1383" y="1326"/>
                  </a:cubicBezTo>
                  <a:cubicBezTo>
                    <a:pt x="1375" y="1327"/>
                    <a:pt x="1367" y="1329"/>
                    <a:pt x="1359" y="1333"/>
                  </a:cubicBezTo>
                  <a:cubicBezTo>
                    <a:pt x="1351" y="1337"/>
                    <a:pt x="1344" y="1342"/>
                    <a:pt x="1337" y="1348"/>
                  </a:cubicBezTo>
                  <a:lnTo>
                    <a:pt x="1424" y="1435"/>
                  </a:lnTo>
                  <a:close/>
                  <a:moveTo>
                    <a:pt x="1542" y="1695"/>
                  </a:moveTo>
                  <a:cubicBezTo>
                    <a:pt x="1540" y="1697"/>
                    <a:pt x="1538" y="1699"/>
                    <a:pt x="1537" y="1700"/>
                  </a:cubicBezTo>
                  <a:cubicBezTo>
                    <a:pt x="1535" y="1701"/>
                    <a:pt x="1534" y="1702"/>
                    <a:pt x="1532" y="1703"/>
                  </a:cubicBezTo>
                  <a:cubicBezTo>
                    <a:pt x="1531" y="1704"/>
                    <a:pt x="1530" y="1704"/>
                    <a:pt x="1529" y="1705"/>
                  </a:cubicBezTo>
                  <a:cubicBezTo>
                    <a:pt x="1528" y="1705"/>
                    <a:pt x="1525" y="1705"/>
                    <a:pt x="1523" y="1705"/>
                  </a:cubicBezTo>
                  <a:cubicBezTo>
                    <a:pt x="1520" y="1705"/>
                    <a:pt x="1515" y="1705"/>
                    <a:pt x="1510" y="1703"/>
                  </a:cubicBezTo>
                  <a:cubicBezTo>
                    <a:pt x="1504" y="1702"/>
                    <a:pt x="1498" y="1700"/>
                    <a:pt x="1492" y="1697"/>
                  </a:cubicBezTo>
                  <a:cubicBezTo>
                    <a:pt x="1486" y="1694"/>
                    <a:pt x="1479" y="1691"/>
                    <a:pt x="1473" y="1687"/>
                  </a:cubicBezTo>
                  <a:cubicBezTo>
                    <a:pt x="1467" y="1683"/>
                    <a:pt x="1461" y="1678"/>
                    <a:pt x="1456" y="1672"/>
                  </a:cubicBezTo>
                  <a:cubicBezTo>
                    <a:pt x="1444" y="1661"/>
                    <a:pt x="1436" y="1649"/>
                    <a:pt x="1431" y="1636"/>
                  </a:cubicBezTo>
                  <a:cubicBezTo>
                    <a:pt x="1426" y="1624"/>
                    <a:pt x="1424" y="1611"/>
                    <a:pt x="1425" y="1598"/>
                  </a:cubicBezTo>
                  <a:cubicBezTo>
                    <a:pt x="1426" y="1584"/>
                    <a:pt x="1431" y="1571"/>
                    <a:pt x="1438" y="1557"/>
                  </a:cubicBezTo>
                  <a:cubicBezTo>
                    <a:pt x="1446" y="1544"/>
                    <a:pt x="1456" y="1530"/>
                    <a:pt x="1470" y="1516"/>
                  </a:cubicBezTo>
                  <a:cubicBezTo>
                    <a:pt x="1486" y="1500"/>
                    <a:pt x="1501" y="1489"/>
                    <a:pt x="1516" y="1482"/>
                  </a:cubicBezTo>
                  <a:cubicBezTo>
                    <a:pt x="1531" y="1474"/>
                    <a:pt x="1546" y="1470"/>
                    <a:pt x="1560" y="1470"/>
                  </a:cubicBezTo>
                  <a:cubicBezTo>
                    <a:pt x="1573" y="1469"/>
                    <a:pt x="1587" y="1472"/>
                    <a:pt x="1599" y="1477"/>
                  </a:cubicBezTo>
                  <a:cubicBezTo>
                    <a:pt x="1612" y="1483"/>
                    <a:pt x="1623" y="1491"/>
                    <a:pt x="1634" y="1501"/>
                  </a:cubicBezTo>
                  <a:cubicBezTo>
                    <a:pt x="1639" y="1506"/>
                    <a:pt x="1643" y="1512"/>
                    <a:pt x="1647" y="1517"/>
                  </a:cubicBezTo>
                  <a:cubicBezTo>
                    <a:pt x="1651" y="1523"/>
                    <a:pt x="1654" y="1529"/>
                    <a:pt x="1656" y="1534"/>
                  </a:cubicBezTo>
                  <a:cubicBezTo>
                    <a:pt x="1659" y="1540"/>
                    <a:pt x="1661" y="1545"/>
                    <a:pt x="1662" y="1550"/>
                  </a:cubicBezTo>
                  <a:cubicBezTo>
                    <a:pt x="1663" y="1555"/>
                    <a:pt x="1663" y="1559"/>
                    <a:pt x="1663" y="1562"/>
                  </a:cubicBezTo>
                  <a:cubicBezTo>
                    <a:pt x="1663" y="1565"/>
                    <a:pt x="1663" y="1567"/>
                    <a:pt x="1663" y="1568"/>
                  </a:cubicBezTo>
                  <a:cubicBezTo>
                    <a:pt x="1663" y="1570"/>
                    <a:pt x="1662" y="1571"/>
                    <a:pt x="1661" y="1573"/>
                  </a:cubicBezTo>
                  <a:cubicBezTo>
                    <a:pt x="1661" y="1574"/>
                    <a:pt x="1660" y="1576"/>
                    <a:pt x="1658" y="1577"/>
                  </a:cubicBezTo>
                  <a:cubicBezTo>
                    <a:pt x="1657" y="1579"/>
                    <a:pt x="1655" y="1581"/>
                    <a:pt x="1653" y="1583"/>
                  </a:cubicBezTo>
                  <a:cubicBezTo>
                    <a:pt x="1649" y="1587"/>
                    <a:pt x="1645" y="1590"/>
                    <a:pt x="1642" y="1591"/>
                  </a:cubicBezTo>
                  <a:cubicBezTo>
                    <a:pt x="1639" y="1591"/>
                    <a:pt x="1637" y="1591"/>
                    <a:pt x="1635" y="1590"/>
                  </a:cubicBezTo>
                  <a:cubicBezTo>
                    <a:pt x="1634" y="1588"/>
                    <a:pt x="1632" y="1585"/>
                    <a:pt x="1632" y="1581"/>
                  </a:cubicBezTo>
                  <a:cubicBezTo>
                    <a:pt x="1632" y="1576"/>
                    <a:pt x="1631" y="1571"/>
                    <a:pt x="1630" y="1565"/>
                  </a:cubicBezTo>
                  <a:cubicBezTo>
                    <a:pt x="1629" y="1559"/>
                    <a:pt x="1627" y="1553"/>
                    <a:pt x="1623" y="1546"/>
                  </a:cubicBezTo>
                  <a:cubicBezTo>
                    <a:pt x="1620" y="1539"/>
                    <a:pt x="1615" y="1532"/>
                    <a:pt x="1609" y="1525"/>
                  </a:cubicBezTo>
                  <a:cubicBezTo>
                    <a:pt x="1595" y="1511"/>
                    <a:pt x="1578" y="1506"/>
                    <a:pt x="1560" y="1509"/>
                  </a:cubicBezTo>
                  <a:cubicBezTo>
                    <a:pt x="1542" y="1513"/>
                    <a:pt x="1523" y="1524"/>
                    <a:pt x="1502" y="1545"/>
                  </a:cubicBezTo>
                  <a:cubicBezTo>
                    <a:pt x="1492" y="1555"/>
                    <a:pt x="1484" y="1565"/>
                    <a:pt x="1478" y="1575"/>
                  </a:cubicBezTo>
                  <a:cubicBezTo>
                    <a:pt x="1472" y="1585"/>
                    <a:pt x="1469" y="1594"/>
                    <a:pt x="1467" y="1603"/>
                  </a:cubicBezTo>
                  <a:cubicBezTo>
                    <a:pt x="1466" y="1612"/>
                    <a:pt x="1467" y="1620"/>
                    <a:pt x="1470" y="1628"/>
                  </a:cubicBezTo>
                  <a:cubicBezTo>
                    <a:pt x="1472" y="1636"/>
                    <a:pt x="1477" y="1644"/>
                    <a:pt x="1485" y="1651"/>
                  </a:cubicBezTo>
                  <a:cubicBezTo>
                    <a:pt x="1491" y="1658"/>
                    <a:pt x="1498" y="1662"/>
                    <a:pt x="1505" y="1665"/>
                  </a:cubicBezTo>
                  <a:cubicBezTo>
                    <a:pt x="1513" y="1668"/>
                    <a:pt x="1519" y="1670"/>
                    <a:pt x="1526" y="1672"/>
                  </a:cubicBezTo>
                  <a:cubicBezTo>
                    <a:pt x="1532" y="1673"/>
                    <a:pt x="1537" y="1674"/>
                    <a:pt x="1542" y="1674"/>
                  </a:cubicBezTo>
                  <a:cubicBezTo>
                    <a:pt x="1546" y="1674"/>
                    <a:pt x="1549" y="1675"/>
                    <a:pt x="1551" y="1677"/>
                  </a:cubicBezTo>
                  <a:cubicBezTo>
                    <a:pt x="1552" y="1678"/>
                    <a:pt x="1552" y="1679"/>
                    <a:pt x="1552" y="1680"/>
                  </a:cubicBezTo>
                  <a:cubicBezTo>
                    <a:pt x="1552" y="1681"/>
                    <a:pt x="1552" y="1682"/>
                    <a:pt x="1551" y="1684"/>
                  </a:cubicBezTo>
                  <a:cubicBezTo>
                    <a:pt x="1551" y="1685"/>
                    <a:pt x="1550" y="1687"/>
                    <a:pt x="1548" y="1689"/>
                  </a:cubicBezTo>
                  <a:cubicBezTo>
                    <a:pt x="1546" y="1691"/>
                    <a:pt x="1545" y="1693"/>
                    <a:pt x="1542" y="1695"/>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98" name="Freeform 145"/>
            <p:cNvSpPr>
              <a:spLocks noEditPoints="1"/>
            </p:cNvSpPr>
            <p:nvPr/>
          </p:nvSpPr>
          <p:spPr bwMode="auto">
            <a:xfrm>
              <a:off x="1965" y="2551"/>
              <a:ext cx="96" cy="91"/>
            </a:xfrm>
            <a:custGeom>
              <a:avLst/>
              <a:gdLst>
                <a:gd name="T0" fmla="*/ 50 w 908"/>
                <a:gd name="T1" fmla="*/ 229 h 859"/>
                <a:gd name="T2" fmla="*/ 1 w 908"/>
                <a:gd name="T3" fmla="*/ 177 h 859"/>
                <a:gd name="T4" fmla="*/ 5 w 908"/>
                <a:gd name="T5" fmla="*/ 159 h 859"/>
                <a:gd name="T6" fmla="*/ 26 w 908"/>
                <a:gd name="T7" fmla="*/ 144 h 859"/>
                <a:gd name="T8" fmla="*/ 38 w 908"/>
                <a:gd name="T9" fmla="*/ 169 h 859"/>
                <a:gd name="T10" fmla="*/ 86 w 908"/>
                <a:gd name="T11" fmla="*/ 183 h 859"/>
                <a:gd name="T12" fmla="*/ 277 w 908"/>
                <a:gd name="T13" fmla="*/ 1 h 859"/>
                <a:gd name="T14" fmla="*/ 301 w 908"/>
                <a:gd name="T15" fmla="*/ 25 h 859"/>
                <a:gd name="T16" fmla="*/ 357 w 908"/>
                <a:gd name="T17" fmla="*/ 356 h 859"/>
                <a:gd name="T18" fmla="*/ 207 w 908"/>
                <a:gd name="T19" fmla="*/ 280 h 859"/>
                <a:gd name="T20" fmla="*/ 245 w 908"/>
                <a:gd name="T21" fmla="*/ 381 h 859"/>
                <a:gd name="T22" fmla="*/ 289 w 908"/>
                <a:gd name="T23" fmla="*/ 406 h 859"/>
                <a:gd name="T24" fmla="*/ 274 w 908"/>
                <a:gd name="T25" fmla="*/ 425 h 859"/>
                <a:gd name="T26" fmla="*/ 212 w 908"/>
                <a:gd name="T27" fmla="*/ 432 h 859"/>
                <a:gd name="T28" fmla="*/ 194 w 908"/>
                <a:gd name="T29" fmla="*/ 461 h 859"/>
                <a:gd name="T30" fmla="*/ 205 w 908"/>
                <a:gd name="T31" fmla="*/ 497 h 859"/>
                <a:gd name="T32" fmla="*/ 179 w 908"/>
                <a:gd name="T33" fmla="*/ 488 h 859"/>
                <a:gd name="T34" fmla="*/ 165 w 908"/>
                <a:gd name="T35" fmla="*/ 409 h 859"/>
                <a:gd name="T36" fmla="*/ 218 w 908"/>
                <a:gd name="T37" fmla="*/ 401 h 859"/>
                <a:gd name="T38" fmla="*/ 158 w 908"/>
                <a:gd name="T39" fmla="*/ 302 h 859"/>
                <a:gd name="T40" fmla="*/ 288 w 908"/>
                <a:gd name="T41" fmla="*/ 174 h 859"/>
                <a:gd name="T42" fmla="*/ 399 w 908"/>
                <a:gd name="T43" fmla="*/ 282 h 859"/>
                <a:gd name="T44" fmla="*/ 336 w 908"/>
                <a:gd name="T45" fmla="*/ 318 h 859"/>
                <a:gd name="T46" fmla="*/ 296 w 908"/>
                <a:gd name="T47" fmla="*/ 210 h 859"/>
                <a:gd name="T48" fmla="*/ 425 w 908"/>
                <a:gd name="T49" fmla="*/ 582 h 859"/>
                <a:gd name="T50" fmla="*/ 406 w 908"/>
                <a:gd name="T51" fmla="*/ 588 h 859"/>
                <a:gd name="T52" fmla="*/ 317 w 908"/>
                <a:gd name="T53" fmla="*/ 464 h 859"/>
                <a:gd name="T54" fmla="*/ 341 w 908"/>
                <a:gd name="T55" fmla="*/ 453 h 859"/>
                <a:gd name="T56" fmla="*/ 458 w 908"/>
                <a:gd name="T57" fmla="*/ 328 h 859"/>
                <a:gd name="T58" fmla="*/ 477 w 908"/>
                <a:gd name="T59" fmla="*/ 322 h 859"/>
                <a:gd name="T60" fmla="*/ 570 w 908"/>
                <a:gd name="T61" fmla="*/ 426 h 859"/>
                <a:gd name="T62" fmla="*/ 550 w 908"/>
                <a:gd name="T63" fmla="*/ 445 h 859"/>
                <a:gd name="T64" fmla="*/ 431 w 908"/>
                <a:gd name="T65" fmla="*/ 563 h 859"/>
                <a:gd name="T66" fmla="*/ 425 w 908"/>
                <a:gd name="T67" fmla="*/ 582 h 859"/>
                <a:gd name="T68" fmla="*/ 564 w 908"/>
                <a:gd name="T69" fmla="*/ 738 h 859"/>
                <a:gd name="T70" fmla="*/ 499 w 908"/>
                <a:gd name="T71" fmla="*/ 587 h 859"/>
                <a:gd name="T72" fmla="*/ 658 w 908"/>
                <a:gd name="T73" fmla="*/ 509 h 859"/>
                <a:gd name="T74" fmla="*/ 723 w 908"/>
                <a:gd name="T75" fmla="*/ 661 h 859"/>
                <a:gd name="T76" fmla="*/ 694 w 908"/>
                <a:gd name="T77" fmla="*/ 619 h 859"/>
                <a:gd name="T78" fmla="*/ 619 w 908"/>
                <a:gd name="T79" fmla="*/ 541 h 859"/>
                <a:gd name="T80" fmla="*/ 528 w 908"/>
                <a:gd name="T81" fmla="*/ 629 h 859"/>
                <a:gd name="T82" fmla="*/ 603 w 908"/>
                <a:gd name="T83" fmla="*/ 707 h 859"/>
                <a:gd name="T84" fmla="*/ 890 w 908"/>
                <a:gd name="T85" fmla="*/ 778 h 859"/>
                <a:gd name="T86" fmla="*/ 876 w 908"/>
                <a:gd name="T87" fmla="*/ 777 h 859"/>
                <a:gd name="T88" fmla="*/ 852 w 908"/>
                <a:gd name="T89" fmla="*/ 749 h 859"/>
                <a:gd name="T90" fmla="*/ 684 w 908"/>
                <a:gd name="T91" fmla="*/ 857 h 859"/>
                <a:gd name="T92" fmla="*/ 664 w 908"/>
                <a:gd name="T93" fmla="*/ 847 h 859"/>
                <a:gd name="T94" fmla="*/ 655 w 908"/>
                <a:gd name="T95" fmla="*/ 828 h 859"/>
                <a:gd name="T96" fmla="*/ 826 w 908"/>
                <a:gd name="T97" fmla="*/ 670 h 859"/>
                <a:gd name="T98" fmla="*/ 842 w 908"/>
                <a:gd name="T99" fmla="*/ 692 h 859"/>
                <a:gd name="T100" fmla="*/ 866 w 908"/>
                <a:gd name="T101" fmla="*/ 716 h 859"/>
                <a:gd name="T102" fmla="*/ 902 w 908"/>
                <a:gd name="T103" fmla="*/ 743 h 859"/>
                <a:gd name="T104" fmla="*/ 906 w 908"/>
                <a:gd name="T105" fmla="*/ 761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8" h="859">
                  <a:moveTo>
                    <a:pt x="133" y="199"/>
                  </a:moveTo>
                  <a:cubicBezTo>
                    <a:pt x="124" y="208"/>
                    <a:pt x="115" y="216"/>
                    <a:pt x="106" y="222"/>
                  </a:cubicBezTo>
                  <a:cubicBezTo>
                    <a:pt x="97" y="228"/>
                    <a:pt x="87" y="231"/>
                    <a:pt x="78" y="232"/>
                  </a:cubicBezTo>
                  <a:cubicBezTo>
                    <a:pt x="69" y="234"/>
                    <a:pt x="60" y="233"/>
                    <a:pt x="50" y="229"/>
                  </a:cubicBezTo>
                  <a:cubicBezTo>
                    <a:pt x="41" y="225"/>
                    <a:pt x="31" y="219"/>
                    <a:pt x="21" y="209"/>
                  </a:cubicBezTo>
                  <a:cubicBezTo>
                    <a:pt x="18" y="206"/>
                    <a:pt x="15" y="202"/>
                    <a:pt x="12" y="198"/>
                  </a:cubicBezTo>
                  <a:cubicBezTo>
                    <a:pt x="10" y="195"/>
                    <a:pt x="7" y="191"/>
                    <a:pt x="6" y="187"/>
                  </a:cubicBezTo>
                  <a:cubicBezTo>
                    <a:pt x="4" y="184"/>
                    <a:pt x="2" y="180"/>
                    <a:pt x="1" y="177"/>
                  </a:cubicBezTo>
                  <a:cubicBezTo>
                    <a:pt x="0" y="174"/>
                    <a:pt x="0" y="172"/>
                    <a:pt x="0" y="171"/>
                  </a:cubicBezTo>
                  <a:cubicBezTo>
                    <a:pt x="0" y="170"/>
                    <a:pt x="0" y="168"/>
                    <a:pt x="0" y="167"/>
                  </a:cubicBezTo>
                  <a:cubicBezTo>
                    <a:pt x="1" y="166"/>
                    <a:pt x="1" y="165"/>
                    <a:pt x="2" y="164"/>
                  </a:cubicBezTo>
                  <a:cubicBezTo>
                    <a:pt x="3" y="162"/>
                    <a:pt x="4" y="161"/>
                    <a:pt x="5" y="159"/>
                  </a:cubicBezTo>
                  <a:cubicBezTo>
                    <a:pt x="6" y="158"/>
                    <a:pt x="8" y="156"/>
                    <a:pt x="10" y="154"/>
                  </a:cubicBezTo>
                  <a:cubicBezTo>
                    <a:pt x="13" y="151"/>
                    <a:pt x="15" y="149"/>
                    <a:pt x="17" y="147"/>
                  </a:cubicBezTo>
                  <a:cubicBezTo>
                    <a:pt x="19" y="146"/>
                    <a:pt x="21" y="145"/>
                    <a:pt x="22" y="144"/>
                  </a:cubicBezTo>
                  <a:cubicBezTo>
                    <a:pt x="24" y="144"/>
                    <a:pt x="25" y="144"/>
                    <a:pt x="26" y="144"/>
                  </a:cubicBezTo>
                  <a:cubicBezTo>
                    <a:pt x="27" y="144"/>
                    <a:pt x="28" y="145"/>
                    <a:pt x="29" y="146"/>
                  </a:cubicBezTo>
                  <a:cubicBezTo>
                    <a:pt x="30" y="147"/>
                    <a:pt x="31" y="148"/>
                    <a:pt x="31" y="151"/>
                  </a:cubicBezTo>
                  <a:cubicBezTo>
                    <a:pt x="32" y="153"/>
                    <a:pt x="33" y="156"/>
                    <a:pt x="34" y="159"/>
                  </a:cubicBezTo>
                  <a:cubicBezTo>
                    <a:pt x="35" y="162"/>
                    <a:pt x="36" y="165"/>
                    <a:pt x="38" y="169"/>
                  </a:cubicBezTo>
                  <a:cubicBezTo>
                    <a:pt x="40" y="173"/>
                    <a:pt x="42" y="176"/>
                    <a:pt x="46" y="180"/>
                  </a:cubicBezTo>
                  <a:cubicBezTo>
                    <a:pt x="50" y="184"/>
                    <a:pt x="54" y="187"/>
                    <a:pt x="58" y="189"/>
                  </a:cubicBezTo>
                  <a:cubicBezTo>
                    <a:pt x="62" y="190"/>
                    <a:pt x="66" y="191"/>
                    <a:pt x="70" y="190"/>
                  </a:cubicBezTo>
                  <a:cubicBezTo>
                    <a:pt x="75" y="189"/>
                    <a:pt x="80" y="187"/>
                    <a:pt x="86" y="183"/>
                  </a:cubicBezTo>
                  <a:cubicBezTo>
                    <a:pt x="92" y="179"/>
                    <a:pt x="98" y="173"/>
                    <a:pt x="106" y="166"/>
                  </a:cubicBezTo>
                  <a:lnTo>
                    <a:pt x="270" y="2"/>
                  </a:lnTo>
                  <a:cubicBezTo>
                    <a:pt x="270" y="1"/>
                    <a:pt x="271" y="1"/>
                    <a:pt x="273" y="1"/>
                  </a:cubicBezTo>
                  <a:cubicBezTo>
                    <a:pt x="274" y="0"/>
                    <a:pt x="275" y="1"/>
                    <a:pt x="277" y="1"/>
                  </a:cubicBezTo>
                  <a:cubicBezTo>
                    <a:pt x="279" y="2"/>
                    <a:pt x="280" y="3"/>
                    <a:pt x="283" y="5"/>
                  </a:cubicBezTo>
                  <a:cubicBezTo>
                    <a:pt x="285" y="7"/>
                    <a:pt x="287" y="9"/>
                    <a:pt x="290" y="12"/>
                  </a:cubicBezTo>
                  <a:cubicBezTo>
                    <a:pt x="293" y="15"/>
                    <a:pt x="295" y="17"/>
                    <a:pt x="297" y="19"/>
                  </a:cubicBezTo>
                  <a:cubicBezTo>
                    <a:pt x="299" y="22"/>
                    <a:pt x="300" y="24"/>
                    <a:pt x="301" y="25"/>
                  </a:cubicBezTo>
                  <a:cubicBezTo>
                    <a:pt x="301" y="27"/>
                    <a:pt x="302" y="28"/>
                    <a:pt x="302" y="29"/>
                  </a:cubicBezTo>
                  <a:cubicBezTo>
                    <a:pt x="301" y="31"/>
                    <a:pt x="301" y="32"/>
                    <a:pt x="300" y="33"/>
                  </a:cubicBezTo>
                  <a:lnTo>
                    <a:pt x="133" y="199"/>
                  </a:lnTo>
                  <a:close/>
                  <a:moveTo>
                    <a:pt x="357" y="356"/>
                  </a:moveTo>
                  <a:cubicBezTo>
                    <a:pt x="352" y="361"/>
                    <a:pt x="348" y="363"/>
                    <a:pt x="344" y="363"/>
                  </a:cubicBezTo>
                  <a:cubicBezTo>
                    <a:pt x="339" y="362"/>
                    <a:pt x="336" y="361"/>
                    <a:pt x="333" y="358"/>
                  </a:cubicBezTo>
                  <a:lnTo>
                    <a:pt x="229" y="254"/>
                  </a:lnTo>
                  <a:cubicBezTo>
                    <a:pt x="220" y="262"/>
                    <a:pt x="213" y="271"/>
                    <a:pt x="207" y="280"/>
                  </a:cubicBezTo>
                  <a:cubicBezTo>
                    <a:pt x="202" y="289"/>
                    <a:pt x="199" y="298"/>
                    <a:pt x="198" y="307"/>
                  </a:cubicBezTo>
                  <a:cubicBezTo>
                    <a:pt x="197" y="316"/>
                    <a:pt x="199" y="326"/>
                    <a:pt x="202" y="335"/>
                  </a:cubicBezTo>
                  <a:cubicBezTo>
                    <a:pt x="206" y="344"/>
                    <a:pt x="213" y="354"/>
                    <a:pt x="223" y="363"/>
                  </a:cubicBezTo>
                  <a:cubicBezTo>
                    <a:pt x="230" y="371"/>
                    <a:pt x="237" y="377"/>
                    <a:pt x="245" y="381"/>
                  </a:cubicBezTo>
                  <a:cubicBezTo>
                    <a:pt x="252" y="386"/>
                    <a:pt x="258" y="390"/>
                    <a:pt x="264" y="393"/>
                  </a:cubicBezTo>
                  <a:cubicBezTo>
                    <a:pt x="270" y="395"/>
                    <a:pt x="275" y="397"/>
                    <a:pt x="279" y="399"/>
                  </a:cubicBezTo>
                  <a:cubicBezTo>
                    <a:pt x="283" y="401"/>
                    <a:pt x="286" y="402"/>
                    <a:pt x="287" y="403"/>
                  </a:cubicBezTo>
                  <a:cubicBezTo>
                    <a:pt x="288" y="404"/>
                    <a:pt x="288" y="405"/>
                    <a:pt x="289" y="406"/>
                  </a:cubicBezTo>
                  <a:cubicBezTo>
                    <a:pt x="289" y="407"/>
                    <a:pt x="289" y="408"/>
                    <a:pt x="288" y="410"/>
                  </a:cubicBezTo>
                  <a:cubicBezTo>
                    <a:pt x="288" y="411"/>
                    <a:pt x="287" y="412"/>
                    <a:pt x="286" y="414"/>
                  </a:cubicBezTo>
                  <a:cubicBezTo>
                    <a:pt x="284" y="416"/>
                    <a:pt x="283" y="417"/>
                    <a:pt x="280" y="420"/>
                  </a:cubicBezTo>
                  <a:cubicBezTo>
                    <a:pt x="278" y="422"/>
                    <a:pt x="276" y="424"/>
                    <a:pt x="274" y="425"/>
                  </a:cubicBezTo>
                  <a:cubicBezTo>
                    <a:pt x="273" y="427"/>
                    <a:pt x="271" y="428"/>
                    <a:pt x="270" y="429"/>
                  </a:cubicBezTo>
                  <a:cubicBezTo>
                    <a:pt x="268" y="430"/>
                    <a:pt x="267" y="430"/>
                    <a:pt x="265" y="431"/>
                  </a:cubicBezTo>
                  <a:cubicBezTo>
                    <a:pt x="264" y="431"/>
                    <a:pt x="262" y="431"/>
                    <a:pt x="260" y="431"/>
                  </a:cubicBezTo>
                  <a:lnTo>
                    <a:pt x="212" y="432"/>
                  </a:lnTo>
                  <a:cubicBezTo>
                    <a:pt x="206" y="432"/>
                    <a:pt x="201" y="432"/>
                    <a:pt x="198" y="434"/>
                  </a:cubicBezTo>
                  <a:cubicBezTo>
                    <a:pt x="195" y="435"/>
                    <a:pt x="192" y="436"/>
                    <a:pt x="191" y="438"/>
                  </a:cubicBezTo>
                  <a:cubicBezTo>
                    <a:pt x="187" y="441"/>
                    <a:pt x="186" y="445"/>
                    <a:pt x="186" y="448"/>
                  </a:cubicBezTo>
                  <a:cubicBezTo>
                    <a:pt x="187" y="452"/>
                    <a:pt x="189" y="456"/>
                    <a:pt x="194" y="461"/>
                  </a:cubicBezTo>
                  <a:lnTo>
                    <a:pt x="213" y="480"/>
                  </a:lnTo>
                  <a:cubicBezTo>
                    <a:pt x="215" y="482"/>
                    <a:pt x="216" y="483"/>
                    <a:pt x="215" y="485"/>
                  </a:cubicBezTo>
                  <a:cubicBezTo>
                    <a:pt x="215" y="487"/>
                    <a:pt x="213" y="489"/>
                    <a:pt x="210" y="493"/>
                  </a:cubicBezTo>
                  <a:cubicBezTo>
                    <a:pt x="208" y="495"/>
                    <a:pt x="207" y="496"/>
                    <a:pt x="205" y="497"/>
                  </a:cubicBezTo>
                  <a:cubicBezTo>
                    <a:pt x="204" y="498"/>
                    <a:pt x="202" y="499"/>
                    <a:pt x="201" y="499"/>
                  </a:cubicBezTo>
                  <a:cubicBezTo>
                    <a:pt x="200" y="500"/>
                    <a:pt x="199" y="500"/>
                    <a:pt x="198" y="499"/>
                  </a:cubicBezTo>
                  <a:cubicBezTo>
                    <a:pt x="197" y="499"/>
                    <a:pt x="195" y="498"/>
                    <a:pt x="194" y="497"/>
                  </a:cubicBezTo>
                  <a:cubicBezTo>
                    <a:pt x="189" y="495"/>
                    <a:pt x="184" y="492"/>
                    <a:pt x="179" y="488"/>
                  </a:cubicBezTo>
                  <a:cubicBezTo>
                    <a:pt x="175" y="485"/>
                    <a:pt x="170" y="481"/>
                    <a:pt x="166" y="476"/>
                  </a:cubicBezTo>
                  <a:cubicBezTo>
                    <a:pt x="155" y="465"/>
                    <a:pt x="148" y="454"/>
                    <a:pt x="147" y="444"/>
                  </a:cubicBezTo>
                  <a:cubicBezTo>
                    <a:pt x="145" y="433"/>
                    <a:pt x="149" y="423"/>
                    <a:pt x="157" y="415"/>
                  </a:cubicBezTo>
                  <a:cubicBezTo>
                    <a:pt x="160" y="412"/>
                    <a:pt x="162" y="410"/>
                    <a:pt x="165" y="409"/>
                  </a:cubicBezTo>
                  <a:cubicBezTo>
                    <a:pt x="167" y="407"/>
                    <a:pt x="170" y="406"/>
                    <a:pt x="173" y="405"/>
                  </a:cubicBezTo>
                  <a:cubicBezTo>
                    <a:pt x="177" y="403"/>
                    <a:pt x="180" y="403"/>
                    <a:pt x="184" y="402"/>
                  </a:cubicBezTo>
                  <a:cubicBezTo>
                    <a:pt x="189" y="401"/>
                    <a:pt x="193" y="401"/>
                    <a:pt x="199" y="401"/>
                  </a:cubicBezTo>
                  <a:lnTo>
                    <a:pt x="218" y="401"/>
                  </a:lnTo>
                  <a:cubicBezTo>
                    <a:pt x="214" y="399"/>
                    <a:pt x="211" y="396"/>
                    <a:pt x="207" y="393"/>
                  </a:cubicBezTo>
                  <a:cubicBezTo>
                    <a:pt x="203" y="390"/>
                    <a:pt x="199" y="386"/>
                    <a:pt x="194" y="382"/>
                  </a:cubicBezTo>
                  <a:cubicBezTo>
                    <a:pt x="182" y="369"/>
                    <a:pt x="172" y="356"/>
                    <a:pt x="166" y="343"/>
                  </a:cubicBezTo>
                  <a:cubicBezTo>
                    <a:pt x="160" y="330"/>
                    <a:pt x="158" y="316"/>
                    <a:pt x="158" y="302"/>
                  </a:cubicBezTo>
                  <a:cubicBezTo>
                    <a:pt x="159" y="289"/>
                    <a:pt x="163" y="275"/>
                    <a:pt x="170" y="260"/>
                  </a:cubicBezTo>
                  <a:cubicBezTo>
                    <a:pt x="178" y="246"/>
                    <a:pt x="189" y="232"/>
                    <a:pt x="203" y="218"/>
                  </a:cubicBezTo>
                  <a:cubicBezTo>
                    <a:pt x="217" y="204"/>
                    <a:pt x="231" y="193"/>
                    <a:pt x="245" y="186"/>
                  </a:cubicBezTo>
                  <a:cubicBezTo>
                    <a:pt x="260" y="179"/>
                    <a:pt x="274" y="175"/>
                    <a:pt x="288" y="174"/>
                  </a:cubicBezTo>
                  <a:cubicBezTo>
                    <a:pt x="302" y="173"/>
                    <a:pt x="316" y="175"/>
                    <a:pt x="330" y="180"/>
                  </a:cubicBezTo>
                  <a:cubicBezTo>
                    <a:pt x="343" y="186"/>
                    <a:pt x="356" y="194"/>
                    <a:pt x="368" y="206"/>
                  </a:cubicBezTo>
                  <a:cubicBezTo>
                    <a:pt x="380" y="218"/>
                    <a:pt x="389" y="231"/>
                    <a:pt x="393" y="244"/>
                  </a:cubicBezTo>
                  <a:cubicBezTo>
                    <a:pt x="398" y="256"/>
                    <a:pt x="400" y="269"/>
                    <a:pt x="399" y="282"/>
                  </a:cubicBezTo>
                  <a:cubicBezTo>
                    <a:pt x="398" y="294"/>
                    <a:pt x="394" y="306"/>
                    <a:pt x="388" y="318"/>
                  </a:cubicBezTo>
                  <a:cubicBezTo>
                    <a:pt x="381" y="330"/>
                    <a:pt x="373" y="341"/>
                    <a:pt x="362" y="351"/>
                  </a:cubicBezTo>
                  <a:lnTo>
                    <a:pt x="357" y="356"/>
                  </a:lnTo>
                  <a:close/>
                  <a:moveTo>
                    <a:pt x="336" y="318"/>
                  </a:moveTo>
                  <a:cubicBezTo>
                    <a:pt x="352" y="303"/>
                    <a:pt x="361" y="288"/>
                    <a:pt x="362" y="272"/>
                  </a:cubicBezTo>
                  <a:cubicBezTo>
                    <a:pt x="364" y="256"/>
                    <a:pt x="358" y="241"/>
                    <a:pt x="344" y="227"/>
                  </a:cubicBezTo>
                  <a:cubicBezTo>
                    <a:pt x="336" y="220"/>
                    <a:pt x="329" y="215"/>
                    <a:pt x="321" y="213"/>
                  </a:cubicBezTo>
                  <a:cubicBezTo>
                    <a:pt x="312" y="210"/>
                    <a:pt x="304" y="209"/>
                    <a:pt x="296" y="210"/>
                  </a:cubicBezTo>
                  <a:cubicBezTo>
                    <a:pt x="288" y="211"/>
                    <a:pt x="280" y="213"/>
                    <a:pt x="272" y="217"/>
                  </a:cubicBezTo>
                  <a:cubicBezTo>
                    <a:pt x="264" y="221"/>
                    <a:pt x="257" y="226"/>
                    <a:pt x="250" y="232"/>
                  </a:cubicBezTo>
                  <a:lnTo>
                    <a:pt x="336" y="318"/>
                  </a:lnTo>
                  <a:close/>
                  <a:moveTo>
                    <a:pt x="425" y="582"/>
                  </a:moveTo>
                  <a:cubicBezTo>
                    <a:pt x="423" y="584"/>
                    <a:pt x="421" y="586"/>
                    <a:pt x="419" y="587"/>
                  </a:cubicBezTo>
                  <a:cubicBezTo>
                    <a:pt x="417" y="588"/>
                    <a:pt x="415" y="589"/>
                    <a:pt x="414" y="589"/>
                  </a:cubicBezTo>
                  <a:cubicBezTo>
                    <a:pt x="412" y="590"/>
                    <a:pt x="411" y="590"/>
                    <a:pt x="410" y="590"/>
                  </a:cubicBezTo>
                  <a:cubicBezTo>
                    <a:pt x="408" y="589"/>
                    <a:pt x="407" y="589"/>
                    <a:pt x="406" y="588"/>
                  </a:cubicBezTo>
                  <a:lnTo>
                    <a:pt x="309" y="490"/>
                  </a:lnTo>
                  <a:cubicBezTo>
                    <a:pt x="306" y="487"/>
                    <a:pt x="305" y="484"/>
                    <a:pt x="305" y="481"/>
                  </a:cubicBezTo>
                  <a:cubicBezTo>
                    <a:pt x="305" y="478"/>
                    <a:pt x="307" y="474"/>
                    <a:pt x="311" y="470"/>
                  </a:cubicBezTo>
                  <a:lnTo>
                    <a:pt x="317" y="464"/>
                  </a:lnTo>
                  <a:cubicBezTo>
                    <a:pt x="318" y="463"/>
                    <a:pt x="320" y="461"/>
                    <a:pt x="322" y="460"/>
                  </a:cubicBezTo>
                  <a:cubicBezTo>
                    <a:pt x="323" y="459"/>
                    <a:pt x="325" y="458"/>
                    <a:pt x="327" y="458"/>
                  </a:cubicBezTo>
                  <a:cubicBezTo>
                    <a:pt x="328" y="457"/>
                    <a:pt x="330" y="456"/>
                    <a:pt x="333" y="455"/>
                  </a:cubicBezTo>
                  <a:cubicBezTo>
                    <a:pt x="335" y="455"/>
                    <a:pt x="338" y="454"/>
                    <a:pt x="341" y="453"/>
                  </a:cubicBezTo>
                  <a:lnTo>
                    <a:pt x="520" y="414"/>
                  </a:lnTo>
                  <a:lnTo>
                    <a:pt x="452" y="346"/>
                  </a:lnTo>
                  <a:cubicBezTo>
                    <a:pt x="450" y="344"/>
                    <a:pt x="450" y="342"/>
                    <a:pt x="450" y="339"/>
                  </a:cubicBezTo>
                  <a:cubicBezTo>
                    <a:pt x="451" y="336"/>
                    <a:pt x="454" y="332"/>
                    <a:pt x="458" y="328"/>
                  </a:cubicBezTo>
                  <a:cubicBezTo>
                    <a:pt x="460" y="325"/>
                    <a:pt x="462" y="324"/>
                    <a:pt x="464" y="322"/>
                  </a:cubicBezTo>
                  <a:cubicBezTo>
                    <a:pt x="466" y="321"/>
                    <a:pt x="468" y="320"/>
                    <a:pt x="469" y="320"/>
                  </a:cubicBezTo>
                  <a:cubicBezTo>
                    <a:pt x="471" y="319"/>
                    <a:pt x="472" y="319"/>
                    <a:pt x="473" y="319"/>
                  </a:cubicBezTo>
                  <a:cubicBezTo>
                    <a:pt x="474" y="320"/>
                    <a:pt x="476" y="321"/>
                    <a:pt x="477" y="322"/>
                  </a:cubicBezTo>
                  <a:lnTo>
                    <a:pt x="568" y="413"/>
                  </a:lnTo>
                  <a:cubicBezTo>
                    <a:pt x="569" y="414"/>
                    <a:pt x="570" y="415"/>
                    <a:pt x="571" y="417"/>
                  </a:cubicBezTo>
                  <a:cubicBezTo>
                    <a:pt x="571" y="418"/>
                    <a:pt x="572" y="420"/>
                    <a:pt x="572" y="421"/>
                  </a:cubicBezTo>
                  <a:cubicBezTo>
                    <a:pt x="571" y="423"/>
                    <a:pt x="571" y="424"/>
                    <a:pt x="570" y="426"/>
                  </a:cubicBezTo>
                  <a:cubicBezTo>
                    <a:pt x="569" y="428"/>
                    <a:pt x="568" y="430"/>
                    <a:pt x="566" y="432"/>
                  </a:cubicBezTo>
                  <a:lnTo>
                    <a:pt x="560" y="437"/>
                  </a:lnTo>
                  <a:cubicBezTo>
                    <a:pt x="558" y="439"/>
                    <a:pt x="557" y="440"/>
                    <a:pt x="555" y="441"/>
                  </a:cubicBezTo>
                  <a:cubicBezTo>
                    <a:pt x="553" y="443"/>
                    <a:pt x="552" y="444"/>
                    <a:pt x="550" y="445"/>
                  </a:cubicBezTo>
                  <a:cubicBezTo>
                    <a:pt x="548" y="445"/>
                    <a:pt x="546" y="446"/>
                    <a:pt x="544" y="447"/>
                  </a:cubicBezTo>
                  <a:cubicBezTo>
                    <a:pt x="541" y="448"/>
                    <a:pt x="539" y="448"/>
                    <a:pt x="536" y="449"/>
                  </a:cubicBezTo>
                  <a:lnTo>
                    <a:pt x="356" y="488"/>
                  </a:lnTo>
                  <a:lnTo>
                    <a:pt x="431" y="563"/>
                  </a:lnTo>
                  <a:cubicBezTo>
                    <a:pt x="432" y="564"/>
                    <a:pt x="433" y="565"/>
                    <a:pt x="433" y="566"/>
                  </a:cubicBezTo>
                  <a:cubicBezTo>
                    <a:pt x="433" y="567"/>
                    <a:pt x="433" y="569"/>
                    <a:pt x="433" y="570"/>
                  </a:cubicBezTo>
                  <a:cubicBezTo>
                    <a:pt x="432" y="572"/>
                    <a:pt x="432" y="573"/>
                    <a:pt x="430" y="575"/>
                  </a:cubicBezTo>
                  <a:cubicBezTo>
                    <a:pt x="429" y="577"/>
                    <a:pt x="427" y="579"/>
                    <a:pt x="425" y="582"/>
                  </a:cubicBezTo>
                  <a:close/>
                  <a:moveTo>
                    <a:pt x="692" y="702"/>
                  </a:moveTo>
                  <a:cubicBezTo>
                    <a:pt x="679" y="715"/>
                    <a:pt x="666" y="725"/>
                    <a:pt x="651" y="732"/>
                  </a:cubicBezTo>
                  <a:cubicBezTo>
                    <a:pt x="637" y="740"/>
                    <a:pt x="622" y="744"/>
                    <a:pt x="608" y="745"/>
                  </a:cubicBezTo>
                  <a:cubicBezTo>
                    <a:pt x="593" y="747"/>
                    <a:pt x="578" y="744"/>
                    <a:pt x="564" y="738"/>
                  </a:cubicBezTo>
                  <a:cubicBezTo>
                    <a:pt x="549" y="733"/>
                    <a:pt x="535" y="723"/>
                    <a:pt x="522" y="710"/>
                  </a:cubicBezTo>
                  <a:cubicBezTo>
                    <a:pt x="509" y="697"/>
                    <a:pt x="499" y="683"/>
                    <a:pt x="493" y="670"/>
                  </a:cubicBezTo>
                  <a:cubicBezTo>
                    <a:pt x="488" y="656"/>
                    <a:pt x="485" y="642"/>
                    <a:pt x="486" y="628"/>
                  </a:cubicBezTo>
                  <a:cubicBezTo>
                    <a:pt x="487" y="614"/>
                    <a:pt x="491" y="601"/>
                    <a:pt x="499" y="587"/>
                  </a:cubicBezTo>
                  <a:cubicBezTo>
                    <a:pt x="506" y="573"/>
                    <a:pt x="516" y="559"/>
                    <a:pt x="530" y="546"/>
                  </a:cubicBezTo>
                  <a:cubicBezTo>
                    <a:pt x="543" y="533"/>
                    <a:pt x="556" y="523"/>
                    <a:pt x="571" y="515"/>
                  </a:cubicBezTo>
                  <a:cubicBezTo>
                    <a:pt x="585" y="508"/>
                    <a:pt x="599" y="503"/>
                    <a:pt x="614" y="502"/>
                  </a:cubicBezTo>
                  <a:cubicBezTo>
                    <a:pt x="629" y="501"/>
                    <a:pt x="643" y="503"/>
                    <a:pt x="658" y="509"/>
                  </a:cubicBezTo>
                  <a:cubicBezTo>
                    <a:pt x="672" y="515"/>
                    <a:pt x="686" y="525"/>
                    <a:pt x="700" y="538"/>
                  </a:cubicBezTo>
                  <a:cubicBezTo>
                    <a:pt x="713" y="551"/>
                    <a:pt x="722" y="565"/>
                    <a:pt x="728" y="578"/>
                  </a:cubicBezTo>
                  <a:cubicBezTo>
                    <a:pt x="734" y="592"/>
                    <a:pt x="737" y="606"/>
                    <a:pt x="736" y="619"/>
                  </a:cubicBezTo>
                  <a:cubicBezTo>
                    <a:pt x="735" y="633"/>
                    <a:pt x="731" y="647"/>
                    <a:pt x="723" y="661"/>
                  </a:cubicBezTo>
                  <a:cubicBezTo>
                    <a:pt x="716" y="675"/>
                    <a:pt x="705" y="689"/>
                    <a:pt x="692" y="702"/>
                  </a:cubicBezTo>
                  <a:close/>
                  <a:moveTo>
                    <a:pt x="660" y="674"/>
                  </a:moveTo>
                  <a:cubicBezTo>
                    <a:pt x="669" y="665"/>
                    <a:pt x="676" y="656"/>
                    <a:pt x="682" y="647"/>
                  </a:cubicBezTo>
                  <a:cubicBezTo>
                    <a:pt x="688" y="637"/>
                    <a:pt x="692" y="628"/>
                    <a:pt x="694" y="619"/>
                  </a:cubicBezTo>
                  <a:cubicBezTo>
                    <a:pt x="696" y="609"/>
                    <a:pt x="696" y="600"/>
                    <a:pt x="693" y="590"/>
                  </a:cubicBezTo>
                  <a:cubicBezTo>
                    <a:pt x="690" y="580"/>
                    <a:pt x="684" y="571"/>
                    <a:pt x="674" y="561"/>
                  </a:cubicBezTo>
                  <a:cubicBezTo>
                    <a:pt x="666" y="553"/>
                    <a:pt x="657" y="547"/>
                    <a:pt x="647" y="544"/>
                  </a:cubicBezTo>
                  <a:cubicBezTo>
                    <a:pt x="638" y="540"/>
                    <a:pt x="629" y="540"/>
                    <a:pt x="619" y="541"/>
                  </a:cubicBezTo>
                  <a:cubicBezTo>
                    <a:pt x="609" y="543"/>
                    <a:pt x="600" y="546"/>
                    <a:pt x="590" y="552"/>
                  </a:cubicBezTo>
                  <a:cubicBezTo>
                    <a:pt x="580" y="558"/>
                    <a:pt x="571" y="565"/>
                    <a:pt x="562" y="574"/>
                  </a:cubicBezTo>
                  <a:cubicBezTo>
                    <a:pt x="553" y="583"/>
                    <a:pt x="546" y="592"/>
                    <a:pt x="540" y="601"/>
                  </a:cubicBezTo>
                  <a:cubicBezTo>
                    <a:pt x="534" y="610"/>
                    <a:pt x="530" y="620"/>
                    <a:pt x="528" y="629"/>
                  </a:cubicBezTo>
                  <a:cubicBezTo>
                    <a:pt x="526" y="639"/>
                    <a:pt x="526" y="648"/>
                    <a:pt x="529" y="658"/>
                  </a:cubicBezTo>
                  <a:cubicBezTo>
                    <a:pt x="532" y="668"/>
                    <a:pt x="538" y="677"/>
                    <a:pt x="548" y="687"/>
                  </a:cubicBezTo>
                  <a:cubicBezTo>
                    <a:pt x="556" y="695"/>
                    <a:pt x="565" y="701"/>
                    <a:pt x="575" y="704"/>
                  </a:cubicBezTo>
                  <a:cubicBezTo>
                    <a:pt x="584" y="707"/>
                    <a:pt x="594" y="708"/>
                    <a:pt x="603" y="707"/>
                  </a:cubicBezTo>
                  <a:cubicBezTo>
                    <a:pt x="613" y="705"/>
                    <a:pt x="622" y="702"/>
                    <a:pt x="632" y="696"/>
                  </a:cubicBezTo>
                  <a:cubicBezTo>
                    <a:pt x="641" y="690"/>
                    <a:pt x="651" y="683"/>
                    <a:pt x="660" y="674"/>
                  </a:cubicBezTo>
                  <a:close/>
                  <a:moveTo>
                    <a:pt x="897" y="772"/>
                  </a:moveTo>
                  <a:cubicBezTo>
                    <a:pt x="894" y="774"/>
                    <a:pt x="892" y="777"/>
                    <a:pt x="890" y="778"/>
                  </a:cubicBezTo>
                  <a:cubicBezTo>
                    <a:pt x="888" y="780"/>
                    <a:pt x="887" y="781"/>
                    <a:pt x="885" y="782"/>
                  </a:cubicBezTo>
                  <a:cubicBezTo>
                    <a:pt x="884" y="782"/>
                    <a:pt x="883" y="783"/>
                    <a:pt x="882" y="783"/>
                  </a:cubicBezTo>
                  <a:cubicBezTo>
                    <a:pt x="881" y="783"/>
                    <a:pt x="880" y="782"/>
                    <a:pt x="879" y="781"/>
                  </a:cubicBezTo>
                  <a:cubicBezTo>
                    <a:pt x="878" y="780"/>
                    <a:pt x="877" y="779"/>
                    <a:pt x="876" y="777"/>
                  </a:cubicBezTo>
                  <a:cubicBezTo>
                    <a:pt x="875" y="775"/>
                    <a:pt x="874" y="773"/>
                    <a:pt x="873" y="771"/>
                  </a:cubicBezTo>
                  <a:cubicBezTo>
                    <a:pt x="872" y="769"/>
                    <a:pt x="870" y="766"/>
                    <a:pt x="869" y="764"/>
                  </a:cubicBezTo>
                  <a:cubicBezTo>
                    <a:pt x="867" y="761"/>
                    <a:pt x="865" y="758"/>
                    <a:pt x="863" y="756"/>
                  </a:cubicBezTo>
                  <a:cubicBezTo>
                    <a:pt x="860" y="753"/>
                    <a:pt x="856" y="751"/>
                    <a:pt x="852" y="749"/>
                  </a:cubicBezTo>
                  <a:cubicBezTo>
                    <a:pt x="848" y="747"/>
                    <a:pt x="843" y="746"/>
                    <a:pt x="837" y="746"/>
                  </a:cubicBezTo>
                  <a:cubicBezTo>
                    <a:pt x="832" y="746"/>
                    <a:pt x="825" y="746"/>
                    <a:pt x="817" y="747"/>
                  </a:cubicBezTo>
                  <a:cubicBezTo>
                    <a:pt x="809" y="748"/>
                    <a:pt x="800" y="750"/>
                    <a:pt x="789" y="752"/>
                  </a:cubicBezTo>
                  <a:lnTo>
                    <a:pt x="684" y="857"/>
                  </a:lnTo>
                  <a:cubicBezTo>
                    <a:pt x="683" y="858"/>
                    <a:pt x="682" y="858"/>
                    <a:pt x="681" y="858"/>
                  </a:cubicBezTo>
                  <a:cubicBezTo>
                    <a:pt x="680" y="859"/>
                    <a:pt x="679" y="858"/>
                    <a:pt x="677" y="858"/>
                  </a:cubicBezTo>
                  <a:cubicBezTo>
                    <a:pt x="676" y="857"/>
                    <a:pt x="674" y="856"/>
                    <a:pt x="672" y="854"/>
                  </a:cubicBezTo>
                  <a:cubicBezTo>
                    <a:pt x="670" y="853"/>
                    <a:pt x="667" y="850"/>
                    <a:pt x="664" y="847"/>
                  </a:cubicBezTo>
                  <a:cubicBezTo>
                    <a:pt x="661" y="845"/>
                    <a:pt x="659" y="842"/>
                    <a:pt x="657" y="840"/>
                  </a:cubicBezTo>
                  <a:cubicBezTo>
                    <a:pt x="656" y="838"/>
                    <a:pt x="655" y="836"/>
                    <a:pt x="654" y="834"/>
                  </a:cubicBezTo>
                  <a:cubicBezTo>
                    <a:pt x="653" y="833"/>
                    <a:pt x="653" y="832"/>
                    <a:pt x="653" y="831"/>
                  </a:cubicBezTo>
                  <a:cubicBezTo>
                    <a:pt x="654" y="829"/>
                    <a:pt x="654" y="828"/>
                    <a:pt x="655" y="828"/>
                  </a:cubicBezTo>
                  <a:lnTo>
                    <a:pt x="814" y="668"/>
                  </a:lnTo>
                  <a:cubicBezTo>
                    <a:pt x="815" y="667"/>
                    <a:pt x="816" y="667"/>
                    <a:pt x="817" y="667"/>
                  </a:cubicBezTo>
                  <a:cubicBezTo>
                    <a:pt x="818" y="666"/>
                    <a:pt x="819" y="666"/>
                    <a:pt x="821" y="667"/>
                  </a:cubicBezTo>
                  <a:cubicBezTo>
                    <a:pt x="823" y="667"/>
                    <a:pt x="824" y="668"/>
                    <a:pt x="826" y="670"/>
                  </a:cubicBezTo>
                  <a:cubicBezTo>
                    <a:pt x="828" y="671"/>
                    <a:pt x="830" y="673"/>
                    <a:pt x="833" y="676"/>
                  </a:cubicBezTo>
                  <a:cubicBezTo>
                    <a:pt x="836" y="679"/>
                    <a:pt x="838" y="681"/>
                    <a:pt x="839" y="683"/>
                  </a:cubicBezTo>
                  <a:cubicBezTo>
                    <a:pt x="841" y="685"/>
                    <a:pt x="842" y="686"/>
                    <a:pt x="842" y="688"/>
                  </a:cubicBezTo>
                  <a:cubicBezTo>
                    <a:pt x="843" y="689"/>
                    <a:pt x="843" y="691"/>
                    <a:pt x="842" y="692"/>
                  </a:cubicBezTo>
                  <a:cubicBezTo>
                    <a:pt x="842" y="693"/>
                    <a:pt x="842" y="694"/>
                    <a:pt x="841" y="695"/>
                  </a:cubicBezTo>
                  <a:lnTo>
                    <a:pt x="817" y="718"/>
                  </a:lnTo>
                  <a:cubicBezTo>
                    <a:pt x="828" y="716"/>
                    <a:pt x="837" y="715"/>
                    <a:pt x="845" y="715"/>
                  </a:cubicBezTo>
                  <a:cubicBezTo>
                    <a:pt x="853" y="714"/>
                    <a:pt x="860" y="715"/>
                    <a:pt x="866" y="716"/>
                  </a:cubicBezTo>
                  <a:cubicBezTo>
                    <a:pt x="871" y="717"/>
                    <a:pt x="876" y="719"/>
                    <a:pt x="881" y="721"/>
                  </a:cubicBezTo>
                  <a:cubicBezTo>
                    <a:pt x="885" y="724"/>
                    <a:pt x="889" y="727"/>
                    <a:pt x="892" y="730"/>
                  </a:cubicBezTo>
                  <a:cubicBezTo>
                    <a:pt x="894" y="732"/>
                    <a:pt x="895" y="734"/>
                    <a:pt x="897" y="736"/>
                  </a:cubicBezTo>
                  <a:cubicBezTo>
                    <a:pt x="899" y="738"/>
                    <a:pt x="900" y="740"/>
                    <a:pt x="902" y="743"/>
                  </a:cubicBezTo>
                  <a:cubicBezTo>
                    <a:pt x="904" y="745"/>
                    <a:pt x="905" y="748"/>
                    <a:pt x="906" y="750"/>
                  </a:cubicBezTo>
                  <a:cubicBezTo>
                    <a:pt x="907" y="752"/>
                    <a:pt x="908" y="754"/>
                    <a:pt x="908" y="756"/>
                  </a:cubicBezTo>
                  <a:cubicBezTo>
                    <a:pt x="908" y="757"/>
                    <a:pt x="908" y="758"/>
                    <a:pt x="908" y="759"/>
                  </a:cubicBezTo>
                  <a:cubicBezTo>
                    <a:pt x="908" y="759"/>
                    <a:pt x="907" y="760"/>
                    <a:pt x="906" y="761"/>
                  </a:cubicBezTo>
                  <a:cubicBezTo>
                    <a:pt x="906" y="762"/>
                    <a:pt x="905" y="764"/>
                    <a:pt x="903" y="765"/>
                  </a:cubicBezTo>
                  <a:cubicBezTo>
                    <a:pt x="902" y="767"/>
                    <a:pt x="900" y="769"/>
                    <a:pt x="897" y="772"/>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399" name="Freeform 146"/>
            <p:cNvSpPr>
              <a:spLocks noEditPoints="1"/>
            </p:cNvSpPr>
            <p:nvPr/>
          </p:nvSpPr>
          <p:spPr bwMode="auto">
            <a:xfrm>
              <a:off x="1614" y="2381"/>
              <a:ext cx="269" cy="277"/>
            </a:xfrm>
            <a:custGeom>
              <a:avLst/>
              <a:gdLst>
                <a:gd name="T0" fmla="*/ 22 w 2543"/>
                <a:gd name="T1" fmla="*/ 197 h 2618"/>
                <a:gd name="T2" fmla="*/ 228 w 2543"/>
                <a:gd name="T3" fmla="*/ 1 h 2618"/>
                <a:gd name="T4" fmla="*/ 165 w 2543"/>
                <a:gd name="T5" fmla="*/ 342 h 2618"/>
                <a:gd name="T6" fmla="*/ 255 w 2543"/>
                <a:gd name="T7" fmla="*/ 478 h 2618"/>
                <a:gd name="T8" fmla="*/ 382 w 2543"/>
                <a:gd name="T9" fmla="*/ 390 h 2618"/>
                <a:gd name="T10" fmla="*/ 316 w 2543"/>
                <a:gd name="T11" fmla="*/ 269 h 2618"/>
                <a:gd name="T12" fmla="*/ 412 w 2543"/>
                <a:gd name="T13" fmla="*/ 417 h 2618"/>
                <a:gd name="T14" fmla="*/ 314 w 2543"/>
                <a:gd name="T15" fmla="*/ 457 h 2618"/>
                <a:gd name="T16" fmla="*/ 380 w 2543"/>
                <a:gd name="T17" fmla="*/ 600 h 2618"/>
                <a:gd name="T18" fmla="*/ 598 w 2543"/>
                <a:gd name="T19" fmla="*/ 337 h 2618"/>
                <a:gd name="T20" fmla="*/ 604 w 2543"/>
                <a:gd name="T21" fmla="*/ 489 h 2618"/>
                <a:gd name="T22" fmla="*/ 544 w 2543"/>
                <a:gd name="T23" fmla="*/ 493 h 2618"/>
                <a:gd name="T24" fmla="*/ 782 w 2543"/>
                <a:gd name="T25" fmla="*/ 717 h 2618"/>
                <a:gd name="T26" fmla="*/ 681 w 2543"/>
                <a:gd name="T27" fmla="*/ 691 h 2618"/>
                <a:gd name="T28" fmla="*/ 709 w 2543"/>
                <a:gd name="T29" fmla="*/ 606 h 2618"/>
                <a:gd name="T30" fmla="*/ 772 w 2543"/>
                <a:gd name="T31" fmla="*/ 661 h 2618"/>
                <a:gd name="T32" fmla="*/ 774 w 2543"/>
                <a:gd name="T33" fmla="*/ 990 h 2618"/>
                <a:gd name="T34" fmla="*/ 696 w 2543"/>
                <a:gd name="T35" fmla="*/ 856 h 2618"/>
                <a:gd name="T36" fmla="*/ 927 w 2543"/>
                <a:gd name="T37" fmla="*/ 824 h 2618"/>
                <a:gd name="T38" fmla="*/ 788 w 2543"/>
                <a:gd name="T39" fmla="*/ 973 h 2618"/>
                <a:gd name="T40" fmla="*/ 928 w 2543"/>
                <a:gd name="T41" fmla="*/ 1112 h 2618"/>
                <a:gd name="T42" fmla="*/ 950 w 2543"/>
                <a:gd name="T43" fmla="*/ 1159 h 2618"/>
                <a:gd name="T44" fmla="*/ 1013 w 2543"/>
                <a:gd name="T45" fmla="*/ 911 h 2618"/>
                <a:gd name="T46" fmla="*/ 979 w 2543"/>
                <a:gd name="T47" fmla="*/ 940 h 2618"/>
                <a:gd name="T48" fmla="*/ 1089 w 2543"/>
                <a:gd name="T49" fmla="*/ 1317 h 2618"/>
                <a:gd name="T50" fmla="*/ 1367 w 2543"/>
                <a:gd name="T51" fmla="*/ 1285 h 2618"/>
                <a:gd name="T52" fmla="*/ 1362 w 2543"/>
                <a:gd name="T53" fmla="*/ 1187 h 2618"/>
                <a:gd name="T54" fmla="*/ 1278 w 2543"/>
                <a:gd name="T55" fmla="*/ 1317 h 2618"/>
                <a:gd name="T56" fmla="*/ 1297 w 2543"/>
                <a:gd name="T57" fmla="*/ 1521 h 2618"/>
                <a:gd name="T58" fmla="*/ 1443 w 2543"/>
                <a:gd name="T59" fmla="*/ 1334 h 2618"/>
                <a:gd name="T60" fmla="*/ 1480 w 2543"/>
                <a:gd name="T61" fmla="*/ 1275 h 2618"/>
                <a:gd name="T62" fmla="*/ 1366 w 2543"/>
                <a:gd name="T63" fmla="*/ 1592 h 2618"/>
                <a:gd name="T64" fmla="*/ 1400 w 2543"/>
                <a:gd name="T65" fmla="*/ 1584 h 2618"/>
                <a:gd name="T66" fmla="*/ 1454 w 2543"/>
                <a:gd name="T67" fmla="*/ 1496 h 2618"/>
                <a:gd name="T68" fmla="*/ 1606 w 2543"/>
                <a:gd name="T69" fmla="*/ 1517 h 2618"/>
                <a:gd name="T70" fmla="*/ 1555 w 2543"/>
                <a:gd name="T71" fmla="*/ 1486 h 2618"/>
                <a:gd name="T72" fmla="*/ 1519 w 2543"/>
                <a:gd name="T73" fmla="*/ 1617 h 2618"/>
                <a:gd name="T74" fmla="*/ 1615 w 2543"/>
                <a:gd name="T75" fmla="*/ 1658 h 2618"/>
                <a:gd name="T76" fmla="*/ 1736 w 2543"/>
                <a:gd name="T77" fmla="*/ 1479 h 2618"/>
                <a:gd name="T78" fmla="*/ 1757 w 2543"/>
                <a:gd name="T79" fmla="*/ 1650 h 2618"/>
                <a:gd name="T80" fmla="*/ 1631 w 2543"/>
                <a:gd name="T81" fmla="*/ 1843 h 2618"/>
                <a:gd name="T82" fmla="*/ 1798 w 2543"/>
                <a:gd name="T83" fmla="*/ 1975 h 2618"/>
                <a:gd name="T84" fmla="*/ 1845 w 2543"/>
                <a:gd name="T85" fmla="*/ 1736 h 2618"/>
                <a:gd name="T86" fmla="*/ 1822 w 2543"/>
                <a:gd name="T87" fmla="*/ 1946 h 2618"/>
                <a:gd name="T88" fmla="*/ 2088 w 2543"/>
                <a:gd name="T89" fmla="*/ 2143 h 2618"/>
                <a:gd name="T90" fmla="*/ 1818 w 2543"/>
                <a:gd name="T91" fmla="*/ 2172 h 2618"/>
                <a:gd name="T92" fmla="*/ 2037 w 2543"/>
                <a:gd name="T93" fmla="*/ 1927 h 2618"/>
                <a:gd name="T94" fmla="*/ 2133 w 2543"/>
                <a:gd name="T95" fmla="*/ 2069 h 2618"/>
                <a:gd name="T96" fmla="*/ 1999 w 2543"/>
                <a:gd name="T97" fmla="*/ 1997 h 2618"/>
                <a:gd name="T98" fmla="*/ 2068 w 2543"/>
                <a:gd name="T99" fmla="*/ 2298 h 2618"/>
                <a:gd name="T100" fmla="*/ 2238 w 2543"/>
                <a:gd name="T101" fmla="*/ 2129 h 2618"/>
                <a:gd name="T102" fmla="*/ 2296 w 2543"/>
                <a:gd name="T103" fmla="*/ 2056 h 2618"/>
                <a:gd name="T104" fmla="*/ 2183 w 2543"/>
                <a:gd name="T105" fmla="*/ 2418 h 2618"/>
                <a:gd name="T106" fmla="*/ 2389 w 2543"/>
                <a:gd name="T107" fmla="*/ 2296 h 2618"/>
                <a:gd name="T108" fmla="*/ 2336 w 2543"/>
                <a:gd name="T109" fmla="*/ 2271 h 2618"/>
                <a:gd name="T110" fmla="*/ 2279 w 2543"/>
                <a:gd name="T111" fmla="*/ 2425 h 2618"/>
                <a:gd name="T112" fmla="*/ 2365 w 2543"/>
                <a:gd name="T113" fmla="*/ 2553 h 2618"/>
                <a:gd name="T114" fmla="*/ 2413 w 2543"/>
                <a:gd name="T115" fmla="*/ 2618 h 2618"/>
                <a:gd name="T116" fmla="*/ 2431 w 2543"/>
                <a:gd name="T117" fmla="*/ 2364 h 2618"/>
                <a:gd name="T118" fmla="*/ 2463 w 2543"/>
                <a:gd name="T119" fmla="*/ 2403 h 2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43" h="2618">
                  <a:moveTo>
                    <a:pt x="158" y="361"/>
                  </a:moveTo>
                  <a:cubicBezTo>
                    <a:pt x="156" y="364"/>
                    <a:pt x="154" y="365"/>
                    <a:pt x="152" y="367"/>
                  </a:cubicBezTo>
                  <a:cubicBezTo>
                    <a:pt x="150" y="368"/>
                    <a:pt x="149" y="369"/>
                    <a:pt x="147" y="370"/>
                  </a:cubicBezTo>
                  <a:cubicBezTo>
                    <a:pt x="146" y="370"/>
                    <a:pt x="144" y="370"/>
                    <a:pt x="143" y="370"/>
                  </a:cubicBezTo>
                  <a:cubicBezTo>
                    <a:pt x="142" y="370"/>
                    <a:pt x="140" y="369"/>
                    <a:pt x="139" y="368"/>
                  </a:cubicBezTo>
                  <a:lnTo>
                    <a:pt x="4" y="233"/>
                  </a:lnTo>
                  <a:cubicBezTo>
                    <a:pt x="1" y="230"/>
                    <a:pt x="0" y="226"/>
                    <a:pt x="0" y="223"/>
                  </a:cubicBezTo>
                  <a:cubicBezTo>
                    <a:pt x="0" y="219"/>
                    <a:pt x="2" y="215"/>
                    <a:pt x="6" y="211"/>
                  </a:cubicBezTo>
                  <a:lnTo>
                    <a:pt x="12" y="204"/>
                  </a:lnTo>
                  <a:cubicBezTo>
                    <a:pt x="14" y="203"/>
                    <a:pt x="16" y="201"/>
                    <a:pt x="17" y="200"/>
                  </a:cubicBezTo>
                  <a:cubicBezTo>
                    <a:pt x="18" y="199"/>
                    <a:pt x="20" y="198"/>
                    <a:pt x="22" y="197"/>
                  </a:cubicBezTo>
                  <a:cubicBezTo>
                    <a:pt x="24" y="196"/>
                    <a:pt x="27" y="196"/>
                    <a:pt x="30" y="195"/>
                  </a:cubicBezTo>
                  <a:cubicBezTo>
                    <a:pt x="33" y="194"/>
                    <a:pt x="36" y="193"/>
                    <a:pt x="40" y="192"/>
                  </a:cubicBezTo>
                  <a:lnTo>
                    <a:pt x="311" y="133"/>
                  </a:lnTo>
                  <a:lnTo>
                    <a:pt x="206" y="28"/>
                  </a:lnTo>
                  <a:cubicBezTo>
                    <a:pt x="205" y="27"/>
                    <a:pt x="204" y="26"/>
                    <a:pt x="204" y="25"/>
                  </a:cubicBezTo>
                  <a:cubicBezTo>
                    <a:pt x="204" y="23"/>
                    <a:pt x="204" y="22"/>
                    <a:pt x="204" y="20"/>
                  </a:cubicBezTo>
                  <a:cubicBezTo>
                    <a:pt x="205" y="19"/>
                    <a:pt x="206" y="17"/>
                    <a:pt x="207" y="15"/>
                  </a:cubicBezTo>
                  <a:cubicBezTo>
                    <a:pt x="208" y="14"/>
                    <a:pt x="210" y="12"/>
                    <a:pt x="212" y="9"/>
                  </a:cubicBezTo>
                  <a:cubicBezTo>
                    <a:pt x="215" y="7"/>
                    <a:pt x="217" y="5"/>
                    <a:pt x="219" y="4"/>
                  </a:cubicBezTo>
                  <a:cubicBezTo>
                    <a:pt x="220" y="2"/>
                    <a:pt x="222" y="1"/>
                    <a:pt x="224" y="1"/>
                  </a:cubicBezTo>
                  <a:cubicBezTo>
                    <a:pt x="225" y="0"/>
                    <a:pt x="227" y="0"/>
                    <a:pt x="228" y="1"/>
                  </a:cubicBezTo>
                  <a:cubicBezTo>
                    <a:pt x="229" y="1"/>
                    <a:pt x="231" y="2"/>
                    <a:pt x="232" y="3"/>
                  </a:cubicBezTo>
                  <a:lnTo>
                    <a:pt x="359" y="130"/>
                  </a:lnTo>
                  <a:cubicBezTo>
                    <a:pt x="362" y="133"/>
                    <a:pt x="364" y="137"/>
                    <a:pt x="364" y="140"/>
                  </a:cubicBezTo>
                  <a:cubicBezTo>
                    <a:pt x="364" y="144"/>
                    <a:pt x="362" y="148"/>
                    <a:pt x="358" y="152"/>
                  </a:cubicBezTo>
                  <a:lnTo>
                    <a:pt x="351" y="158"/>
                  </a:lnTo>
                  <a:cubicBezTo>
                    <a:pt x="349" y="160"/>
                    <a:pt x="348" y="162"/>
                    <a:pt x="346" y="163"/>
                  </a:cubicBezTo>
                  <a:cubicBezTo>
                    <a:pt x="344" y="164"/>
                    <a:pt x="342" y="165"/>
                    <a:pt x="340" y="166"/>
                  </a:cubicBezTo>
                  <a:cubicBezTo>
                    <a:pt x="338" y="167"/>
                    <a:pt x="336" y="168"/>
                    <a:pt x="333" y="169"/>
                  </a:cubicBezTo>
                  <a:cubicBezTo>
                    <a:pt x="330" y="170"/>
                    <a:pt x="327" y="170"/>
                    <a:pt x="323" y="171"/>
                  </a:cubicBezTo>
                  <a:lnTo>
                    <a:pt x="53" y="231"/>
                  </a:lnTo>
                  <a:lnTo>
                    <a:pt x="165" y="342"/>
                  </a:lnTo>
                  <a:cubicBezTo>
                    <a:pt x="167" y="344"/>
                    <a:pt x="168" y="347"/>
                    <a:pt x="167" y="350"/>
                  </a:cubicBezTo>
                  <a:cubicBezTo>
                    <a:pt x="166" y="353"/>
                    <a:pt x="163" y="357"/>
                    <a:pt x="158" y="361"/>
                  </a:cubicBezTo>
                  <a:close/>
                  <a:moveTo>
                    <a:pt x="305" y="525"/>
                  </a:moveTo>
                  <a:cubicBezTo>
                    <a:pt x="303" y="526"/>
                    <a:pt x="302" y="527"/>
                    <a:pt x="300" y="526"/>
                  </a:cubicBezTo>
                  <a:cubicBezTo>
                    <a:pt x="298" y="526"/>
                    <a:pt x="296" y="525"/>
                    <a:pt x="294" y="524"/>
                  </a:cubicBezTo>
                  <a:cubicBezTo>
                    <a:pt x="292" y="523"/>
                    <a:pt x="290" y="520"/>
                    <a:pt x="287" y="517"/>
                  </a:cubicBezTo>
                  <a:cubicBezTo>
                    <a:pt x="284" y="514"/>
                    <a:pt x="281" y="512"/>
                    <a:pt x="280" y="509"/>
                  </a:cubicBezTo>
                  <a:cubicBezTo>
                    <a:pt x="278" y="507"/>
                    <a:pt x="278" y="505"/>
                    <a:pt x="277" y="504"/>
                  </a:cubicBezTo>
                  <a:cubicBezTo>
                    <a:pt x="277" y="502"/>
                    <a:pt x="278" y="501"/>
                    <a:pt x="279" y="499"/>
                  </a:cubicBezTo>
                  <a:lnTo>
                    <a:pt x="295" y="484"/>
                  </a:lnTo>
                  <a:cubicBezTo>
                    <a:pt x="281" y="484"/>
                    <a:pt x="267" y="482"/>
                    <a:pt x="255" y="478"/>
                  </a:cubicBezTo>
                  <a:cubicBezTo>
                    <a:pt x="242" y="473"/>
                    <a:pt x="231" y="466"/>
                    <a:pt x="221" y="457"/>
                  </a:cubicBezTo>
                  <a:cubicBezTo>
                    <a:pt x="213" y="448"/>
                    <a:pt x="207" y="440"/>
                    <a:pt x="202" y="431"/>
                  </a:cubicBezTo>
                  <a:cubicBezTo>
                    <a:pt x="197" y="422"/>
                    <a:pt x="195" y="413"/>
                    <a:pt x="194" y="404"/>
                  </a:cubicBezTo>
                  <a:cubicBezTo>
                    <a:pt x="193" y="395"/>
                    <a:pt x="195" y="386"/>
                    <a:pt x="198" y="378"/>
                  </a:cubicBezTo>
                  <a:cubicBezTo>
                    <a:pt x="202" y="369"/>
                    <a:pt x="207" y="361"/>
                    <a:pt x="215" y="353"/>
                  </a:cubicBezTo>
                  <a:cubicBezTo>
                    <a:pt x="224" y="344"/>
                    <a:pt x="233" y="338"/>
                    <a:pt x="244" y="335"/>
                  </a:cubicBezTo>
                  <a:cubicBezTo>
                    <a:pt x="254" y="332"/>
                    <a:pt x="265" y="332"/>
                    <a:pt x="276" y="335"/>
                  </a:cubicBezTo>
                  <a:cubicBezTo>
                    <a:pt x="287" y="337"/>
                    <a:pt x="299" y="342"/>
                    <a:pt x="311" y="350"/>
                  </a:cubicBezTo>
                  <a:cubicBezTo>
                    <a:pt x="323" y="358"/>
                    <a:pt x="335" y="368"/>
                    <a:pt x="347" y="380"/>
                  </a:cubicBezTo>
                  <a:lnTo>
                    <a:pt x="369" y="402"/>
                  </a:lnTo>
                  <a:lnTo>
                    <a:pt x="382" y="390"/>
                  </a:lnTo>
                  <a:cubicBezTo>
                    <a:pt x="388" y="383"/>
                    <a:pt x="392" y="377"/>
                    <a:pt x="396" y="371"/>
                  </a:cubicBezTo>
                  <a:cubicBezTo>
                    <a:pt x="399" y="365"/>
                    <a:pt x="401" y="359"/>
                    <a:pt x="401" y="353"/>
                  </a:cubicBezTo>
                  <a:cubicBezTo>
                    <a:pt x="402" y="347"/>
                    <a:pt x="400" y="341"/>
                    <a:pt x="397" y="335"/>
                  </a:cubicBezTo>
                  <a:cubicBezTo>
                    <a:pt x="394" y="329"/>
                    <a:pt x="389" y="322"/>
                    <a:pt x="383" y="316"/>
                  </a:cubicBezTo>
                  <a:cubicBezTo>
                    <a:pt x="375" y="308"/>
                    <a:pt x="368" y="303"/>
                    <a:pt x="361" y="299"/>
                  </a:cubicBezTo>
                  <a:cubicBezTo>
                    <a:pt x="353" y="295"/>
                    <a:pt x="346" y="292"/>
                    <a:pt x="340" y="289"/>
                  </a:cubicBezTo>
                  <a:cubicBezTo>
                    <a:pt x="334" y="287"/>
                    <a:pt x="328" y="286"/>
                    <a:pt x="324" y="284"/>
                  </a:cubicBezTo>
                  <a:cubicBezTo>
                    <a:pt x="319" y="283"/>
                    <a:pt x="316" y="282"/>
                    <a:pt x="315" y="280"/>
                  </a:cubicBezTo>
                  <a:cubicBezTo>
                    <a:pt x="314" y="279"/>
                    <a:pt x="313" y="278"/>
                    <a:pt x="313" y="277"/>
                  </a:cubicBezTo>
                  <a:cubicBezTo>
                    <a:pt x="313" y="276"/>
                    <a:pt x="313" y="275"/>
                    <a:pt x="313" y="273"/>
                  </a:cubicBezTo>
                  <a:cubicBezTo>
                    <a:pt x="314" y="272"/>
                    <a:pt x="314" y="270"/>
                    <a:pt x="316" y="269"/>
                  </a:cubicBezTo>
                  <a:cubicBezTo>
                    <a:pt x="317" y="267"/>
                    <a:pt x="318" y="265"/>
                    <a:pt x="320" y="263"/>
                  </a:cubicBezTo>
                  <a:cubicBezTo>
                    <a:pt x="323" y="260"/>
                    <a:pt x="326" y="258"/>
                    <a:pt x="328" y="257"/>
                  </a:cubicBezTo>
                  <a:cubicBezTo>
                    <a:pt x="330" y="256"/>
                    <a:pt x="332" y="255"/>
                    <a:pt x="336" y="255"/>
                  </a:cubicBezTo>
                  <a:cubicBezTo>
                    <a:pt x="339" y="255"/>
                    <a:pt x="343" y="256"/>
                    <a:pt x="349" y="258"/>
                  </a:cubicBezTo>
                  <a:cubicBezTo>
                    <a:pt x="355" y="260"/>
                    <a:pt x="361" y="262"/>
                    <a:pt x="368" y="266"/>
                  </a:cubicBezTo>
                  <a:cubicBezTo>
                    <a:pt x="375" y="269"/>
                    <a:pt x="382" y="273"/>
                    <a:pt x="389" y="278"/>
                  </a:cubicBezTo>
                  <a:cubicBezTo>
                    <a:pt x="396" y="283"/>
                    <a:pt x="403" y="288"/>
                    <a:pt x="409" y="295"/>
                  </a:cubicBezTo>
                  <a:cubicBezTo>
                    <a:pt x="420" y="306"/>
                    <a:pt x="429" y="317"/>
                    <a:pt x="434" y="328"/>
                  </a:cubicBezTo>
                  <a:cubicBezTo>
                    <a:pt x="440" y="338"/>
                    <a:pt x="442" y="349"/>
                    <a:pt x="442" y="358"/>
                  </a:cubicBezTo>
                  <a:cubicBezTo>
                    <a:pt x="442" y="368"/>
                    <a:pt x="440" y="378"/>
                    <a:pt x="434" y="388"/>
                  </a:cubicBezTo>
                  <a:cubicBezTo>
                    <a:pt x="429" y="398"/>
                    <a:pt x="422" y="407"/>
                    <a:pt x="412" y="417"/>
                  </a:cubicBezTo>
                  <a:lnTo>
                    <a:pt x="305" y="525"/>
                  </a:lnTo>
                  <a:close/>
                  <a:moveTo>
                    <a:pt x="348" y="423"/>
                  </a:moveTo>
                  <a:lnTo>
                    <a:pt x="323" y="398"/>
                  </a:lnTo>
                  <a:cubicBezTo>
                    <a:pt x="315" y="390"/>
                    <a:pt x="308" y="384"/>
                    <a:pt x="300" y="379"/>
                  </a:cubicBezTo>
                  <a:cubicBezTo>
                    <a:pt x="293" y="375"/>
                    <a:pt x="286" y="372"/>
                    <a:pt x="280" y="371"/>
                  </a:cubicBezTo>
                  <a:cubicBezTo>
                    <a:pt x="273" y="369"/>
                    <a:pt x="267" y="370"/>
                    <a:pt x="262" y="371"/>
                  </a:cubicBezTo>
                  <a:cubicBezTo>
                    <a:pt x="256" y="373"/>
                    <a:pt x="251" y="377"/>
                    <a:pt x="246" y="382"/>
                  </a:cubicBezTo>
                  <a:cubicBezTo>
                    <a:pt x="238" y="390"/>
                    <a:pt x="234" y="399"/>
                    <a:pt x="234" y="409"/>
                  </a:cubicBezTo>
                  <a:cubicBezTo>
                    <a:pt x="235" y="419"/>
                    <a:pt x="239" y="429"/>
                    <a:pt x="249" y="438"/>
                  </a:cubicBezTo>
                  <a:cubicBezTo>
                    <a:pt x="256" y="446"/>
                    <a:pt x="266" y="451"/>
                    <a:pt x="276" y="454"/>
                  </a:cubicBezTo>
                  <a:cubicBezTo>
                    <a:pt x="286" y="457"/>
                    <a:pt x="299" y="458"/>
                    <a:pt x="314" y="457"/>
                  </a:cubicBezTo>
                  <a:lnTo>
                    <a:pt x="348" y="423"/>
                  </a:lnTo>
                  <a:close/>
                  <a:moveTo>
                    <a:pt x="583" y="639"/>
                  </a:moveTo>
                  <a:cubicBezTo>
                    <a:pt x="569" y="653"/>
                    <a:pt x="555" y="664"/>
                    <a:pt x="541" y="672"/>
                  </a:cubicBezTo>
                  <a:cubicBezTo>
                    <a:pt x="527" y="680"/>
                    <a:pt x="513" y="685"/>
                    <a:pt x="499" y="687"/>
                  </a:cubicBezTo>
                  <a:cubicBezTo>
                    <a:pt x="486" y="689"/>
                    <a:pt x="473" y="687"/>
                    <a:pt x="460" y="683"/>
                  </a:cubicBezTo>
                  <a:cubicBezTo>
                    <a:pt x="447" y="679"/>
                    <a:pt x="436" y="671"/>
                    <a:pt x="425" y="660"/>
                  </a:cubicBezTo>
                  <a:cubicBezTo>
                    <a:pt x="420" y="655"/>
                    <a:pt x="415" y="650"/>
                    <a:pt x="412" y="644"/>
                  </a:cubicBezTo>
                  <a:cubicBezTo>
                    <a:pt x="409" y="639"/>
                    <a:pt x="406" y="633"/>
                    <a:pt x="404" y="627"/>
                  </a:cubicBezTo>
                  <a:cubicBezTo>
                    <a:pt x="403" y="621"/>
                    <a:pt x="401" y="614"/>
                    <a:pt x="401" y="606"/>
                  </a:cubicBezTo>
                  <a:cubicBezTo>
                    <a:pt x="400" y="599"/>
                    <a:pt x="400" y="590"/>
                    <a:pt x="400" y="581"/>
                  </a:cubicBezTo>
                  <a:lnTo>
                    <a:pt x="380" y="600"/>
                  </a:lnTo>
                  <a:cubicBezTo>
                    <a:pt x="379" y="601"/>
                    <a:pt x="378" y="602"/>
                    <a:pt x="377" y="602"/>
                  </a:cubicBezTo>
                  <a:cubicBezTo>
                    <a:pt x="376" y="602"/>
                    <a:pt x="375" y="602"/>
                    <a:pt x="373" y="601"/>
                  </a:cubicBezTo>
                  <a:cubicBezTo>
                    <a:pt x="372" y="601"/>
                    <a:pt x="370" y="600"/>
                    <a:pt x="368" y="598"/>
                  </a:cubicBezTo>
                  <a:cubicBezTo>
                    <a:pt x="366" y="597"/>
                    <a:pt x="364" y="595"/>
                    <a:pt x="362" y="592"/>
                  </a:cubicBezTo>
                  <a:cubicBezTo>
                    <a:pt x="359" y="590"/>
                    <a:pt x="358" y="588"/>
                    <a:pt x="356" y="586"/>
                  </a:cubicBezTo>
                  <a:cubicBezTo>
                    <a:pt x="355" y="584"/>
                    <a:pt x="354" y="583"/>
                    <a:pt x="353" y="581"/>
                  </a:cubicBezTo>
                  <a:cubicBezTo>
                    <a:pt x="352" y="580"/>
                    <a:pt x="352" y="578"/>
                    <a:pt x="353" y="577"/>
                  </a:cubicBezTo>
                  <a:cubicBezTo>
                    <a:pt x="353" y="576"/>
                    <a:pt x="354" y="575"/>
                    <a:pt x="355" y="574"/>
                  </a:cubicBezTo>
                  <a:lnTo>
                    <a:pt x="591" y="338"/>
                  </a:lnTo>
                  <a:cubicBezTo>
                    <a:pt x="592" y="337"/>
                    <a:pt x="593" y="337"/>
                    <a:pt x="594" y="336"/>
                  </a:cubicBezTo>
                  <a:cubicBezTo>
                    <a:pt x="595" y="336"/>
                    <a:pt x="596" y="336"/>
                    <a:pt x="598" y="337"/>
                  </a:cubicBezTo>
                  <a:cubicBezTo>
                    <a:pt x="599" y="337"/>
                    <a:pt x="601" y="339"/>
                    <a:pt x="603" y="340"/>
                  </a:cubicBezTo>
                  <a:cubicBezTo>
                    <a:pt x="606" y="342"/>
                    <a:pt x="608" y="344"/>
                    <a:pt x="611" y="347"/>
                  </a:cubicBezTo>
                  <a:cubicBezTo>
                    <a:pt x="614" y="350"/>
                    <a:pt x="616" y="352"/>
                    <a:pt x="618" y="355"/>
                  </a:cubicBezTo>
                  <a:cubicBezTo>
                    <a:pt x="619" y="357"/>
                    <a:pt x="621" y="358"/>
                    <a:pt x="621" y="360"/>
                  </a:cubicBezTo>
                  <a:cubicBezTo>
                    <a:pt x="622" y="362"/>
                    <a:pt x="622" y="363"/>
                    <a:pt x="622" y="364"/>
                  </a:cubicBezTo>
                  <a:cubicBezTo>
                    <a:pt x="621" y="365"/>
                    <a:pt x="621" y="366"/>
                    <a:pt x="620" y="367"/>
                  </a:cubicBezTo>
                  <a:lnTo>
                    <a:pt x="525" y="463"/>
                  </a:lnTo>
                  <a:cubicBezTo>
                    <a:pt x="534" y="462"/>
                    <a:pt x="543" y="463"/>
                    <a:pt x="551" y="464"/>
                  </a:cubicBezTo>
                  <a:cubicBezTo>
                    <a:pt x="558" y="465"/>
                    <a:pt x="565" y="467"/>
                    <a:pt x="572" y="469"/>
                  </a:cubicBezTo>
                  <a:cubicBezTo>
                    <a:pt x="578" y="471"/>
                    <a:pt x="584" y="474"/>
                    <a:pt x="589" y="477"/>
                  </a:cubicBezTo>
                  <a:cubicBezTo>
                    <a:pt x="594" y="480"/>
                    <a:pt x="599" y="484"/>
                    <a:pt x="604" y="489"/>
                  </a:cubicBezTo>
                  <a:cubicBezTo>
                    <a:pt x="615" y="501"/>
                    <a:pt x="623" y="513"/>
                    <a:pt x="626" y="526"/>
                  </a:cubicBezTo>
                  <a:cubicBezTo>
                    <a:pt x="630" y="538"/>
                    <a:pt x="630" y="551"/>
                    <a:pt x="628" y="564"/>
                  </a:cubicBezTo>
                  <a:cubicBezTo>
                    <a:pt x="625" y="577"/>
                    <a:pt x="620" y="590"/>
                    <a:pt x="612" y="603"/>
                  </a:cubicBezTo>
                  <a:cubicBezTo>
                    <a:pt x="604" y="615"/>
                    <a:pt x="594" y="627"/>
                    <a:pt x="583" y="639"/>
                  </a:cubicBezTo>
                  <a:close/>
                  <a:moveTo>
                    <a:pt x="549" y="612"/>
                  </a:moveTo>
                  <a:cubicBezTo>
                    <a:pt x="557" y="604"/>
                    <a:pt x="564" y="595"/>
                    <a:pt x="571" y="587"/>
                  </a:cubicBezTo>
                  <a:cubicBezTo>
                    <a:pt x="577" y="578"/>
                    <a:pt x="582" y="569"/>
                    <a:pt x="585" y="560"/>
                  </a:cubicBezTo>
                  <a:cubicBezTo>
                    <a:pt x="587" y="551"/>
                    <a:pt x="588" y="542"/>
                    <a:pt x="587" y="533"/>
                  </a:cubicBezTo>
                  <a:cubicBezTo>
                    <a:pt x="585" y="524"/>
                    <a:pt x="581" y="516"/>
                    <a:pt x="573" y="509"/>
                  </a:cubicBezTo>
                  <a:cubicBezTo>
                    <a:pt x="569" y="505"/>
                    <a:pt x="565" y="502"/>
                    <a:pt x="560" y="499"/>
                  </a:cubicBezTo>
                  <a:cubicBezTo>
                    <a:pt x="555" y="497"/>
                    <a:pt x="550" y="495"/>
                    <a:pt x="544" y="493"/>
                  </a:cubicBezTo>
                  <a:cubicBezTo>
                    <a:pt x="537" y="492"/>
                    <a:pt x="530" y="491"/>
                    <a:pt x="522" y="491"/>
                  </a:cubicBezTo>
                  <a:cubicBezTo>
                    <a:pt x="514" y="491"/>
                    <a:pt x="505" y="491"/>
                    <a:pt x="495" y="493"/>
                  </a:cubicBezTo>
                  <a:lnTo>
                    <a:pt x="431" y="556"/>
                  </a:lnTo>
                  <a:cubicBezTo>
                    <a:pt x="429" y="574"/>
                    <a:pt x="430" y="589"/>
                    <a:pt x="432" y="602"/>
                  </a:cubicBezTo>
                  <a:cubicBezTo>
                    <a:pt x="434" y="614"/>
                    <a:pt x="439" y="624"/>
                    <a:pt x="447" y="632"/>
                  </a:cubicBezTo>
                  <a:cubicBezTo>
                    <a:pt x="454" y="639"/>
                    <a:pt x="463" y="644"/>
                    <a:pt x="471" y="646"/>
                  </a:cubicBezTo>
                  <a:cubicBezTo>
                    <a:pt x="480" y="647"/>
                    <a:pt x="489" y="647"/>
                    <a:pt x="498" y="644"/>
                  </a:cubicBezTo>
                  <a:cubicBezTo>
                    <a:pt x="507" y="642"/>
                    <a:pt x="516" y="638"/>
                    <a:pt x="525" y="632"/>
                  </a:cubicBezTo>
                  <a:cubicBezTo>
                    <a:pt x="533" y="626"/>
                    <a:pt x="542" y="619"/>
                    <a:pt x="549" y="612"/>
                  </a:cubicBezTo>
                  <a:close/>
                  <a:moveTo>
                    <a:pt x="789" y="711"/>
                  </a:moveTo>
                  <a:cubicBezTo>
                    <a:pt x="786" y="713"/>
                    <a:pt x="784" y="716"/>
                    <a:pt x="782" y="717"/>
                  </a:cubicBezTo>
                  <a:cubicBezTo>
                    <a:pt x="780" y="719"/>
                    <a:pt x="778" y="720"/>
                    <a:pt x="777" y="721"/>
                  </a:cubicBezTo>
                  <a:cubicBezTo>
                    <a:pt x="776" y="721"/>
                    <a:pt x="774" y="722"/>
                    <a:pt x="773" y="722"/>
                  </a:cubicBezTo>
                  <a:cubicBezTo>
                    <a:pt x="772" y="722"/>
                    <a:pt x="771" y="721"/>
                    <a:pt x="770" y="720"/>
                  </a:cubicBezTo>
                  <a:cubicBezTo>
                    <a:pt x="769" y="719"/>
                    <a:pt x="768" y="718"/>
                    <a:pt x="768" y="716"/>
                  </a:cubicBezTo>
                  <a:cubicBezTo>
                    <a:pt x="767" y="714"/>
                    <a:pt x="766" y="712"/>
                    <a:pt x="765" y="710"/>
                  </a:cubicBezTo>
                  <a:cubicBezTo>
                    <a:pt x="763" y="708"/>
                    <a:pt x="762" y="705"/>
                    <a:pt x="760" y="703"/>
                  </a:cubicBezTo>
                  <a:cubicBezTo>
                    <a:pt x="759" y="700"/>
                    <a:pt x="757" y="697"/>
                    <a:pt x="754" y="695"/>
                  </a:cubicBezTo>
                  <a:cubicBezTo>
                    <a:pt x="751" y="692"/>
                    <a:pt x="748" y="690"/>
                    <a:pt x="744" y="688"/>
                  </a:cubicBezTo>
                  <a:cubicBezTo>
                    <a:pt x="740" y="686"/>
                    <a:pt x="735" y="685"/>
                    <a:pt x="729" y="685"/>
                  </a:cubicBezTo>
                  <a:cubicBezTo>
                    <a:pt x="723" y="685"/>
                    <a:pt x="716" y="685"/>
                    <a:pt x="708" y="686"/>
                  </a:cubicBezTo>
                  <a:cubicBezTo>
                    <a:pt x="701" y="687"/>
                    <a:pt x="691" y="689"/>
                    <a:pt x="681" y="691"/>
                  </a:cubicBezTo>
                  <a:lnTo>
                    <a:pt x="576" y="796"/>
                  </a:lnTo>
                  <a:cubicBezTo>
                    <a:pt x="575" y="797"/>
                    <a:pt x="574" y="797"/>
                    <a:pt x="573" y="797"/>
                  </a:cubicBezTo>
                  <a:cubicBezTo>
                    <a:pt x="572" y="798"/>
                    <a:pt x="571" y="797"/>
                    <a:pt x="569" y="797"/>
                  </a:cubicBezTo>
                  <a:cubicBezTo>
                    <a:pt x="567" y="796"/>
                    <a:pt x="566" y="795"/>
                    <a:pt x="563" y="793"/>
                  </a:cubicBezTo>
                  <a:cubicBezTo>
                    <a:pt x="561" y="792"/>
                    <a:pt x="559" y="789"/>
                    <a:pt x="556" y="787"/>
                  </a:cubicBezTo>
                  <a:cubicBezTo>
                    <a:pt x="553" y="784"/>
                    <a:pt x="551" y="781"/>
                    <a:pt x="549" y="779"/>
                  </a:cubicBezTo>
                  <a:cubicBezTo>
                    <a:pt x="548" y="777"/>
                    <a:pt x="546" y="775"/>
                    <a:pt x="546" y="774"/>
                  </a:cubicBezTo>
                  <a:cubicBezTo>
                    <a:pt x="545" y="772"/>
                    <a:pt x="545" y="771"/>
                    <a:pt x="545" y="770"/>
                  </a:cubicBezTo>
                  <a:cubicBezTo>
                    <a:pt x="545" y="769"/>
                    <a:pt x="546" y="768"/>
                    <a:pt x="547" y="767"/>
                  </a:cubicBezTo>
                  <a:lnTo>
                    <a:pt x="706" y="607"/>
                  </a:lnTo>
                  <a:cubicBezTo>
                    <a:pt x="707" y="607"/>
                    <a:pt x="708" y="606"/>
                    <a:pt x="709" y="606"/>
                  </a:cubicBezTo>
                  <a:cubicBezTo>
                    <a:pt x="710" y="605"/>
                    <a:pt x="711" y="605"/>
                    <a:pt x="713" y="606"/>
                  </a:cubicBezTo>
                  <a:cubicBezTo>
                    <a:pt x="714" y="607"/>
                    <a:pt x="716" y="608"/>
                    <a:pt x="718" y="609"/>
                  </a:cubicBezTo>
                  <a:cubicBezTo>
                    <a:pt x="720" y="610"/>
                    <a:pt x="722" y="613"/>
                    <a:pt x="725" y="615"/>
                  </a:cubicBezTo>
                  <a:cubicBezTo>
                    <a:pt x="727" y="618"/>
                    <a:pt x="729" y="620"/>
                    <a:pt x="731" y="622"/>
                  </a:cubicBezTo>
                  <a:cubicBezTo>
                    <a:pt x="732" y="624"/>
                    <a:pt x="733" y="626"/>
                    <a:pt x="734" y="627"/>
                  </a:cubicBezTo>
                  <a:cubicBezTo>
                    <a:pt x="734" y="628"/>
                    <a:pt x="734" y="630"/>
                    <a:pt x="734" y="631"/>
                  </a:cubicBezTo>
                  <a:cubicBezTo>
                    <a:pt x="734" y="632"/>
                    <a:pt x="733" y="633"/>
                    <a:pt x="732" y="634"/>
                  </a:cubicBezTo>
                  <a:lnTo>
                    <a:pt x="709" y="657"/>
                  </a:lnTo>
                  <a:cubicBezTo>
                    <a:pt x="720" y="655"/>
                    <a:pt x="729" y="654"/>
                    <a:pt x="737" y="654"/>
                  </a:cubicBezTo>
                  <a:cubicBezTo>
                    <a:pt x="745" y="654"/>
                    <a:pt x="752" y="654"/>
                    <a:pt x="757" y="655"/>
                  </a:cubicBezTo>
                  <a:cubicBezTo>
                    <a:pt x="763" y="656"/>
                    <a:pt x="768" y="658"/>
                    <a:pt x="772" y="661"/>
                  </a:cubicBezTo>
                  <a:cubicBezTo>
                    <a:pt x="777" y="663"/>
                    <a:pt x="780" y="666"/>
                    <a:pt x="784" y="669"/>
                  </a:cubicBezTo>
                  <a:cubicBezTo>
                    <a:pt x="785" y="671"/>
                    <a:pt x="787" y="673"/>
                    <a:pt x="789" y="675"/>
                  </a:cubicBezTo>
                  <a:cubicBezTo>
                    <a:pt x="790" y="677"/>
                    <a:pt x="792" y="679"/>
                    <a:pt x="794" y="682"/>
                  </a:cubicBezTo>
                  <a:cubicBezTo>
                    <a:pt x="795" y="684"/>
                    <a:pt x="797" y="687"/>
                    <a:pt x="798" y="689"/>
                  </a:cubicBezTo>
                  <a:cubicBezTo>
                    <a:pt x="799" y="692"/>
                    <a:pt x="800" y="693"/>
                    <a:pt x="800" y="695"/>
                  </a:cubicBezTo>
                  <a:cubicBezTo>
                    <a:pt x="800" y="696"/>
                    <a:pt x="800" y="697"/>
                    <a:pt x="800" y="698"/>
                  </a:cubicBezTo>
                  <a:cubicBezTo>
                    <a:pt x="799" y="698"/>
                    <a:pt x="799" y="699"/>
                    <a:pt x="798" y="700"/>
                  </a:cubicBezTo>
                  <a:cubicBezTo>
                    <a:pt x="798" y="701"/>
                    <a:pt x="796" y="703"/>
                    <a:pt x="795" y="704"/>
                  </a:cubicBezTo>
                  <a:cubicBezTo>
                    <a:pt x="793" y="706"/>
                    <a:pt x="791" y="708"/>
                    <a:pt x="789" y="711"/>
                  </a:cubicBezTo>
                  <a:close/>
                  <a:moveTo>
                    <a:pt x="781" y="985"/>
                  </a:moveTo>
                  <a:cubicBezTo>
                    <a:pt x="779" y="987"/>
                    <a:pt x="776" y="989"/>
                    <a:pt x="774" y="990"/>
                  </a:cubicBezTo>
                  <a:cubicBezTo>
                    <a:pt x="773" y="991"/>
                    <a:pt x="771" y="992"/>
                    <a:pt x="769" y="992"/>
                  </a:cubicBezTo>
                  <a:cubicBezTo>
                    <a:pt x="768" y="993"/>
                    <a:pt x="767" y="993"/>
                    <a:pt x="765" y="993"/>
                  </a:cubicBezTo>
                  <a:cubicBezTo>
                    <a:pt x="764" y="992"/>
                    <a:pt x="763" y="991"/>
                    <a:pt x="762" y="991"/>
                  </a:cubicBezTo>
                  <a:lnTo>
                    <a:pt x="664" y="893"/>
                  </a:lnTo>
                  <a:cubicBezTo>
                    <a:pt x="662" y="890"/>
                    <a:pt x="660" y="887"/>
                    <a:pt x="660" y="884"/>
                  </a:cubicBezTo>
                  <a:cubicBezTo>
                    <a:pt x="661" y="881"/>
                    <a:pt x="662" y="877"/>
                    <a:pt x="666" y="873"/>
                  </a:cubicBezTo>
                  <a:lnTo>
                    <a:pt x="672" y="867"/>
                  </a:lnTo>
                  <a:cubicBezTo>
                    <a:pt x="674" y="866"/>
                    <a:pt x="676" y="864"/>
                    <a:pt x="677" y="863"/>
                  </a:cubicBezTo>
                  <a:cubicBezTo>
                    <a:pt x="679" y="862"/>
                    <a:pt x="680" y="861"/>
                    <a:pt x="682" y="860"/>
                  </a:cubicBezTo>
                  <a:cubicBezTo>
                    <a:pt x="684" y="860"/>
                    <a:pt x="686" y="859"/>
                    <a:pt x="688" y="858"/>
                  </a:cubicBezTo>
                  <a:cubicBezTo>
                    <a:pt x="691" y="858"/>
                    <a:pt x="693" y="857"/>
                    <a:pt x="696" y="856"/>
                  </a:cubicBezTo>
                  <a:lnTo>
                    <a:pt x="876" y="817"/>
                  </a:lnTo>
                  <a:lnTo>
                    <a:pt x="808" y="749"/>
                  </a:lnTo>
                  <a:cubicBezTo>
                    <a:pt x="806" y="747"/>
                    <a:pt x="805" y="745"/>
                    <a:pt x="806" y="742"/>
                  </a:cubicBezTo>
                  <a:cubicBezTo>
                    <a:pt x="807" y="739"/>
                    <a:pt x="809" y="735"/>
                    <a:pt x="814" y="731"/>
                  </a:cubicBezTo>
                  <a:cubicBezTo>
                    <a:pt x="816" y="728"/>
                    <a:pt x="818" y="727"/>
                    <a:pt x="820" y="725"/>
                  </a:cubicBezTo>
                  <a:cubicBezTo>
                    <a:pt x="822" y="724"/>
                    <a:pt x="823" y="723"/>
                    <a:pt x="825" y="723"/>
                  </a:cubicBezTo>
                  <a:cubicBezTo>
                    <a:pt x="826" y="722"/>
                    <a:pt x="828" y="722"/>
                    <a:pt x="829" y="722"/>
                  </a:cubicBezTo>
                  <a:cubicBezTo>
                    <a:pt x="830" y="723"/>
                    <a:pt x="831" y="723"/>
                    <a:pt x="832" y="724"/>
                  </a:cubicBezTo>
                  <a:lnTo>
                    <a:pt x="923" y="816"/>
                  </a:lnTo>
                  <a:cubicBezTo>
                    <a:pt x="925" y="817"/>
                    <a:pt x="926" y="818"/>
                    <a:pt x="926" y="820"/>
                  </a:cubicBezTo>
                  <a:cubicBezTo>
                    <a:pt x="927" y="821"/>
                    <a:pt x="927" y="822"/>
                    <a:pt x="927" y="824"/>
                  </a:cubicBezTo>
                  <a:cubicBezTo>
                    <a:pt x="927" y="826"/>
                    <a:pt x="927" y="827"/>
                    <a:pt x="926" y="829"/>
                  </a:cubicBezTo>
                  <a:cubicBezTo>
                    <a:pt x="925" y="831"/>
                    <a:pt x="923" y="832"/>
                    <a:pt x="921" y="834"/>
                  </a:cubicBezTo>
                  <a:lnTo>
                    <a:pt x="916" y="840"/>
                  </a:lnTo>
                  <a:cubicBezTo>
                    <a:pt x="914" y="842"/>
                    <a:pt x="912" y="843"/>
                    <a:pt x="911" y="844"/>
                  </a:cubicBezTo>
                  <a:cubicBezTo>
                    <a:pt x="909" y="846"/>
                    <a:pt x="907" y="847"/>
                    <a:pt x="905" y="847"/>
                  </a:cubicBezTo>
                  <a:cubicBezTo>
                    <a:pt x="904" y="848"/>
                    <a:pt x="902" y="849"/>
                    <a:pt x="899" y="850"/>
                  </a:cubicBezTo>
                  <a:cubicBezTo>
                    <a:pt x="897" y="851"/>
                    <a:pt x="894" y="851"/>
                    <a:pt x="891" y="852"/>
                  </a:cubicBezTo>
                  <a:lnTo>
                    <a:pt x="712" y="891"/>
                  </a:lnTo>
                  <a:lnTo>
                    <a:pt x="787" y="966"/>
                  </a:lnTo>
                  <a:cubicBezTo>
                    <a:pt x="788" y="967"/>
                    <a:pt x="788" y="968"/>
                    <a:pt x="789" y="969"/>
                  </a:cubicBezTo>
                  <a:cubicBezTo>
                    <a:pt x="789" y="970"/>
                    <a:pt x="789" y="972"/>
                    <a:pt x="788" y="973"/>
                  </a:cubicBezTo>
                  <a:cubicBezTo>
                    <a:pt x="788" y="975"/>
                    <a:pt x="787" y="976"/>
                    <a:pt x="786" y="978"/>
                  </a:cubicBezTo>
                  <a:cubicBezTo>
                    <a:pt x="785" y="980"/>
                    <a:pt x="783" y="982"/>
                    <a:pt x="781" y="985"/>
                  </a:cubicBezTo>
                  <a:close/>
                  <a:moveTo>
                    <a:pt x="1041" y="1087"/>
                  </a:moveTo>
                  <a:cubicBezTo>
                    <a:pt x="1036" y="1092"/>
                    <a:pt x="1032" y="1094"/>
                    <a:pt x="1027" y="1094"/>
                  </a:cubicBezTo>
                  <a:cubicBezTo>
                    <a:pt x="1023" y="1093"/>
                    <a:pt x="1019" y="1092"/>
                    <a:pt x="1017" y="1089"/>
                  </a:cubicBezTo>
                  <a:lnTo>
                    <a:pt x="912" y="984"/>
                  </a:lnTo>
                  <a:cubicBezTo>
                    <a:pt x="903" y="993"/>
                    <a:pt x="896" y="1002"/>
                    <a:pt x="891" y="1011"/>
                  </a:cubicBezTo>
                  <a:cubicBezTo>
                    <a:pt x="885" y="1019"/>
                    <a:pt x="882" y="1028"/>
                    <a:pt x="881" y="1038"/>
                  </a:cubicBezTo>
                  <a:cubicBezTo>
                    <a:pt x="880" y="1047"/>
                    <a:pt x="882" y="1056"/>
                    <a:pt x="886" y="1065"/>
                  </a:cubicBezTo>
                  <a:cubicBezTo>
                    <a:pt x="890" y="1075"/>
                    <a:pt x="896" y="1084"/>
                    <a:pt x="906" y="1094"/>
                  </a:cubicBezTo>
                  <a:cubicBezTo>
                    <a:pt x="914" y="1101"/>
                    <a:pt x="921" y="1108"/>
                    <a:pt x="928" y="1112"/>
                  </a:cubicBezTo>
                  <a:cubicBezTo>
                    <a:pt x="935" y="1117"/>
                    <a:pt x="942" y="1121"/>
                    <a:pt x="948" y="1123"/>
                  </a:cubicBezTo>
                  <a:cubicBezTo>
                    <a:pt x="953" y="1126"/>
                    <a:pt x="958" y="1128"/>
                    <a:pt x="962" y="1130"/>
                  </a:cubicBezTo>
                  <a:cubicBezTo>
                    <a:pt x="966" y="1132"/>
                    <a:pt x="969" y="1133"/>
                    <a:pt x="971" y="1134"/>
                  </a:cubicBezTo>
                  <a:cubicBezTo>
                    <a:pt x="971" y="1135"/>
                    <a:pt x="972" y="1136"/>
                    <a:pt x="972" y="1137"/>
                  </a:cubicBezTo>
                  <a:cubicBezTo>
                    <a:pt x="972" y="1138"/>
                    <a:pt x="972" y="1139"/>
                    <a:pt x="972" y="1141"/>
                  </a:cubicBezTo>
                  <a:cubicBezTo>
                    <a:pt x="971" y="1142"/>
                    <a:pt x="970" y="1143"/>
                    <a:pt x="969" y="1145"/>
                  </a:cubicBezTo>
                  <a:cubicBezTo>
                    <a:pt x="968" y="1147"/>
                    <a:pt x="966" y="1148"/>
                    <a:pt x="964" y="1151"/>
                  </a:cubicBezTo>
                  <a:cubicBezTo>
                    <a:pt x="963" y="1152"/>
                    <a:pt x="961" y="1153"/>
                    <a:pt x="960" y="1154"/>
                  </a:cubicBezTo>
                  <a:cubicBezTo>
                    <a:pt x="959" y="1155"/>
                    <a:pt x="958" y="1156"/>
                    <a:pt x="956" y="1157"/>
                  </a:cubicBezTo>
                  <a:cubicBezTo>
                    <a:pt x="955" y="1158"/>
                    <a:pt x="954" y="1158"/>
                    <a:pt x="953" y="1158"/>
                  </a:cubicBezTo>
                  <a:cubicBezTo>
                    <a:pt x="952" y="1159"/>
                    <a:pt x="951" y="1159"/>
                    <a:pt x="950" y="1159"/>
                  </a:cubicBezTo>
                  <a:cubicBezTo>
                    <a:pt x="948" y="1159"/>
                    <a:pt x="945" y="1158"/>
                    <a:pt x="941" y="1156"/>
                  </a:cubicBezTo>
                  <a:cubicBezTo>
                    <a:pt x="936" y="1155"/>
                    <a:pt x="930" y="1152"/>
                    <a:pt x="924" y="1148"/>
                  </a:cubicBezTo>
                  <a:cubicBezTo>
                    <a:pt x="917" y="1145"/>
                    <a:pt x="910" y="1140"/>
                    <a:pt x="903" y="1134"/>
                  </a:cubicBezTo>
                  <a:cubicBezTo>
                    <a:pt x="895" y="1129"/>
                    <a:pt x="887" y="1122"/>
                    <a:pt x="880" y="1115"/>
                  </a:cubicBezTo>
                  <a:cubicBezTo>
                    <a:pt x="866" y="1102"/>
                    <a:pt x="857" y="1088"/>
                    <a:pt x="851" y="1075"/>
                  </a:cubicBezTo>
                  <a:cubicBezTo>
                    <a:pt x="844" y="1061"/>
                    <a:pt x="842" y="1048"/>
                    <a:pt x="842" y="1034"/>
                  </a:cubicBezTo>
                  <a:cubicBezTo>
                    <a:pt x="843" y="1020"/>
                    <a:pt x="847" y="1006"/>
                    <a:pt x="854" y="992"/>
                  </a:cubicBezTo>
                  <a:cubicBezTo>
                    <a:pt x="861" y="977"/>
                    <a:pt x="872" y="963"/>
                    <a:pt x="887" y="949"/>
                  </a:cubicBezTo>
                  <a:cubicBezTo>
                    <a:pt x="900" y="935"/>
                    <a:pt x="914" y="924"/>
                    <a:pt x="929" y="917"/>
                  </a:cubicBezTo>
                  <a:cubicBezTo>
                    <a:pt x="943" y="910"/>
                    <a:pt x="958" y="906"/>
                    <a:pt x="972" y="905"/>
                  </a:cubicBezTo>
                  <a:cubicBezTo>
                    <a:pt x="986" y="904"/>
                    <a:pt x="1000" y="906"/>
                    <a:pt x="1013" y="911"/>
                  </a:cubicBezTo>
                  <a:cubicBezTo>
                    <a:pt x="1027" y="917"/>
                    <a:pt x="1040" y="925"/>
                    <a:pt x="1051" y="937"/>
                  </a:cubicBezTo>
                  <a:cubicBezTo>
                    <a:pt x="1064" y="949"/>
                    <a:pt x="1072" y="962"/>
                    <a:pt x="1077" y="975"/>
                  </a:cubicBezTo>
                  <a:cubicBezTo>
                    <a:pt x="1082" y="988"/>
                    <a:pt x="1084" y="1000"/>
                    <a:pt x="1083" y="1013"/>
                  </a:cubicBezTo>
                  <a:cubicBezTo>
                    <a:pt x="1081" y="1025"/>
                    <a:pt x="1078" y="1037"/>
                    <a:pt x="1071" y="1049"/>
                  </a:cubicBezTo>
                  <a:cubicBezTo>
                    <a:pt x="1065" y="1061"/>
                    <a:pt x="1056" y="1072"/>
                    <a:pt x="1046" y="1082"/>
                  </a:cubicBezTo>
                  <a:lnTo>
                    <a:pt x="1041" y="1087"/>
                  </a:lnTo>
                  <a:close/>
                  <a:moveTo>
                    <a:pt x="1020" y="1049"/>
                  </a:moveTo>
                  <a:cubicBezTo>
                    <a:pt x="1036" y="1034"/>
                    <a:pt x="1044" y="1019"/>
                    <a:pt x="1046" y="1003"/>
                  </a:cubicBezTo>
                  <a:cubicBezTo>
                    <a:pt x="1047" y="987"/>
                    <a:pt x="1041" y="972"/>
                    <a:pt x="1027" y="958"/>
                  </a:cubicBezTo>
                  <a:cubicBezTo>
                    <a:pt x="1020" y="951"/>
                    <a:pt x="1012" y="946"/>
                    <a:pt x="1004" y="943"/>
                  </a:cubicBezTo>
                  <a:cubicBezTo>
                    <a:pt x="996" y="940"/>
                    <a:pt x="988" y="939"/>
                    <a:pt x="979" y="940"/>
                  </a:cubicBezTo>
                  <a:cubicBezTo>
                    <a:pt x="971" y="941"/>
                    <a:pt x="963" y="943"/>
                    <a:pt x="955" y="947"/>
                  </a:cubicBezTo>
                  <a:cubicBezTo>
                    <a:pt x="947" y="951"/>
                    <a:pt x="940" y="956"/>
                    <a:pt x="933" y="963"/>
                  </a:cubicBezTo>
                  <a:lnTo>
                    <a:pt x="1020" y="1049"/>
                  </a:lnTo>
                  <a:close/>
                  <a:moveTo>
                    <a:pt x="1294" y="1391"/>
                  </a:moveTo>
                  <a:cubicBezTo>
                    <a:pt x="1287" y="1398"/>
                    <a:pt x="1279" y="1404"/>
                    <a:pt x="1271" y="1408"/>
                  </a:cubicBezTo>
                  <a:cubicBezTo>
                    <a:pt x="1263" y="1413"/>
                    <a:pt x="1255" y="1416"/>
                    <a:pt x="1247" y="1417"/>
                  </a:cubicBezTo>
                  <a:cubicBezTo>
                    <a:pt x="1239" y="1419"/>
                    <a:pt x="1231" y="1419"/>
                    <a:pt x="1223" y="1418"/>
                  </a:cubicBezTo>
                  <a:cubicBezTo>
                    <a:pt x="1214" y="1417"/>
                    <a:pt x="1206" y="1415"/>
                    <a:pt x="1198" y="1411"/>
                  </a:cubicBezTo>
                  <a:cubicBezTo>
                    <a:pt x="1189" y="1408"/>
                    <a:pt x="1181" y="1404"/>
                    <a:pt x="1173" y="1398"/>
                  </a:cubicBezTo>
                  <a:cubicBezTo>
                    <a:pt x="1165" y="1393"/>
                    <a:pt x="1157" y="1386"/>
                    <a:pt x="1149" y="1377"/>
                  </a:cubicBezTo>
                  <a:lnTo>
                    <a:pt x="1089" y="1317"/>
                  </a:lnTo>
                  <a:cubicBezTo>
                    <a:pt x="1086" y="1315"/>
                    <a:pt x="1085" y="1311"/>
                    <a:pt x="1084" y="1307"/>
                  </a:cubicBezTo>
                  <a:cubicBezTo>
                    <a:pt x="1083" y="1303"/>
                    <a:pt x="1085" y="1298"/>
                    <a:pt x="1090" y="1294"/>
                  </a:cubicBezTo>
                  <a:lnTo>
                    <a:pt x="1294" y="1090"/>
                  </a:lnTo>
                  <a:cubicBezTo>
                    <a:pt x="1299" y="1085"/>
                    <a:pt x="1303" y="1083"/>
                    <a:pt x="1307" y="1084"/>
                  </a:cubicBezTo>
                  <a:cubicBezTo>
                    <a:pt x="1311" y="1084"/>
                    <a:pt x="1315" y="1086"/>
                    <a:pt x="1318" y="1089"/>
                  </a:cubicBezTo>
                  <a:lnTo>
                    <a:pt x="1370" y="1141"/>
                  </a:lnTo>
                  <a:cubicBezTo>
                    <a:pt x="1383" y="1154"/>
                    <a:pt x="1393" y="1167"/>
                    <a:pt x="1399" y="1178"/>
                  </a:cubicBezTo>
                  <a:cubicBezTo>
                    <a:pt x="1405" y="1189"/>
                    <a:pt x="1409" y="1200"/>
                    <a:pt x="1410" y="1211"/>
                  </a:cubicBezTo>
                  <a:cubicBezTo>
                    <a:pt x="1411" y="1222"/>
                    <a:pt x="1409" y="1232"/>
                    <a:pt x="1405" y="1243"/>
                  </a:cubicBezTo>
                  <a:cubicBezTo>
                    <a:pt x="1401" y="1253"/>
                    <a:pt x="1394" y="1262"/>
                    <a:pt x="1385" y="1271"/>
                  </a:cubicBezTo>
                  <a:cubicBezTo>
                    <a:pt x="1379" y="1277"/>
                    <a:pt x="1374" y="1281"/>
                    <a:pt x="1367" y="1285"/>
                  </a:cubicBezTo>
                  <a:cubicBezTo>
                    <a:pt x="1361" y="1289"/>
                    <a:pt x="1355" y="1291"/>
                    <a:pt x="1348" y="1293"/>
                  </a:cubicBezTo>
                  <a:cubicBezTo>
                    <a:pt x="1341" y="1295"/>
                    <a:pt x="1334" y="1295"/>
                    <a:pt x="1327" y="1295"/>
                  </a:cubicBezTo>
                  <a:cubicBezTo>
                    <a:pt x="1320" y="1294"/>
                    <a:pt x="1313" y="1292"/>
                    <a:pt x="1306" y="1290"/>
                  </a:cubicBezTo>
                  <a:cubicBezTo>
                    <a:pt x="1311" y="1297"/>
                    <a:pt x="1315" y="1305"/>
                    <a:pt x="1317" y="1314"/>
                  </a:cubicBezTo>
                  <a:cubicBezTo>
                    <a:pt x="1319" y="1322"/>
                    <a:pt x="1320" y="1331"/>
                    <a:pt x="1319" y="1340"/>
                  </a:cubicBezTo>
                  <a:cubicBezTo>
                    <a:pt x="1318" y="1349"/>
                    <a:pt x="1316" y="1358"/>
                    <a:pt x="1312" y="1366"/>
                  </a:cubicBezTo>
                  <a:cubicBezTo>
                    <a:pt x="1308" y="1375"/>
                    <a:pt x="1302" y="1384"/>
                    <a:pt x="1294" y="1391"/>
                  </a:cubicBezTo>
                  <a:close/>
                  <a:moveTo>
                    <a:pt x="1351" y="1243"/>
                  </a:moveTo>
                  <a:cubicBezTo>
                    <a:pt x="1356" y="1238"/>
                    <a:pt x="1360" y="1232"/>
                    <a:pt x="1363" y="1226"/>
                  </a:cubicBezTo>
                  <a:cubicBezTo>
                    <a:pt x="1366" y="1220"/>
                    <a:pt x="1368" y="1214"/>
                    <a:pt x="1367" y="1207"/>
                  </a:cubicBezTo>
                  <a:cubicBezTo>
                    <a:pt x="1367" y="1201"/>
                    <a:pt x="1365" y="1194"/>
                    <a:pt x="1362" y="1187"/>
                  </a:cubicBezTo>
                  <a:cubicBezTo>
                    <a:pt x="1358" y="1180"/>
                    <a:pt x="1352" y="1172"/>
                    <a:pt x="1343" y="1164"/>
                  </a:cubicBezTo>
                  <a:lnTo>
                    <a:pt x="1312" y="1132"/>
                  </a:lnTo>
                  <a:lnTo>
                    <a:pt x="1238" y="1206"/>
                  </a:lnTo>
                  <a:lnTo>
                    <a:pt x="1272" y="1241"/>
                  </a:lnTo>
                  <a:cubicBezTo>
                    <a:pt x="1280" y="1249"/>
                    <a:pt x="1288" y="1254"/>
                    <a:pt x="1294" y="1257"/>
                  </a:cubicBezTo>
                  <a:cubicBezTo>
                    <a:pt x="1301" y="1260"/>
                    <a:pt x="1308" y="1261"/>
                    <a:pt x="1315" y="1261"/>
                  </a:cubicBezTo>
                  <a:cubicBezTo>
                    <a:pt x="1321" y="1260"/>
                    <a:pt x="1328" y="1259"/>
                    <a:pt x="1334" y="1255"/>
                  </a:cubicBezTo>
                  <a:cubicBezTo>
                    <a:pt x="1340" y="1252"/>
                    <a:pt x="1346" y="1248"/>
                    <a:pt x="1351" y="1243"/>
                  </a:cubicBezTo>
                  <a:close/>
                  <a:moveTo>
                    <a:pt x="1260" y="1361"/>
                  </a:moveTo>
                  <a:cubicBezTo>
                    <a:pt x="1267" y="1354"/>
                    <a:pt x="1272" y="1347"/>
                    <a:pt x="1275" y="1340"/>
                  </a:cubicBezTo>
                  <a:cubicBezTo>
                    <a:pt x="1278" y="1332"/>
                    <a:pt x="1279" y="1325"/>
                    <a:pt x="1278" y="1317"/>
                  </a:cubicBezTo>
                  <a:cubicBezTo>
                    <a:pt x="1278" y="1309"/>
                    <a:pt x="1275" y="1302"/>
                    <a:pt x="1271" y="1293"/>
                  </a:cubicBezTo>
                  <a:cubicBezTo>
                    <a:pt x="1266" y="1285"/>
                    <a:pt x="1259" y="1276"/>
                    <a:pt x="1250" y="1267"/>
                  </a:cubicBezTo>
                  <a:lnTo>
                    <a:pt x="1214" y="1231"/>
                  </a:lnTo>
                  <a:lnTo>
                    <a:pt x="1133" y="1311"/>
                  </a:lnTo>
                  <a:lnTo>
                    <a:pt x="1177" y="1355"/>
                  </a:lnTo>
                  <a:cubicBezTo>
                    <a:pt x="1184" y="1362"/>
                    <a:pt x="1191" y="1367"/>
                    <a:pt x="1198" y="1371"/>
                  </a:cubicBezTo>
                  <a:cubicBezTo>
                    <a:pt x="1204" y="1375"/>
                    <a:pt x="1211" y="1377"/>
                    <a:pt x="1219" y="1377"/>
                  </a:cubicBezTo>
                  <a:cubicBezTo>
                    <a:pt x="1226" y="1378"/>
                    <a:pt x="1233" y="1377"/>
                    <a:pt x="1240" y="1375"/>
                  </a:cubicBezTo>
                  <a:cubicBezTo>
                    <a:pt x="1247" y="1372"/>
                    <a:pt x="1254" y="1367"/>
                    <a:pt x="1260" y="1361"/>
                  </a:cubicBezTo>
                  <a:close/>
                  <a:moveTo>
                    <a:pt x="1300" y="1520"/>
                  </a:moveTo>
                  <a:cubicBezTo>
                    <a:pt x="1299" y="1521"/>
                    <a:pt x="1298" y="1521"/>
                    <a:pt x="1297" y="1521"/>
                  </a:cubicBezTo>
                  <a:cubicBezTo>
                    <a:pt x="1296" y="1522"/>
                    <a:pt x="1295" y="1521"/>
                    <a:pt x="1293" y="1521"/>
                  </a:cubicBezTo>
                  <a:cubicBezTo>
                    <a:pt x="1292" y="1520"/>
                    <a:pt x="1290" y="1519"/>
                    <a:pt x="1288" y="1518"/>
                  </a:cubicBezTo>
                  <a:cubicBezTo>
                    <a:pt x="1285" y="1516"/>
                    <a:pt x="1283" y="1514"/>
                    <a:pt x="1280" y="1511"/>
                  </a:cubicBezTo>
                  <a:cubicBezTo>
                    <a:pt x="1277" y="1508"/>
                    <a:pt x="1275" y="1505"/>
                    <a:pt x="1273" y="1503"/>
                  </a:cubicBezTo>
                  <a:cubicBezTo>
                    <a:pt x="1272" y="1501"/>
                    <a:pt x="1270" y="1499"/>
                    <a:pt x="1270" y="1498"/>
                  </a:cubicBezTo>
                  <a:cubicBezTo>
                    <a:pt x="1269" y="1496"/>
                    <a:pt x="1269" y="1495"/>
                    <a:pt x="1269" y="1494"/>
                  </a:cubicBezTo>
                  <a:cubicBezTo>
                    <a:pt x="1269" y="1493"/>
                    <a:pt x="1270" y="1492"/>
                    <a:pt x="1271" y="1491"/>
                  </a:cubicBezTo>
                  <a:lnTo>
                    <a:pt x="1430" y="1332"/>
                  </a:lnTo>
                  <a:cubicBezTo>
                    <a:pt x="1431" y="1331"/>
                    <a:pt x="1432" y="1330"/>
                    <a:pt x="1433" y="1330"/>
                  </a:cubicBezTo>
                  <a:cubicBezTo>
                    <a:pt x="1434" y="1330"/>
                    <a:pt x="1435" y="1330"/>
                    <a:pt x="1437" y="1330"/>
                  </a:cubicBezTo>
                  <a:cubicBezTo>
                    <a:pt x="1439" y="1331"/>
                    <a:pt x="1440" y="1332"/>
                    <a:pt x="1443" y="1334"/>
                  </a:cubicBezTo>
                  <a:cubicBezTo>
                    <a:pt x="1445" y="1335"/>
                    <a:pt x="1447" y="1338"/>
                    <a:pt x="1450" y="1341"/>
                  </a:cubicBezTo>
                  <a:cubicBezTo>
                    <a:pt x="1453" y="1344"/>
                    <a:pt x="1455" y="1346"/>
                    <a:pt x="1457" y="1348"/>
                  </a:cubicBezTo>
                  <a:cubicBezTo>
                    <a:pt x="1459" y="1350"/>
                    <a:pt x="1460" y="1352"/>
                    <a:pt x="1460" y="1354"/>
                  </a:cubicBezTo>
                  <a:cubicBezTo>
                    <a:pt x="1461" y="1355"/>
                    <a:pt x="1461" y="1357"/>
                    <a:pt x="1461" y="1358"/>
                  </a:cubicBezTo>
                  <a:cubicBezTo>
                    <a:pt x="1461" y="1359"/>
                    <a:pt x="1460" y="1360"/>
                    <a:pt x="1459" y="1361"/>
                  </a:cubicBezTo>
                  <a:lnTo>
                    <a:pt x="1300" y="1520"/>
                  </a:lnTo>
                  <a:close/>
                  <a:moveTo>
                    <a:pt x="1516" y="1310"/>
                  </a:moveTo>
                  <a:cubicBezTo>
                    <a:pt x="1509" y="1317"/>
                    <a:pt x="1504" y="1321"/>
                    <a:pt x="1498" y="1320"/>
                  </a:cubicBezTo>
                  <a:cubicBezTo>
                    <a:pt x="1493" y="1320"/>
                    <a:pt x="1487" y="1317"/>
                    <a:pt x="1480" y="1310"/>
                  </a:cubicBezTo>
                  <a:cubicBezTo>
                    <a:pt x="1474" y="1303"/>
                    <a:pt x="1470" y="1297"/>
                    <a:pt x="1470" y="1292"/>
                  </a:cubicBezTo>
                  <a:cubicBezTo>
                    <a:pt x="1470" y="1287"/>
                    <a:pt x="1473" y="1281"/>
                    <a:pt x="1480" y="1275"/>
                  </a:cubicBezTo>
                  <a:cubicBezTo>
                    <a:pt x="1487" y="1268"/>
                    <a:pt x="1493" y="1264"/>
                    <a:pt x="1498" y="1265"/>
                  </a:cubicBezTo>
                  <a:cubicBezTo>
                    <a:pt x="1503" y="1265"/>
                    <a:pt x="1509" y="1268"/>
                    <a:pt x="1516" y="1275"/>
                  </a:cubicBezTo>
                  <a:cubicBezTo>
                    <a:pt x="1523" y="1282"/>
                    <a:pt x="1526" y="1288"/>
                    <a:pt x="1526" y="1293"/>
                  </a:cubicBezTo>
                  <a:cubicBezTo>
                    <a:pt x="1526" y="1298"/>
                    <a:pt x="1523" y="1304"/>
                    <a:pt x="1516" y="1310"/>
                  </a:cubicBezTo>
                  <a:close/>
                  <a:moveTo>
                    <a:pt x="1505" y="1638"/>
                  </a:moveTo>
                  <a:cubicBezTo>
                    <a:pt x="1497" y="1646"/>
                    <a:pt x="1488" y="1652"/>
                    <a:pt x="1478" y="1655"/>
                  </a:cubicBezTo>
                  <a:cubicBezTo>
                    <a:pt x="1469" y="1658"/>
                    <a:pt x="1459" y="1659"/>
                    <a:pt x="1449" y="1658"/>
                  </a:cubicBezTo>
                  <a:cubicBezTo>
                    <a:pt x="1440" y="1657"/>
                    <a:pt x="1430" y="1654"/>
                    <a:pt x="1420" y="1648"/>
                  </a:cubicBezTo>
                  <a:cubicBezTo>
                    <a:pt x="1410" y="1643"/>
                    <a:pt x="1400" y="1636"/>
                    <a:pt x="1391" y="1626"/>
                  </a:cubicBezTo>
                  <a:cubicBezTo>
                    <a:pt x="1386" y="1621"/>
                    <a:pt x="1381" y="1615"/>
                    <a:pt x="1376" y="1609"/>
                  </a:cubicBezTo>
                  <a:cubicBezTo>
                    <a:pt x="1372" y="1603"/>
                    <a:pt x="1369" y="1597"/>
                    <a:pt x="1366" y="1592"/>
                  </a:cubicBezTo>
                  <a:cubicBezTo>
                    <a:pt x="1363" y="1586"/>
                    <a:pt x="1361" y="1581"/>
                    <a:pt x="1360" y="1577"/>
                  </a:cubicBezTo>
                  <a:cubicBezTo>
                    <a:pt x="1358" y="1573"/>
                    <a:pt x="1358" y="1569"/>
                    <a:pt x="1358" y="1567"/>
                  </a:cubicBezTo>
                  <a:cubicBezTo>
                    <a:pt x="1357" y="1565"/>
                    <a:pt x="1358" y="1562"/>
                    <a:pt x="1360" y="1559"/>
                  </a:cubicBezTo>
                  <a:cubicBezTo>
                    <a:pt x="1361" y="1557"/>
                    <a:pt x="1364" y="1553"/>
                    <a:pt x="1367" y="1550"/>
                  </a:cubicBezTo>
                  <a:cubicBezTo>
                    <a:pt x="1370" y="1547"/>
                    <a:pt x="1372" y="1546"/>
                    <a:pt x="1373" y="1544"/>
                  </a:cubicBezTo>
                  <a:cubicBezTo>
                    <a:pt x="1375" y="1543"/>
                    <a:pt x="1377" y="1542"/>
                    <a:pt x="1378" y="1542"/>
                  </a:cubicBezTo>
                  <a:cubicBezTo>
                    <a:pt x="1379" y="1541"/>
                    <a:pt x="1381" y="1541"/>
                    <a:pt x="1382" y="1541"/>
                  </a:cubicBezTo>
                  <a:cubicBezTo>
                    <a:pt x="1383" y="1541"/>
                    <a:pt x="1384" y="1542"/>
                    <a:pt x="1384" y="1543"/>
                  </a:cubicBezTo>
                  <a:cubicBezTo>
                    <a:pt x="1386" y="1544"/>
                    <a:pt x="1387" y="1547"/>
                    <a:pt x="1388" y="1551"/>
                  </a:cubicBezTo>
                  <a:cubicBezTo>
                    <a:pt x="1389" y="1555"/>
                    <a:pt x="1390" y="1560"/>
                    <a:pt x="1392" y="1565"/>
                  </a:cubicBezTo>
                  <a:cubicBezTo>
                    <a:pt x="1394" y="1571"/>
                    <a:pt x="1396" y="1577"/>
                    <a:pt x="1400" y="1584"/>
                  </a:cubicBezTo>
                  <a:cubicBezTo>
                    <a:pt x="1403" y="1590"/>
                    <a:pt x="1408" y="1597"/>
                    <a:pt x="1415" y="1604"/>
                  </a:cubicBezTo>
                  <a:cubicBezTo>
                    <a:pt x="1420" y="1609"/>
                    <a:pt x="1425" y="1613"/>
                    <a:pt x="1430" y="1615"/>
                  </a:cubicBezTo>
                  <a:cubicBezTo>
                    <a:pt x="1435" y="1618"/>
                    <a:pt x="1440" y="1620"/>
                    <a:pt x="1445" y="1621"/>
                  </a:cubicBezTo>
                  <a:cubicBezTo>
                    <a:pt x="1450" y="1622"/>
                    <a:pt x="1455" y="1622"/>
                    <a:pt x="1460" y="1620"/>
                  </a:cubicBezTo>
                  <a:cubicBezTo>
                    <a:pt x="1465" y="1619"/>
                    <a:pt x="1469" y="1616"/>
                    <a:pt x="1474" y="1611"/>
                  </a:cubicBezTo>
                  <a:cubicBezTo>
                    <a:pt x="1478" y="1607"/>
                    <a:pt x="1481" y="1602"/>
                    <a:pt x="1481" y="1596"/>
                  </a:cubicBezTo>
                  <a:cubicBezTo>
                    <a:pt x="1482" y="1591"/>
                    <a:pt x="1482" y="1585"/>
                    <a:pt x="1480" y="1579"/>
                  </a:cubicBezTo>
                  <a:cubicBezTo>
                    <a:pt x="1479" y="1573"/>
                    <a:pt x="1477" y="1567"/>
                    <a:pt x="1474" y="1560"/>
                  </a:cubicBezTo>
                  <a:cubicBezTo>
                    <a:pt x="1471" y="1554"/>
                    <a:pt x="1468" y="1547"/>
                    <a:pt x="1465" y="1540"/>
                  </a:cubicBezTo>
                  <a:cubicBezTo>
                    <a:pt x="1462" y="1533"/>
                    <a:pt x="1460" y="1526"/>
                    <a:pt x="1457" y="1518"/>
                  </a:cubicBezTo>
                  <a:cubicBezTo>
                    <a:pt x="1455" y="1511"/>
                    <a:pt x="1454" y="1504"/>
                    <a:pt x="1454" y="1496"/>
                  </a:cubicBezTo>
                  <a:cubicBezTo>
                    <a:pt x="1454" y="1489"/>
                    <a:pt x="1455" y="1481"/>
                    <a:pt x="1458" y="1474"/>
                  </a:cubicBezTo>
                  <a:cubicBezTo>
                    <a:pt x="1460" y="1467"/>
                    <a:pt x="1465" y="1460"/>
                    <a:pt x="1472" y="1452"/>
                  </a:cubicBezTo>
                  <a:cubicBezTo>
                    <a:pt x="1479" y="1446"/>
                    <a:pt x="1486" y="1441"/>
                    <a:pt x="1494" y="1438"/>
                  </a:cubicBezTo>
                  <a:cubicBezTo>
                    <a:pt x="1502" y="1435"/>
                    <a:pt x="1511" y="1433"/>
                    <a:pt x="1520" y="1434"/>
                  </a:cubicBezTo>
                  <a:cubicBezTo>
                    <a:pt x="1529" y="1435"/>
                    <a:pt x="1539" y="1437"/>
                    <a:pt x="1548" y="1442"/>
                  </a:cubicBezTo>
                  <a:cubicBezTo>
                    <a:pt x="1558" y="1446"/>
                    <a:pt x="1568" y="1454"/>
                    <a:pt x="1578" y="1463"/>
                  </a:cubicBezTo>
                  <a:cubicBezTo>
                    <a:pt x="1582" y="1467"/>
                    <a:pt x="1586" y="1472"/>
                    <a:pt x="1589" y="1477"/>
                  </a:cubicBezTo>
                  <a:cubicBezTo>
                    <a:pt x="1593" y="1482"/>
                    <a:pt x="1596" y="1487"/>
                    <a:pt x="1598" y="1491"/>
                  </a:cubicBezTo>
                  <a:cubicBezTo>
                    <a:pt x="1601" y="1496"/>
                    <a:pt x="1602" y="1500"/>
                    <a:pt x="1603" y="1503"/>
                  </a:cubicBezTo>
                  <a:cubicBezTo>
                    <a:pt x="1605" y="1507"/>
                    <a:pt x="1605" y="1510"/>
                    <a:pt x="1606" y="1512"/>
                  </a:cubicBezTo>
                  <a:cubicBezTo>
                    <a:pt x="1606" y="1514"/>
                    <a:pt x="1606" y="1516"/>
                    <a:pt x="1606" y="1517"/>
                  </a:cubicBezTo>
                  <a:cubicBezTo>
                    <a:pt x="1605" y="1518"/>
                    <a:pt x="1605" y="1519"/>
                    <a:pt x="1604" y="1520"/>
                  </a:cubicBezTo>
                  <a:cubicBezTo>
                    <a:pt x="1603" y="1521"/>
                    <a:pt x="1603" y="1523"/>
                    <a:pt x="1601" y="1524"/>
                  </a:cubicBezTo>
                  <a:cubicBezTo>
                    <a:pt x="1600" y="1526"/>
                    <a:pt x="1599" y="1527"/>
                    <a:pt x="1597" y="1529"/>
                  </a:cubicBezTo>
                  <a:cubicBezTo>
                    <a:pt x="1595" y="1531"/>
                    <a:pt x="1593" y="1533"/>
                    <a:pt x="1591" y="1534"/>
                  </a:cubicBezTo>
                  <a:cubicBezTo>
                    <a:pt x="1590" y="1535"/>
                    <a:pt x="1588" y="1536"/>
                    <a:pt x="1587" y="1537"/>
                  </a:cubicBezTo>
                  <a:cubicBezTo>
                    <a:pt x="1586" y="1537"/>
                    <a:pt x="1584" y="1538"/>
                    <a:pt x="1583" y="1537"/>
                  </a:cubicBezTo>
                  <a:cubicBezTo>
                    <a:pt x="1582" y="1537"/>
                    <a:pt x="1582" y="1537"/>
                    <a:pt x="1581" y="1536"/>
                  </a:cubicBezTo>
                  <a:cubicBezTo>
                    <a:pt x="1580" y="1535"/>
                    <a:pt x="1579" y="1533"/>
                    <a:pt x="1578" y="1530"/>
                  </a:cubicBezTo>
                  <a:cubicBezTo>
                    <a:pt x="1577" y="1526"/>
                    <a:pt x="1576" y="1522"/>
                    <a:pt x="1575" y="1518"/>
                  </a:cubicBezTo>
                  <a:cubicBezTo>
                    <a:pt x="1573" y="1513"/>
                    <a:pt x="1571" y="1508"/>
                    <a:pt x="1567" y="1502"/>
                  </a:cubicBezTo>
                  <a:cubicBezTo>
                    <a:pt x="1564" y="1497"/>
                    <a:pt x="1560" y="1491"/>
                    <a:pt x="1555" y="1486"/>
                  </a:cubicBezTo>
                  <a:cubicBezTo>
                    <a:pt x="1550" y="1481"/>
                    <a:pt x="1545" y="1477"/>
                    <a:pt x="1540" y="1474"/>
                  </a:cubicBezTo>
                  <a:cubicBezTo>
                    <a:pt x="1535" y="1471"/>
                    <a:pt x="1530" y="1470"/>
                    <a:pt x="1526" y="1470"/>
                  </a:cubicBezTo>
                  <a:cubicBezTo>
                    <a:pt x="1521" y="1469"/>
                    <a:pt x="1517" y="1470"/>
                    <a:pt x="1513" y="1471"/>
                  </a:cubicBezTo>
                  <a:cubicBezTo>
                    <a:pt x="1509" y="1473"/>
                    <a:pt x="1505" y="1476"/>
                    <a:pt x="1502" y="1479"/>
                  </a:cubicBezTo>
                  <a:cubicBezTo>
                    <a:pt x="1497" y="1483"/>
                    <a:pt x="1495" y="1488"/>
                    <a:pt x="1494" y="1494"/>
                  </a:cubicBezTo>
                  <a:cubicBezTo>
                    <a:pt x="1493" y="1499"/>
                    <a:pt x="1494" y="1505"/>
                    <a:pt x="1495" y="1511"/>
                  </a:cubicBezTo>
                  <a:cubicBezTo>
                    <a:pt x="1496" y="1517"/>
                    <a:pt x="1499" y="1524"/>
                    <a:pt x="1501" y="1531"/>
                  </a:cubicBezTo>
                  <a:cubicBezTo>
                    <a:pt x="1504" y="1537"/>
                    <a:pt x="1507" y="1544"/>
                    <a:pt x="1510" y="1551"/>
                  </a:cubicBezTo>
                  <a:cubicBezTo>
                    <a:pt x="1513" y="1558"/>
                    <a:pt x="1516" y="1565"/>
                    <a:pt x="1519" y="1573"/>
                  </a:cubicBezTo>
                  <a:cubicBezTo>
                    <a:pt x="1521" y="1580"/>
                    <a:pt x="1522" y="1587"/>
                    <a:pt x="1523" y="1595"/>
                  </a:cubicBezTo>
                  <a:cubicBezTo>
                    <a:pt x="1523" y="1602"/>
                    <a:pt x="1522" y="1609"/>
                    <a:pt x="1519" y="1617"/>
                  </a:cubicBezTo>
                  <a:cubicBezTo>
                    <a:pt x="1516" y="1624"/>
                    <a:pt x="1511" y="1631"/>
                    <a:pt x="1505" y="1638"/>
                  </a:cubicBezTo>
                  <a:close/>
                  <a:moveTo>
                    <a:pt x="1628" y="1847"/>
                  </a:moveTo>
                  <a:cubicBezTo>
                    <a:pt x="1627" y="1848"/>
                    <a:pt x="1626" y="1849"/>
                    <a:pt x="1625" y="1849"/>
                  </a:cubicBezTo>
                  <a:cubicBezTo>
                    <a:pt x="1624" y="1849"/>
                    <a:pt x="1622" y="1849"/>
                    <a:pt x="1621" y="1849"/>
                  </a:cubicBezTo>
                  <a:cubicBezTo>
                    <a:pt x="1619" y="1848"/>
                    <a:pt x="1617" y="1847"/>
                    <a:pt x="1615" y="1845"/>
                  </a:cubicBezTo>
                  <a:cubicBezTo>
                    <a:pt x="1613" y="1843"/>
                    <a:pt x="1610" y="1841"/>
                    <a:pt x="1607" y="1838"/>
                  </a:cubicBezTo>
                  <a:cubicBezTo>
                    <a:pt x="1604" y="1834"/>
                    <a:pt x="1601" y="1832"/>
                    <a:pt x="1599" y="1830"/>
                  </a:cubicBezTo>
                  <a:cubicBezTo>
                    <a:pt x="1598" y="1827"/>
                    <a:pt x="1596" y="1825"/>
                    <a:pt x="1595" y="1823"/>
                  </a:cubicBezTo>
                  <a:cubicBezTo>
                    <a:pt x="1594" y="1822"/>
                    <a:pt x="1594" y="1820"/>
                    <a:pt x="1593" y="1818"/>
                  </a:cubicBezTo>
                  <a:cubicBezTo>
                    <a:pt x="1593" y="1817"/>
                    <a:pt x="1593" y="1815"/>
                    <a:pt x="1594" y="1813"/>
                  </a:cubicBezTo>
                  <a:lnTo>
                    <a:pt x="1615" y="1658"/>
                  </a:lnTo>
                  <a:lnTo>
                    <a:pt x="1526" y="1746"/>
                  </a:lnTo>
                  <a:cubicBezTo>
                    <a:pt x="1525" y="1747"/>
                    <a:pt x="1524" y="1748"/>
                    <a:pt x="1523" y="1748"/>
                  </a:cubicBezTo>
                  <a:cubicBezTo>
                    <a:pt x="1522" y="1748"/>
                    <a:pt x="1521" y="1748"/>
                    <a:pt x="1519" y="1747"/>
                  </a:cubicBezTo>
                  <a:cubicBezTo>
                    <a:pt x="1518" y="1747"/>
                    <a:pt x="1516" y="1745"/>
                    <a:pt x="1514" y="1744"/>
                  </a:cubicBezTo>
                  <a:cubicBezTo>
                    <a:pt x="1512" y="1742"/>
                    <a:pt x="1509" y="1740"/>
                    <a:pt x="1506" y="1737"/>
                  </a:cubicBezTo>
                  <a:cubicBezTo>
                    <a:pt x="1503" y="1734"/>
                    <a:pt x="1501" y="1732"/>
                    <a:pt x="1500" y="1729"/>
                  </a:cubicBezTo>
                  <a:cubicBezTo>
                    <a:pt x="1498" y="1727"/>
                    <a:pt x="1497" y="1725"/>
                    <a:pt x="1496" y="1724"/>
                  </a:cubicBezTo>
                  <a:cubicBezTo>
                    <a:pt x="1495" y="1722"/>
                    <a:pt x="1495" y="1721"/>
                    <a:pt x="1495" y="1720"/>
                  </a:cubicBezTo>
                  <a:cubicBezTo>
                    <a:pt x="1496" y="1719"/>
                    <a:pt x="1496" y="1718"/>
                    <a:pt x="1497" y="1717"/>
                  </a:cubicBezTo>
                  <a:lnTo>
                    <a:pt x="1733" y="1481"/>
                  </a:lnTo>
                  <a:cubicBezTo>
                    <a:pt x="1734" y="1480"/>
                    <a:pt x="1735" y="1479"/>
                    <a:pt x="1736" y="1479"/>
                  </a:cubicBezTo>
                  <a:cubicBezTo>
                    <a:pt x="1738" y="1479"/>
                    <a:pt x="1739" y="1479"/>
                    <a:pt x="1741" y="1479"/>
                  </a:cubicBezTo>
                  <a:cubicBezTo>
                    <a:pt x="1742" y="1480"/>
                    <a:pt x="1744" y="1481"/>
                    <a:pt x="1746" y="1483"/>
                  </a:cubicBezTo>
                  <a:cubicBezTo>
                    <a:pt x="1748" y="1485"/>
                    <a:pt x="1751" y="1487"/>
                    <a:pt x="1754" y="1490"/>
                  </a:cubicBezTo>
                  <a:cubicBezTo>
                    <a:pt x="1757" y="1493"/>
                    <a:pt x="1759" y="1495"/>
                    <a:pt x="1760" y="1497"/>
                  </a:cubicBezTo>
                  <a:cubicBezTo>
                    <a:pt x="1762" y="1499"/>
                    <a:pt x="1763" y="1501"/>
                    <a:pt x="1764" y="1503"/>
                  </a:cubicBezTo>
                  <a:cubicBezTo>
                    <a:pt x="1764" y="1504"/>
                    <a:pt x="1765" y="1506"/>
                    <a:pt x="1764" y="1507"/>
                  </a:cubicBezTo>
                  <a:cubicBezTo>
                    <a:pt x="1764" y="1508"/>
                    <a:pt x="1764" y="1509"/>
                    <a:pt x="1763" y="1510"/>
                  </a:cubicBezTo>
                  <a:lnTo>
                    <a:pt x="1619" y="1654"/>
                  </a:lnTo>
                  <a:lnTo>
                    <a:pt x="1745" y="1648"/>
                  </a:lnTo>
                  <a:cubicBezTo>
                    <a:pt x="1747" y="1648"/>
                    <a:pt x="1749" y="1648"/>
                    <a:pt x="1751" y="1648"/>
                  </a:cubicBezTo>
                  <a:cubicBezTo>
                    <a:pt x="1753" y="1648"/>
                    <a:pt x="1755" y="1649"/>
                    <a:pt x="1757" y="1650"/>
                  </a:cubicBezTo>
                  <a:cubicBezTo>
                    <a:pt x="1759" y="1651"/>
                    <a:pt x="1761" y="1652"/>
                    <a:pt x="1763" y="1654"/>
                  </a:cubicBezTo>
                  <a:cubicBezTo>
                    <a:pt x="1765" y="1656"/>
                    <a:pt x="1768" y="1658"/>
                    <a:pt x="1770" y="1661"/>
                  </a:cubicBezTo>
                  <a:cubicBezTo>
                    <a:pt x="1773" y="1664"/>
                    <a:pt x="1776" y="1666"/>
                    <a:pt x="1778" y="1669"/>
                  </a:cubicBezTo>
                  <a:cubicBezTo>
                    <a:pt x="1779" y="1671"/>
                    <a:pt x="1781" y="1673"/>
                    <a:pt x="1781" y="1674"/>
                  </a:cubicBezTo>
                  <a:cubicBezTo>
                    <a:pt x="1782" y="1676"/>
                    <a:pt x="1783" y="1677"/>
                    <a:pt x="1783" y="1679"/>
                  </a:cubicBezTo>
                  <a:cubicBezTo>
                    <a:pt x="1782" y="1680"/>
                    <a:pt x="1782" y="1681"/>
                    <a:pt x="1781" y="1682"/>
                  </a:cubicBezTo>
                  <a:cubicBezTo>
                    <a:pt x="1779" y="1683"/>
                    <a:pt x="1778" y="1684"/>
                    <a:pt x="1775" y="1685"/>
                  </a:cubicBezTo>
                  <a:cubicBezTo>
                    <a:pt x="1773" y="1686"/>
                    <a:pt x="1770" y="1686"/>
                    <a:pt x="1767" y="1686"/>
                  </a:cubicBezTo>
                  <a:lnTo>
                    <a:pt x="1651" y="1686"/>
                  </a:lnTo>
                  <a:lnTo>
                    <a:pt x="1632" y="1835"/>
                  </a:lnTo>
                  <a:cubicBezTo>
                    <a:pt x="1632" y="1838"/>
                    <a:pt x="1631" y="1841"/>
                    <a:pt x="1631" y="1843"/>
                  </a:cubicBezTo>
                  <a:cubicBezTo>
                    <a:pt x="1630" y="1845"/>
                    <a:pt x="1629" y="1846"/>
                    <a:pt x="1628" y="1847"/>
                  </a:cubicBezTo>
                  <a:close/>
                  <a:moveTo>
                    <a:pt x="1803" y="2023"/>
                  </a:moveTo>
                  <a:cubicBezTo>
                    <a:pt x="1802" y="2024"/>
                    <a:pt x="1801" y="2024"/>
                    <a:pt x="1800" y="2025"/>
                  </a:cubicBezTo>
                  <a:cubicBezTo>
                    <a:pt x="1799" y="2025"/>
                    <a:pt x="1798" y="2025"/>
                    <a:pt x="1796" y="2024"/>
                  </a:cubicBezTo>
                  <a:cubicBezTo>
                    <a:pt x="1795" y="2024"/>
                    <a:pt x="1793" y="2023"/>
                    <a:pt x="1791" y="2021"/>
                  </a:cubicBezTo>
                  <a:cubicBezTo>
                    <a:pt x="1789" y="2020"/>
                    <a:pt x="1787" y="2018"/>
                    <a:pt x="1784" y="2015"/>
                  </a:cubicBezTo>
                  <a:cubicBezTo>
                    <a:pt x="1782" y="2012"/>
                    <a:pt x="1780" y="2010"/>
                    <a:pt x="1778" y="2008"/>
                  </a:cubicBezTo>
                  <a:cubicBezTo>
                    <a:pt x="1777" y="2006"/>
                    <a:pt x="1776" y="2005"/>
                    <a:pt x="1775" y="2003"/>
                  </a:cubicBezTo>
                  <a:cubicBezTo>
                    <a:pt x="1775" y="2002"/>
                    <a:pt x="1775" y="2000"/>
                    <a:pt x="1775" y="1999"/>
                  </a:cubicBezTo>
                  <a:cubicBezTo>
                    <a:pt x="1775" y="1998"/>
                    <a:pt x="1776" y="1997"/>
                    <a:pt x="1777" y="1996"/>
                  </a:cubicBezTo>
                  <a:lnTo>
                    <a:pt x="1798" y="1975"/>
                  </a:lnTo>
                  <a:cubicBezTo>
                    <a:pt x="1779" y="1976"/>
                    <a:pt x="1762" y="1975"/>
                    <a:pt x="1749" y="1970"/>
                  </a:cubicBezTo>
                  <a:cubicBezTo>
                    <a:pt x="1736" y="1966"/>
                    <a:pt x="1724" y="1960"/>
                    <a:pt x="1715" y="1950"/>
                  </a:cubicBezTo>
                  <a:cubicBezTo>
                    <a:pt x="1705" y="1940"/>
                    <a:pt x="1697" y="1929"/>
                    <a:pt x="1694" y="1918"/>
                  </a:cubicBezTo>
                  <a:cubicBezTo>
                    <a:pt x="1690" y="1908"/>
                    <a:pt x="1689" y="1897"/>
                    <a:pt x="1691" y="1886"/>
                  </a:cubicBezTo>
                  <a:cubicBezTo>
                    <a:pt x="1692" y="1876"/>
                    <a:pt x="1696" y="1866"/>
                    <a:pt x="1702" y="1856"/>
                  </a:cubicBezTo>
                  <a:cubicBezTo>
                    <a:pt x="1708" y="1845"/>
                    <a:pt x="1717" y="1835"/>
                    <a:pt x="1729" y="1823"/>
                  </a:cubicBezTo>
                  <a:lnTo>
                    <a:pt x="1825" y="1727"/>
                  </a:lnTo>
                  <a:cubicBezTo>
                    <a:pt x="1826" y="1726"/>
                    <a:pt x="1827" y="1725"/>
                    <a:pt x="1828" y="1725"/>
                  </a:cubicBezTo>
                  <a:cubicBezTo>
                    <a:pt x="1829" y="1725"/>
                    <a:pt x="1831" y="1725"/>
                    <a:pt x="1832" y="1725"/>
                  </a:cubicBezTo>
                  <a:cubicBezTo>
                    <a:pt x="1834" y="1726"/>
                    <a:pt x="1836" y="1727"/>
                    <a:pt x="1838" y="1729"/>
                  </a:cubicBezTo>
                  <a:cubicBezTo>
                    <a:pt x="1840" y="1731"/>
                    <a:pt x="1842" y="1733"/>
                    <a:pt x="1845" y="1736"/>
                  </a:cubicBezTo>
                  <a:cubicBezTo>
                    <a:pt x="1848" y="1739"/>
                    <a:pt x="1850" y="1741"/>
                    <a:pt x="1852" y="1743"/>
                  </a:cubicBezTo>
                  <a:cubicBezTo>
                    <a:pt x="1854" y="1745"/>
                    <a:pt x="1855" y="1747"/>
                    <a:pt x="1856" y="1749"/>
                  </a:cubicBezTo>
                  <a:cubicBezTo>
                    <a:pt x="1856" y="1750"/>
                    <a:pt x="1856" y="1752"/>
                    <a:pt x="1856" y="1753"/>
                  </a:cubicBezTo>
                  <a:cubicBezTo>
                    <a:pt x="1856" y="1754"/>
                    <a:pt x="1855" y="1755"/>
                    <a:pt x="1854" y="1756"/>
                  </a:cubicBezTo>
                  <a:lnTo>
                    <a:pt x="1762" y="1849"/>
                  </a:lnTo>
                  <a:cubicBezTo>
                    <a:pt x="1753" y="1858"/>
                    <a:pt x="1746" y="1866"/>
                    <a:pt x="1742" y="1873"/>
                  </a:cubicBezTo>
                  <a:cubicBezTo>
                    <a:pt x="1737" y="1880"/>
                    <a:pt x="1735" y="1887"/>
                    <a:pt x="1733" y="1894"/>
                  </a:cubicBezTo>
                  <a:cubicBezTo>
                    <a:pt x="1732" y="1900"/>
                    <a:pt x="1733" y="1907"/>
                    <a:pt x="1735" y="1913"/>
                  </a:cubicBezTo>
                  <a:cubicBezTo>
                    <a:pt x="1737" y="1920"/>
                    <a:pt x="1741" y="1926"/>
                    <a:pt x="1746" y="1931"/>
                  </a:cubicBezTo>
                  <a:cubicBezTo>
                    <a:pt x="1754" y="1939"/>
                    <a:pt x="1763" y="1943"/>
                    <a:pt x="1776" y="1945"/>
                  </a:cubicBezTo>
                  <a:cubicBezTo>
                    <a:pt x="1788" y="1947"/>
                    <a:pt x="1804" y="1948"/>
                    <a:pt x="1822" y="1946"/>
                  </a:cubicBezTo>
                  <a:lnTo>
                    <a:pt x="1933" y="1834"/>
                  </a:lnTo>
                  <a:cubicBezTo>
                    <a:pt x="1934" y="1834"/>
                    <a:pt x="1935" y="1833"/>
                    <a:pt x="1936" y="1833"/>
                  </a:cubicBezTo>
                  <a:cubicBezTo>
                    <a:pt x="1937" y="1832"/>
                    <a:pt x="1938" y="1833"/>
                    <a:pt x="1940" y="1833"/>
                  </a:cubicBezTo>
                  <a:cubicBezTo>
                    <a:pt x="1942" y="1834"/>
                    <a:pt x="1944" y="1835"/>
                    <a:pt x="1946" y="1837"/>
                  </a:cubicBezTo>
                  <a:cubicBezTo>
                    <a:pt x="1948" y="1838"/>
                    <a:pt x="1950" y="1841"/>
                    <a:pt x="1953" y="1844"/>
                  </a:cubicBezTo>
                  <a:cubicBezTo>
                    <a:pt x="1956" y="1846"/>
                    <a:pt x="1958" y="1849"/>
                    <a:pt x="1960" y="1851"/>
                  </a:cubicBezTo>
                  <a:cubicBezTo>
                    <a:pt x="1962" y="1853"/>
                    <a:pt x="1963" y="1855"/>
                    <a:pt x="1963" y="1856"/>
                  </a:cubicBezTo>
                  <a:cubicBezTo>
                    <a:pt x="1964" y="1858"/>
                    <a:pt x="1964" y="1859"/>
                    <a:pt x="1964" y="1861"/>
                  </a:cubicBezTo>
                  <a:cubicBezTo>
                    <a:pt x="1964" y="1862"/>
                    <a:pt x="1963" y="1863"/>
                    <a:pt x="1962" y="1864"/>
                  </a:cubicBezTo>
                  <a:lnTo>
                    <a:pt x="1803" y="2023"/>
                  </a:lnTo>
                  <a:close/>
                  <a:moveTo>
                    <a:pt x="2088" y="2143"/>
                  </a:moveTo>
                  <a:cubicBezTo>
                    <a:pt x="2074" y="2157"/>
                    <a:pt x="2060" y="2168"/>
                    <a:pt x="2046" y="2176"/>
                  </a:cubicBezTo>
                  <a:cubicBezTo>
                    <a:pt x="2032" y="2184"/>
                    <a:pt x="2018" y="2189"/>
                    <a:pt x="2004" y="2191"/>
                  </a:cubicBezTo>
                  <a:cubicBezTo>
                    <a:pt x="1991" y="2193"/>
                    <a:pt x="1978" y="2192"/>
                    <a:pt x="1965" y="2187"/>
                  </a:cubicBezTo>
                  <a:cubicBezTo>
                    <a:pt x="1952" y="2183"/>
                    <a:pt x="1940" y="2175"/>
                    <a:pt x="1929" y="2164"/>
                  </a:cubicBezTo>
                  <a:cubicBezTo>
                    <a:pt x="1924" y="2159"/>
                    <a:pt x="1920" y="2155"/>
                    <a:pt x="1917" y="2150"/>
                  </a:cubicBezTo>
                  <a:cubicBezTo>
                    <a:pt x="1914" y="2145"/>
                    <a:pt x="1912" y="2139"/>
                    <a:pt x="1910" y="2133"/>
                  </a:cubicBezTo>
                  <a:cubicBezTo>
                    <a:pt x="1908" y="2128"/>
                    <a:pt x="1907" y="2121"/>
                    <a:pt x="1906" y="2114"/>
                  </a:cubicBezTo>
                  <a:cubicBezTo>
                    <a:pt x="1905" y="2108"/>
                    <a:pt x="1905" y="2100"/>
                    <a:pt x="1905" y="2092"/>
                  </a:cubicBezTo>
                  <a:lnTo>
                    <a:pt x="1825" y="2171"/>
                  </a:lnTo>
                  <a:cubicBezTo>
                    <a:pt x="1824" y="2172"/>
                    <a:pt x="1823" y="2173"/>
                    <a:pt x="1822" y="2173"/>
                  </a:cubicBezTo>
                  <a:cubicBezTo>
                    <a:pt x="1821" y="2173"/>
                    <a:pt x="1820" y="2173"/>
                    <a:pt x="1818" y="2172"/>
                  </a:cubicBezTo>
                  <a:cubicBezTo>
                    <a:pt x="1817" y="2172"/>
                    <a:pt x="1815" y="2171"/>
                    <a:pt x="1813" y="2169"/>
                  </a:cubicBezTo>
                  <a:cubicBezTo>
                    <a:pt x="1810" y="2167"/>
                    <a:pt x="1808" y="2165"/>
                    <a:pt x="1805" y="2162"/>
                  </a:cubicBezTo>
                  <a:cubicBezTo>
                    <a:pt x="1802" y="2159"/>
                    <a:pt x="1800" y="2157"/>
                    <a:pt x="1798" y="2155"/>
                  </a:cubicBezTo>
                  <a:cubicBezTo>
                    <a:pt x="1797" y="2153"/>
                    <a:pt x="1795" y="2151"/>
                    <a:pt x="1795" y="2149"/>
                  </a:cubicBezTo>
                  <a:cubicBezTo>
                    <a:pt x="1794" y="2148"/>
                    <a:pt x="1794" y="2146"/>
                    <a:pt x="1794" y="2145"/>
                  </a:cubicBezTo>
                  <a:cubicBezTo>
                    <a:pt x="1795" y="2144"/>
                    <a:pt x="1795" y="2143"/>
                    <a:pt x="1796" y="2142"/>
                  </a:cubicBezTo>
                  <a:lnTo>
                    <a:pt x="2018" y="1920"/>
                  </a:lnTo>
                  <a:cubicBezTo>
                    <a:pt x="2019" y="1919"/>
                    <a:pt x="2020" y="1918"/>
                    <a:pt x="2021" y="1918"/>
                  </a:cubicBezTo>
                  <a:cubicBezTo>
                    <a:pt x="2022" y="1918"/>
                    <a:pt x="2024" y="1918"/>
                    <a:pt x="2025" y="1918"/>
                  </a:cubicBezTo>
                  <a:cubicBezTo>
                    <a:pt x="2027" y="1919"/>
                    <a:pt x="2028" y="1920"/>
                    <a:pt x="2030" y="1921"/>
                  </a:cubicBezTo>
                  <a:cubicBezTo>
                    <a:pt x="2032" y="1923"/>
                    <a:pt x="2034" y="1925"/>
                    <a:pt x="2037" y="1927"/>
                  </a:cubicBezTo>
                  <a:cubicBezTo>
                    <a:pt x="2039" y="1930"/>
                    <a:pt x="2041" y="1932"/>
                    <a:pt x="2042" y="1933"/>
                  </a:cubicBezTo>
                  <a:cubicBezTo>
                    <a:pt x="2044" y="1935"/>
                    <a:pt x="2045" y="1937"/>
                    <a:pt x="2045" y="1938"/>
                  </a:cubicBezTo>
                  <a:cubicBezTo>
                    <a:pt x="2046" y="1940"/>
                    <a:pt x="2046" y="1941"/>
                    <a:pt x="2046" y="1942"/>
                  </a:cubicBezTo>
                  <a:cubicBezTo>
                    <a:pt x="2046" y="1943"/>
                    <a:pt x="2045" y="1944"/>
                    <a:pt x="2044" y="1945"/>
                  </a:cubicBezTo>
                  <a:lnTo>
                    <a:pt x="2023" y="1967"/>
                  </a:lnTo>
                  <a:cubicBezTo>
                    <a:pt x="2032" y="1967"/>
                    <a:pt x="2041" y="1967"/>
                    <a:pt x="2049" y="1968"/>
                  </a:cubicBezTo>
                  <a:cubicBezTo>
                    <a:pt x="2058" y="1969"/>
                    <a:pt x="2065" y="1970"/>
                    <a:pt x="2072" y="1972"/>
                  </a:cubicBezTo>
                  <a:cubicBezTo>
                    <a:pt x="2079" y="1974"/>
                    <a:pt x="2086" y="1977"/>
                    <a:pt x="2092" y="1981"/>
                  </a:cubicBezTo>
                  <a:cubicBezTo>
                    <a:pt x="2098" y="1984"/>
                    <a:pt x="2103" y="1989"/>
                    <a:pt x="2109" y="1994"/>
                  </a:cubicBezTo>
                  <a:cubicBezTo>
                    <a:pt x="2120" y="2006"/>
                    <a:pt x="2128" y="2018"/>
                    <a:pt x="2131" y="2030"/>
                  </a:cubicBezTo>
                  <a:cubicBezTo>
                    <a:pt x="2135" y="2043"/>
                    <a:pt x="2135" y="2056"/>
                    <a:pt x="2133" y="2069"/>
                  </a:cubicBezTo>
                  <a:cubicBezTo>
                    <a:pt x="2130" y="2082"/>
                    <a:pt x="2125" y="2094"/>
                    <a:pt x="2117" y="2107"/>
                  </a:cubicBezTo>
                  <a:cubicBezTo>
                    <a:pt x="2109" y="2120"/>
                    <a:pt x="2099" y="2132"/>
                    <a:pt x="2088" y="2143"/>
                  </a:cubicBezTo>
                  <a:close/>
                  <a:moveTo>
                    <a:pt x="2054" y="2116"/>
                  </a:moveTo>
                  <a:cubicBezTo>
                    <a:pt x="2062" y="2108"/>
                    <a:pt x="2069" y="2100"/>
                    <a:pt x="2076" y="2091"/>
                  </a:cubicBezTo>
                  <a:cubicBezTo>
                    <a:pt x="2082" y="2082"/>
                    <a:pt x="2087" y="2073"/>
                    <a:pt x="2090" y="2064"/>
                  </a:cubicBezTo>
                  <a:cubicBezTo>
                    <a:pt x="2093" y="2055"/>
                    <a:pt x="2093" y="2047"/>
                    <a:pt x="2092" y="2038"/>
                  </a:cubicBezTo>
                  <a:cubicBezTo>
                    <a:pt x="2090" y="2029"/>
                    <a:pt x="2085" y="2021"/>
                    <a:pt x="2078" y="2014"/>
                  </a:cubicBezTo>
                  <a:cubicBezTo>
                    <a:pt x="2074" y="2010"/>
                    <a:pt x="2070" y="2007"/>
                    <a:pt x="2065" y="2004"/>
                  </a:cubicBezTo>
                  <a:cubicBezTo>
                    <a:pt x="2060" y="2002"/>
                    <a:pt x="2055" y="2000"/>
                    <a:pt x="2048" y="1998"/>
                  </a:cubicBezTo>
                  <a:cubicBezTo>
                    <a:pt x="2042" y="1997"/>
                    <a:pt x="2035" y="1996"/>
                    <a:pt x="2027" y="1996"/>
                  </a:cubicBezTo>
                  <a:cubicBezTo>
                    <a:pt x="2019" y="1996"/>
                    <a:pt x="2010" y="1996"/>
                    <a:pt x="1999" y="1997"/>
                  </a:cubicBezTo>
                  <a:lnTo>
                    <a:pt x="1936" y="2061"/>
                  </a:lnTo>
                  <a:cubicBezTo>
                    <a:pt x="1934" y="2078"/>
                    <a:pt x="1934" y="2094"/>
                    <a:pt x="1936" y="2106"/>
                  </a:cubicBezTo>
                  <a:cubicBezTo>
                    <a:pt x="1939" y="2118"/>
                    <a:pt x="1944" y="2129"/>
                    <a:pt x="1951" y="2137"/>
                  </a:cubicBezTo>
                  <a:cubicBezTo>
                    <a:pt x="1959" y="2144"/>
                    <a:pt x="1967" y="2148"/>
                    <a:pt x="1976" y="2150"/>
                  </a:cubicBezTo>
                  <a:cubicBezTo>
                    <a:pt x="1985" y="2152"/>
                    <a:pt x="1994" y="2151"/>
                    <a:pt x="2003" y="2149"/>
                  </a:cubicBezTo>
                  <a:cubicBezTo>
                    <a:pt x="2012" y="2146"/>
                    <a:pt x="2021" y="2142"/>
                    <a:pt x="2030" y="2136"/>
                  </a:cubicBezTo>
                  <a:cubicBezTo>
                    <a:pt x="2039" y="2130"/>
                    <a:pt x="2047" y="2124"/>
                    <a:pt x="2054" y="2116"/>
                  </a:cubicBezTo>
                  <a:close/>
                  <a:moveTo>
                    <a:pt x="2081" y="2300"/>
                  </a:moveTo>
                  <a:cubicBezTo>
                    <a:pt x="2080" y="2301"/>
                    <a:pt x="2079" y="2302"/>
                    <a:pt x="2078" y="2302"/>
                  </a:cubicBezTo>
                  <a:cubicBezTo>
                    <a:pt x="2077" y="2302"/>
                    <a:pt x="2075" y="2302"/>
                    <a:pt x="2074" y="2302"/>
                  </a:cubicBezTo>
                  <a:cubicBezTo>
                    <a:pt x="2072" y="2301"/>
                    <a:pt x="2070" y="2300"/>
                    <a:pt x="2068" y="2298"/>
                  </a:cubicBezTo>
                  <a:cubicBezTo>
                    <a:pt x="2066" y="2297"/>
                    <a:pt x="2064" y="2294"/>
                    <a:pt x="2061" y="2291"/>
                  </a:cubicBezTo>
                  <a:cubicBezTo>
                    <a:pt x="2058" y="2288"/>
                    <a:pt x="2056" y="2286"/>
                    <a:pt x="2054" y="2284"/>
                  </a:cubicBezTo>
                  <a:cubicBezTo>
                    <a:pt x="2052" y="2282"/>
                    <a:pt x="2051" y="2280"/>
                    <a:pt x="2050" y="2278"/>
                  </a:cubicBezTo>
                  <a:cubicBezTo>
                    <a:pt x="2050" y="2277"/>
                    <a:pt x="2050" y="2275"/>
                    <a:pt x="2050" y="2274"/>
                  </a:cubicBezTo>
                  <a:cubicBezTo>
                    <a:pt x="2050" y="2273"/>
                    <a:pt x="2051" y="2272"/>
                    <a:pt x="2052" y="2271"/>
                  </a:cubicBezTo>
                  <a:lnTo>
                    <a:pt x="2211" y="2112"/>
                  </a:lnTo>
                  <a:cubicBezTo>
                    <a:pt x="2212" y="2111"/>
                    <a:pt x="2212" y="2111"/>
                    <a:pt x="2214" y="2111"/>
                  </a:cubicBezTo>
                  <a:cubicBezTo>
                    <a:pt x="2215" y="2110"/>
                    <a:pt x="2216" y="2110"/>
                    <a:pt x="2218" y="2111"/>
                  </a:cubicBezTo>
                  <a:cubicBezTo>
                    <a:pt x="2219" y="2112"/>
                    <a:pt x="2221" y="2113"/>
                    <a:pt x="2223" y="2114"/>
                  </a:cubicBezTo>
                  <a:cubicBezTo>
                    <a:pt x="2225" y="2116"/>
                    <a:pt x="2228" y="2118"/>
                    <a:pt x="2231" y="2121"/>
                  </a:cubicBezTo>
                  <a:cubicBezTo>
                    <a:pt x="2234" y="2124"/>
                    <a:pt x="2236" y="2127"/>
                    <a:pt x="2238" y="2129"/>
                  </a:cubicBezTo>
                  <a:cubicBezTo>
                    <a:pt x="2239" y="2131"/>
                    <a:pt x="2240" y="2133"/>
                    <a:pt x="2241" y="2134"/>
                  </a:cubicBezTo>
                  <a:cubicBezTo>
                    <a:pt x="2242" y="2136"/>
                    <a:pt x="2242" y="2137"/>
                    <a:pt x="2241" y="2138"/>
                  </a:cubicBezTo>
                  <a:cubicBezTo>
                    <a:pt x="2241" y="2140"/>
                    <a:pt x="2241" y="2141"/>
                    <a:pt x="2240" y="2141"/>
                  </a:cubicBezTo>
                  <a:lnTo>
                    <a:pt x="2081" y="2300"/>
                  </a:lnTo>
                  <a:close/>
                  <a:moveTo>
                    <a:pt x="2297" y="2091"/>
                  </a:moveTo>
                  <a:cubicBezTo>
                    <a:pt x="2290" y="2098"/>
                    <a:pt x="2284" y="2101"/>
                    <a:pt x="2279" y="2101"/>
                  </a:cubicBezTo>
                  <a:cubicBezTo>
                    <a:pt x="2274" y="2101"/>
                    <a:pt x="2268" y="2097"/>
                    <a:pt x="2261" y="2090"/>
                  </a:cubicBezTo>
                  <a:cubicBezTo>
                    <a:pt x="2254" y="2084"/>
                    <a:pt x="2251" y="2078"/>
                    <a:pt x="2251" y="2073"/>
                  </a:cubicBezTo>
                  <a:cubicBezTo>
                    <a:pt x="2251" y="2068"/>
                    <a:pt x="2254" y="2062"/>
                    <a:pt x="2261" y="2055"/>
                  </a:cubicBezTo>
                  <a:cubicBezTo>
                    <a:pt x="2267" y="2048"/>
                    <a:pt x="2273" y="2045"/>
                    <a:pt x="2278" y="2045"/>
                  </a:cubicBezTo>
                  <a:cubicBezTo>
                    <a:pt x="2283" y="2045"/>
                    <a:pt x="2289" y="2049"/>
                    <a:pt x="2296" y="2056"/>
                  </a:cubicBezTo>
                  <a:cubicBezTo>
                    <a:pt x="2303" y="2063"/>
                    <a:pt x="2307" y="2069"/>
                    <a:pt x="2307" y="2073"/>
                  </a:cubicBezTo>
                  <a:cubicBezTo>
                    <a:pt x="2307" y="2078"/>
                    <a:pt x="2304" y="2084"/>
                    <a:pt x="2297" y="2091"/>
                  </a:cubicBezTo>
                  <a:close/>
                  <a:moveTo>
                    <a:pt x="2269" y="2441"/>
                  </a:moveTo>
                  <a:cubicBezTo>
                    <a:pt x="2267" y="2443"/>
                    <a:pt x="2266" y="2444"/>
                    <a:pt x="2264" y="2446"/>
                  </a:cubicBezTo>
                  <a:cubicBezTo>
                    <a:pt x="2262" y="2447"/>
                    <a:pt x="2261" y="2448"/>
                    <a:pt x="2260" y="2449"/>
                  </a:cubicBezTo>
                  <a:cubicBezTo>
                    <a:pt x="2258" y="2449"/>
                    <a:pt x="2257" y="2450"/>
                    <a:pt x="2256" y="2450"/>
                  </a:cubicBezTo>
                  <a:cubicBezTo>
                    <a:pt x="2255" y="2451"/>
                    <a:pt x="2253" y="2451"/>
                    <a:pt x="2250" y="2451"/>
                  </a:cubicBezTo>
                  <a:cubicBezTo>
                    <a:pt x="2247" y="2451"/>
                    <a:pt x="2242" y="2450"/>
                    <a:pt x="2237" y="2449"/>
                  </a:cubicBezTo>
                  <a:cubicBezTo>
                    <a:pt x="2231" y="2448"/>
                    <a:pt x="2225" y="2445"/>
                    <a:pt x="2219" y="2443"/>
                  </a:cubicBezTo>
                  <a:cubicBezTo>
                    <a:pt x="2213" y="2440"/>
                    <a:pt x="2207" y="2437"/>
                    <a:pt x="2200" y="2433"/>
                  </a:cubicBezTo>
                  <a:cubicBezTo>
                    <a:pt x="2194" y="2428"/>
                    <a:pt x="2188" y="2424"/>
                    <a:pt x="2183" y="2418"/>
                  </a:cubicBezTo>
                  <a:cubicBezTo>
                    <a:pt x="2171" y="2407"/>
                    <a:pt x="2163" y="2395"/>
                    <a:pt x="2158" y="2382"/>
                  </a:cubicBezTo>
                  <a:cubicBezTo>
                    <a:pt x="2153" y="2369"/>
                    <a:pt x="2151" y="2356"/>
                    <a:pt x="2152" y="2343"/>
                  </a:cubicBezTo>
                  <a:cubicBezTo>
                    <a:pt x="2154" y="2330"/>
                    <a:pt x="2158" y="2317"/>
                    <a:pt x="2165" y="2303"/>
                  </a:cubicBezTo>
                  <a:cubicBezTo>
                    <a:pt x="2173" y="2289"/>
                    <a:pt x="2183" y="2276"/>
                    <a:pt x="2197" y="2262"/>
                  </a:cubicBezTo>
                  <a:cubicBezTo>
                    <a:pt x="2213" y="2246"/>
                    <a:pt x="2228" y="2235"/>
                    <a:pt x="2243" y="2227"/>
                  </a:cubicBezTo>
                  <a:cubicBezTo>
                    <a:pt x="2258" y="2220"/>
                    <a:pt x="2273" y="2216"/>
                    <a:pt x="2287" y="2215"/>
                  </a:cubicBezTo>
                  <a:cubicBezTo>
                    <a:pt x="2301" y="2215"/>
                    <a:pt x="2314" y="2217"/>
                    <a:pt x="2326" y="2223"/>
                  </a:cubicBezTo>
                  <a:cubicBezTo>
                    <a:pt x="2339" y="2228"/>
                    <a:pt x="2350" y="2236"/>
                    <a:pt x="2361" y="2247"/>
                  </a:cubicBezTo>
                  <a:cubicBezTo>
                    <a:pt x="2366" y="2252"/>
                    <a:pt x="2370" y="2257"/>
                    <a:pt x="2374" y="2263"/>
                  </a:cubicBezTo>
                  <a:cubicBezTo>
                    <a:pt x="2378" y="2269"/>
                    <a:pt x="2381" y="2274"/>
                    <a:pt x="2384" y="2280"/>
                  </a:cubicBezTo>
                  <a:cubicBezTo>
                    <a:pt x="2386" y="2285"/>
                    <a:pt x="2388" y="2291"/>
                    <a:pt x="2389" y="2296"/>
                  </a:cubicBezTo>
                  <a:cubicBezTo>
                    <a:pt x="2390" y="2301"/>
                    <a:pt x="2391" y="2305"/>
                    <a:pt x="2391" y="2308"/>
                  </a:cubicBezTo>
                  <a:cubicBezTo>
                    <a:pt x="2391" y="2311"/>
                    <a:pt x="2391" y="2313"/>
                    <a:pt x="2390" y="2314"/>
                  </a:cubicBezTo>
                  <a:cubicBezTo>
                    <a:pt x="2390" y="2315"/>
                    <a:pt x="2389" y="2317"/>
                    <a:pt x="2389" y="2318"/>
                  </a:cubicBezTo>
                  <a:cubicBezTo>
                    <a:pt x="2388" y="2320"/>
                    <a:pt x="2387" y="2321"/>
                    <a:pt x="2386" y="2323"/>
                  </a:cubicBezTo>
                  <a:cubicBezTo>
                    <a:pt x="2384" y="2324"/>
                    <a:pt x="2383" y="2326"/>
                    <a:pt x="2380" y="2328"/>
                  </a:cubicBezTo>
                  <a:cubicBezTo>
                    <a:pt x="2376" y="2333"/>
                    <a:pt x="2372" y="2335"/>
                    <a:pt x="2369" y="2336"/>
                  </a:cubicBezTo>
                  <a:cubicBezTo>
                    <a:pt x="2366" y="2337"/>
                    <a:pt x="2364" y="2337"/>
                    <a:pt x="2363" y="2335"/>
                  </a:cubicBezTo>
                  <a:cubicBezTo>
                    <a:pt x="2361" y="2333"/>
                    <a:pt x="2360" y="2330"/>
                    <a:pt x="2359" y="2326"/>
                  </a:cubicBezTo>
                  <a:cubicBezTo>
                    <a:pt x="2359" y="2322"/>
                    <a:pt x="2358" y="2317"/>
                    <a:pt x="2357" y="2311"/>
                  </a:cubicBezTo>
                  <a:cubicBezTo>
                    <a:pt x="2356" y="2305"/>
                    <a:pt x="2354" y="2299"/>
                    <a:pt x="2351" y="2292"/>
                  </a:cubicBezTo>
                  <a:cubicBezTo>
                    <a:pt x="2348" y="2285"/>
                    <a:pt x="2343" y="2278"/>
                    <a:pt x="2336" y="2271"/>
                  </a:cubicBezTo>
                  <a:cubicBezTo>
                    <a:pt x="2322" y="2257"/>
                    <a:pt x="2306" y="2252"/>
                    <a:pt x="2287" y="2255"/>
                  </a:cubicBezTo>
                  <a:cubicBezTo>
                    <a:pt x="2269" y="2258"/>
                    <a:pt x="2250" y="2270"/>
                    <a:pt x="2229" y="2291"/>
                  </a:cubicBezTo>
                  <a:cubicBezTo>
                    <a:pt x="2219" y="2301"/>
                    <a:pt x="2211" y="2311"/>
                    <a:pt x="2205" y="2320"/>
                  </a:cubicBezTo>
                  <a:cubicBezTo>
                    <a:pt x="2199" y="2330"/>
                    <a:pt x="2196" y="2339"/>
                    <a:pt x="2194" y="2348"/>
                  </a:cubicBezTo>
                  <a:cubicBezTo>
                    <a:pt x="2193" y="2357"/>
                    <a:pt x="2194" y="2366"/>
                    <a:pt x="2197" y="2374"/>
                  </a:cubicBezTo>
                  <a:cubicBezTo>
                    <a:pt x="2200" y="2382"/>
                    <a:pt x="2205" y="2389"/>
                    <a:pt x="2212" y="2396"/>
                  </a:cubicBezTo>
                  <a:cubicBezTo>
                    <a:pt x="2218" y="2403"/>
                    <a:pt x="2225" y="2408"/>
                    <a:pt x="2233" y="2411"/>
                  </a:cubicBezTo>
                  <a:cubicBezTo>
                    <a:pt x="2240" y="2414"/>
                    <a:pt x="2247" y="2416"/>
                    <a:pt x="2253" y="2417"/>
                  </a:cubicBezTo>
                  <a:cubicBezTo>
                    <a:pt x="2259" y="2418"/>
                    <a:pt x="2264" y="2419"/>
                    <a:pt x="2269" y="2420"/>
                  </a:cubicBezTo>
                  <a:cubicBezTo>
                    <a:pt x="2274" y="2420"/>
                    <a:pt x="2277" y="2421"/>
                    <a:pt x="2278" y="2422"/>
                  </a:cubicBezTo>
                  <a:cubicBezTo>
                    <a:pt x="2279" y="2423"/>
                    <a:pt x="2279" y="2424"/>
                    <a:pt x="2279" y="2425"/>
                  </a:cubicBezTo>
                  <a:cubicBezTo>
                    <a:pt x="2280" y="2426"/>
                    <a:pt x="2279" y="2428"/>
                    <a:pt x="2279" y="2429"/>
                  </a:cubicBezTo>
                  <a:cubicBezTo>
                    <a:pt x="2278" y="2431"/>
                    <a:pt x="2277" y="2432"/>
                    <a:pt x="2275" y="2434"/>
                  </a:cubicBezTo>
                  <a:cubicBezTo>
                    <a:pt x="2274" y="2436"/>
                    <a:pt x="2272" y="2438"/>
                    <a:pt x="2269" y="2441"/>
                  </a:cubicBezTo>
                  <a:close/>
                  <a:moveTo>
                    <a:pt x="2500" y="2547"/>
                  </a:moveTo>
                  <a:cubicBezTo>
                    <a:pt x="2495" y="2551"/>
                    <a:pt x="2491" y="2554"/>
                    <a:pt x="2487" y="2553"/>
                  </a:cubicBezTo>
                  <a:cubicBezTo>
                    <a:pt x="2483" y="2553"/>
                    <a:pt x="2479" y="2551"/>
                    <a:pt x="2476" y="2548"/>
                  </a:cubicBezTo>
                  <a:lnTo>
                    <a:pt x="2371" y="2443"/>
                  </a:lnTo>
                  <a:cubicBezTo>
                    <a:pt x="2362" y="2452"/>
                    <a:pt x="2355" y="2461"/>
                    <a:pt x="2350" y="2470"/>
                  </a:cubicBezTo>
                  <a:cubicBezTo>
                    <a:pt x="2345" y="2479"/>
                    <a:pt x="2342" y="2488"/>
                    <a:pt x="2341" y="2497"/>
                  </a:cubicBezTo>
                  <a:cubicBezTo>
                    <a:pt x="2340" y="2506"/>
                    <a:pt x="2341" y="2516"/>
                    <a:pt x="2345" y="2525"/>
                  </a:cubicBezTo>
                  <a:cubicBezTo>
                    <a:pt x="2349" y="2534"/>
                    <a:pt x="2356" y="2544"/>
                    <a:pt x="2365" y="2553"/>
                  </a:cubicBezTo>
                  <a:cubicBezTo>
                    <a:pt x="2373" y="2561"/>
                    <a:pt x="2380" y="2567"/>
                    <a:pt x="2388" y="2572"/>
                  </a:cubicBezTo>
                  <a:cubicBezTo>
                    <a:pt x="2395" y="2576"/>
                    <a:pt x="2401" y="2580"/>
                    <a:pt x="2407" y="2583"/>
                  </a:cubicBezTo>
                  <a:cubicBezTo>
                    <a:pt x="2413" y="2586"/>
                    <a:pt x="2418" y="2588"/>
                    <a:pt x="2422" y="2589"/>
                  </a:cubicBezTo>
                  <a:cubicBezTo>
                    <a:pt x="2426" y="2591"/>
                    <a:pt x="2429" y="2592"/>
                    <a:pt x="2430" y="2594"/>
                  </a:cubicBezTo>
                  <a:cubicBezTo>
                    <a:pt x="2431" y="2595"/>
                    <a:pt x="2431" y="2596"/>
                    <a:pt x="2432" y="2597"/>
                  </a:cubicBezTo>
                  <a:cubicBezTo>
                    <a:pt x="2432" y="2598"/>
                    <a:pt x="2432" y="2599"/>
                    <a:pt x="2431" y="2600"/>
                  </a:cubicBezTo>
                  <a:cubicBezTo>
                    <a:pt x="2431" y="2601"/>
                    <a:pt x="2430" y="2603"/>
                    <a:pt x="2429" y="2604"/>
                  </a:cubicBezTo>
                  <a:cubicBezTo>
                    <a:pt x="2427" y="2606"/>
                    <a:pt x="2426" y="2608"/>
                    <a:pt x="2424" y="2610"/>
                  </a:cubicBezTo>
                  <a:cubicBezTo>
                    <a:pt x="2422" y="2612"/>
                    <a:pt x="2421" y="2613"/>
                    <a:pt x="2419" y="2614"/>
                  </a:cubicBezTo>
                  <a:cubicBezTo>
                    <a:pt x="2418" y="2615"/>
                    <a:pt x="2417" y="2616"/>
                    <a:pt x="2416" y="2616"/>
                  </a:cubicBezTo>
                  <a:cubicBezTo>
                    <a:pt x="2415" y="2617"/>
                    <a:pt x="2414" y="2618"/>
                    <a:pt x="2413" y="2618"/>
                  </a:cubicBezTo>
                  <a:cubicBezTo>
                    <a:pt x="2412" y="2618"/>
                    <a:pt x="2410" y="2618"/>
                    <a:pt x="2409" y="2618"/>
                  </a:cubicBezTo>
                  <a:cubicBezTo>
                    <a:pt x="2408" y="2618"/>
                    <a:pt x="2405" y="2617"/>
                    <a:pt x="2400" y="2616"/>
                  </a:cubicBezTo>
                  <a:cubicBezTo>
                    <a:pt x="2395" y="2614"/>
                    <a:pt x="2390" y="2611"/>
                    <a:pt x="2383" y="2608"/>
                  </a:cubicBezTo>
                  <a:cubicBezTo>
                    <a:pt x="2377" y="2604"/>
                    <a:pt x="2370" y="2599"/>
                    <a:pt x="2362" y="2594"/>
                  </a:cubicBezTo>
                  <a:cubicBezTo>
                    <a:pt x="2354" y="2588"/>
                    <a:pt x="2347" y="2582"/>
                    <a:pt x="2339" y="2574"/>
                  </a:cubicBezTo>
                  <a:cubicBezTo>
                    <a:pt x="2326" y="2561"/>
                    <a:pt x="2316" y="2548"/>
                    <a:pt x="2310" y="2534"/>
                  </a:cubicBezTo>
                  <a:cubicBezTo>
                    <a:pt x="2304" y="2521"/>
                    <a:pt x="2301" y="2507"/>
                    <a:pt x="2302" y="2493"/>
                  </a:cubicBezTo>
                  <a:cubicBezTo>
                    <a:pt x="2302" y="2479"/>
                    <a:pt x="2306" y="2465"/>
                    <a:pt x="2313" y="2451"/>
                  </a:cubicBezTo>
                  <a:cubicBezTo>
                    <a:pt x="2321" y="2437"/>
                    <a:pt x="2332" y="2422"/>
                    <a:pt x="2346" y="2408"/>
                  </a:cubicBezTo>
                  <a:cubicBezTo>
                    <a:pt x="2360" y="2394"/>
                    <a:pt x="2374" y="2384"/>
                    <a:pt x="2388" y="2377"/>
                  </a:cubicBezTo>
                  <a:cubicBezTo>
                    <a:pt x="2403" y="2369"/>
                    <a:pt x="2417" y="2365"/>
                    <a:pt x="2431" y="2364"/>
                  </a:cubicBezTo>
                  <a:cubicBezTo>
                    <a:pt x="2446" y="2363"/>
                    <a:pt x="2459" y="2365"/>
                    <a:pt x="2473" y="2371"/>
                  </a:cubicBezTo>
                  <a:cubicBezTo>
                    <a:pt x="2486" y="2376"/>
                    <a:pt x="2499" y="2385"/>
                    <a:pt x="2511" y="2396"/>
                  </a:cubicBezTo>
                  <a:cubicBezTo>
                    <a:pt x="2523" y="2409"/>
                    <a:pt x="2532" y="2421"/>
                    <a:pt x="2537" y="2434"/>
                  </a:cubicBezTo>
                  <a:cubicBezTo>
                    <a:pt x="2541" y="2447"/>
                    <a:pt x="2543" y="2460"/>
                    <a:pt x="2542" y="2472"/>
                  </a:cubicBezTo>
                  <a:cubicBezTo>
                    <a:pt x="2541" y="2484"/>
                    <a:pt x="2537" y="2497"/>
                    <a:pt x="2531" y="2508"/>
                  </a:cubicBezTo>
                  <a:cubicBezTo>
                    <a:pt x="2524" y="2520"/>
                    <a:pt x="2516" y="2531"/>
                    <a:pt x="2505" y="2542"/>
                  </a:cubicBezTo>
                  <a:lnTo>
                    <a:pt x="2500" y="2547"/>
                  </a:lnTo>
                  <a:close/>
                  <a:moveTo>
                    <a:pt x="2479" y="2509"/>
                  </a:moveTo>
                  <a:cubicBezTo>
                    <a:pt x="2495" y="2494"/>
                    <a:pt x="2504" y="2478"/>
                    <a:pt x="2505" y="2463"/>
                  </a:cubicBezTo>
                  <a:cubicBezTo>
                    <a:pt x="2507" y="2447"/>
                    <a:pt x="2501" y="2432"/>
                    <a:pt x="2486" y="2418"/>
                  </a:cubicBezTo>
                  <a:cubicBezTo>
                    <a:pt x="2479" y="2410"/>
                    <a:pt x="2471" y="2405"/>
                    <a:pt x="2463" y="2403"/>
                  </a:cubicBezTo>
                  <a:cubicBezTo>
                    <a:pt x="2455" y="2400"/>
                    <a:pt x="2447" y="2399"/>
                    <a:pt x="2439" y="2400"/>
                  </a:cubicBezTo>
                  <a:cubicBezTo>
                    <a:pt x="2431" y="2401"/>
                    <a:pt x="2423" y="2403"/>
                    <a:pt x="2415" y="2407"/>
                  </a:cubicBezTo>
                  <a:cubicBezTo>
                    <a:pt x="2407" y="2411"/>
                    <a:pt x="2399" y="2416"/>
                    <a:pt x="2393" y="2422"/>
                  </a:cubicBezTo>
                  <a:lnTo>
                    <a:pt x="2479" y="250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400" name="Freeform 147"/>
            <p:cNvSpPr>
              <a:spLocks noEditPoints="1"/>
            </p:cNvSpPr>
            <p:nvPr/>
          </p:nvSpPr>
          <p:spPr bwMode="auto">
            <a:xfrm>
              <a:off x="1426" y="2377"/>
              <a:ext cx="118" cy="125"/>
            </a:xfrm>
            <a:custGeom>
              <a:avLst/>
              <a:gdLst>
                <a:gd name="T0" fmla="*/ 307 w 1117"/>
                <a:gd name="T1" fmla="*/ 165 h 1189"/>
                <a:gd name="T2" fmla="*/ 220 w 1117"/>
                <a:gd name="T3" fmla="*/ 48 h 1189"/>
                <a:gd name="T4" fmla="*/ 44 w 1117"/>
                <a:gd name="T5" fmla="*/ 176 h 1189"/>
                <a:gd name="T6" fmla="*/ 198 w 1117"/>
                <a:gd name="T7" fmla="*/ 223 h 1189"/>
                <a:gd name="T8" fmla="*/ 162 w 1117"/>
                <a:gd name="T9" fmla="*/ 144 h 1189"/>
                <a:gd name="T10" fmla="*/ 247 w 1117"/>
                <a:gd name="T11" fmla="*/ 228 h 1189"/>
                <a:gd name="T12" fmla="*/ 131 w 1117"/>
                <a:gd name="T13" fmla="*/ 334 h 1189"/>
                <a:gd name="T14" fmla="*/ 12 w 1117"/>
                <a:gd name="T15" fmla="*/ 228 h 1189"/>
                <a:gd name="T16" fmla="*/ 173 w 1117"/>
                <a:gd name="T17" fmla="*/ 0 h 1189"/>
                <a:gd name="T18" fmla="*/ 334 w 1117"/>
                <a:gd name="T19" fmla="*/ 124 h 1189"/>
                <a:gd name="T20" fmla="*/ 210 w 1117"/>
                <a:gd name="T21" fmla="*/ 432 h 1189"/>
                <a:gd name="T22" fmla="*/ 183 w 1117"/>
                <a:gd name="T23" fmla="*/ 408 h 1189"/>
                <a:gd name="T24" fmla="*/ 427 w 1117"/>
                <a:gd name="T25" fmla="*/ 164 h 1189"/>
                <a:gd name="T26" fmla="*/ 451 w 1117"/>
                <a:gd name="T27" fmla="*/ 191 h 1189"/>
                <a:gd name="T28" fmla="*/ 297 w 1117"/>
                <a:gd name="T29" fmla="*/ 522 h 1189"/>
                <a:gd name="T30" fmla="*/ 273 w 1117"/>
                <a:gd name="T31" fmla="*/ 495 h 1189"/>
                <a:gd name="T32" fmla="*/ 446 w 1117"/>
                <a:gd name="T33" fmla="*/ 335 h 1189"/>
                <a:gd name="T34" fmla="*/ 463 w 1117"/>
                <a:gd name="T35" fmla="*/ 362 h 1189"/>
                <a:gd name="T36" fmla="*/ 474 w 1117"/>
                <a:gd name="T37" fmla="*/ 293 h 1189"/>
                <a:gd name="T38" fmla="*/ 520 w 1117"/>
                <a:gd name="T39" fmla="*/ 311 h 1189"/>
                <a:gd name="T40" fmla="*/ 524 w 1117"/>
                <a:gd name="T41" fmla="*/ 745 h 1189"/>
                <a:gd name="T42" fmla="*/ 489 w 1117"/>
                <a:gd name="T43" fmla="*/ 715 h 1189"/>
                <a:gd name="T44" fmla="*/ 571 w 1117"/>
                <a:gd name="T45" fmla="*/ 555 h 1189"/>
                <a:gd name="T46" fmla="*/ 398 w 1117"/>
                <a:gd name="T47" fmla="*/ 626 h 1189"/>
                <a:gd name="T48" fmla="*/ 490 w 1117"/>
                <a:gd name="T49" fmla="*/ 403 h 1189"/>
                <a:gd name="T50" fmla="*/ 508 w 1117"/>
                <a:gd name="T51" fmla="*/ 396 h 1189"/>
                <a:gd name="T52" fmla="*/ 525 w 1117"/>
                <a:gd name="T53" fmla="*/ 425 h 1189"/>
                <a:gd name="T54" fmla="*/ 604 w 1117"/>
                <a:gd name="T55" fmla="*/ 497 h 1189"/>
                <a:gd name="T56" fmla="*/ 631 w 1117"/>
                <a:gd name="T57" fmla="*/ 521 h 1189"/>
                <a:gd name="T58" fmla="*/ 537 w 1117"/>
                <a:gd name="T59" fmla="*/ 698 h 1189"/>
                <a:gd name="T60" fmla="*/ 727 w 1117"/>
                <a:gd name="T61" fmla="*/ 615 h 1189"/>
                <a:gd name="T62" fmla="*/ 643 w 1117"/>
                <a:gd name="T63" fmla="*/ 860 h 1189"/>
                <a:gd name="T64" fmla="*/ 616 w 1117"/>
                <a:gd name="T65" fmla="*/ 844 h 1189"/>
                <a:gd name="T66" fmla="*/ 776 w 1117"/>
                <a:gd name="T67" fmla="*/ 670 h 1189"/>
                <a:gd name="T68" fmla="*/ 803 w 1117"/>
                <a:gd name="T69" fmla="*/ 694 h 1189"/>
                <a:gd name="T70" fmla="*/ 841 w 1117"/>
                <a:gd name="T71" fmla="*/ 661 h 1189"/>
                <a:gd name="T72" fmla="*/ 859 w 1117"/>
                <a:gd name="T73" fmla="*/ 615 h 1189"/>
                <a:gd name="T74" fmla="*/ 822 w 1117"/>
                <a:gd name="T75" fmla="*/ 1008 h 1189"/>
                <a:gd name="T76" fmla="*/ 763 w 1117"/>
                <a:gd name="T77" fmla="*/ 992 h 1189"/>
                <a:gd name="T78" fmla="*/ 760 w 1117"/>
                <a:gd name="T79" fmla="*/ 821 h 1189"/>
                <a:gd name="T80" fmla="*/ 936 w 1117"/>
                <a:gd name="T81" fmla="*/ 823 h 1189"/>
                <a:gd name="T82" fmla="*/ 951 w 1117"/>
                <a:gd name="T83" fmla="*/ 878 h 1189"/>
                <a:gd name="T84" fmla="*/ 922 w 1117"/>
                <a:gd name="T85" fmla="*/ 886 h 1189"/>
                <a:gd name="T86" fmla="*/ 792 w 1117"/>
                <a:gd name="T87" fmla="*/ 850 h 1189"/>
                <a:gd name="T88" fmla="*/ 795 w 1117"/>
                <a:gd name="T89" fmla="*/ 971 h 1189"/>
                <a:gd name="T90" fmla="*/ 841 w 1117"/>
                <a:gd name="T91" fmla="*/ 989 h 1189"/>
                <a:gd name="T92" fmla="*/ 1050 w 1117"/>
                <a:gd name="T93" fmla="*/ 1119 h 1189"/>
                <a:gd name="T94" fmla="*/ 939 w 1117"/>
                <a:gd name="T95" fmla="*/ 1124 h 1189"/>
                <a:gd name="T96" fmla="*/ 1005 w 1117"/>
                <a:gd name="T97" fmla="*/ 1168 h 1189"/>
                <a:gd name="T98" fmla="*/ 990 w 1117"/>
                <a:gd name="T99" fmla="*/ 1187 h 1189"/>
                <a:gd name="T100" fmla="*/ 936 w 1117"/>
                <a:gd name="T101" fmla="*/ 1165 h 1189"/>
                <a:gd name="T102" fmla="*/ 920 w 1117"/>
                <a:gd name="T103" fmla="*/ 979 h 1189"/>
                <a:gd name="T104" fmla="*/ 1110 w 1117"/>
                <a:gd name="T105" fmla="*/ 1005 h 1189"/>
                <a:gd name="T106" fmla="*/ 1053 w 1117"/>
                <a:gd name="T107" fmla="*/ 1080 h 1189"/>
                <a:gd name="T108" fmla="*/ 988 w 1117"/>
                <a:gd name="T109" fmla="*/ 978 h 1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17" h="1189">
                  <a:moveTo>
                    <a:pt x="326" y="157"/>
                  </a:moveTo>
                  <a:cubicBezTo>
                    <a:pt x="324" y="159"/>
                    <a:pt x="322" y="161"/>
                    <a:pt x="320" y="162"/>
                  </a:cubicBezTo>
                  <a:cubicBezTo>
                    <a:pt x="318" y="164"/>
                    <a:pt x="316" y="165"/>
                    <a:pt x="315" y="165"/>
                  </a:cubicBezTo>
                  <a:cubicBezTo>
                    <a:pt x="313" y="166"/>
                    <a:pt x="312" y="166"/>
                    <a:pt x="310" y="166"/>
                  </a:cubicBezTo>
                  <a:cubicBezTo>
                    <a:pt x="309" y="166"/>
                    <a:pt x="308" y="165"/>
                    <a:pt x="307" y="165"/>
                  </a:cubicBezTo>
                  <a:cubicBezTo>
                    <a:pt x="306" y="163"/>
                    <a:pt x="305" y="160"/>
                    <a:pt x="304" y="154"/>
                  </a:cubicBezTo>
                  <a:cubicBezTo>
                    <a:pt x="303" y="149"/>
                    <a:pt x="301" y="142"/>
                    <a:pt x="298" y="133"/>
                  </a:cubicBezTo>
                  <a:cubicBezTo>
                    <a:pt x="295" y="125"/>
                    <a:pt x="291" y="116"/>
                    <a:pt x="285" y="106"/>
                  </a:cubicBezTo>
                  <a:cubicBezTo>
                    <a:pt x="280" y="96"/>
                    <a:pt x="272" y="86"/>
                    <a:pt x="261" y="75"/>
                  </a:cubicBezTo>
                  <a:cubicBezTo>
                    <a:pt x="249" y="63"/>
                    <a:pt x="235" y="54"/>
                    <a:pt x="220" y="48"/>
                  </a:cubicBezTo>
                  <a:cubicBezTo>
                    <a:pt x="206" y="43"/>
                    <a:pt x="191" y="41"/>
                    <a:pt x="176" y="42"/>
                  </a:cubicBezTo>
                  <a:cubicBezTo>
                    <a:pt x="161" y="43"/>
                    <a:pt x="146" y="47"/>
                    <a:pt x="131" y="55"/>
                  </a:cubicBezTo>
                  <a:cubicBezTo>
                    <a:pt x="116" y="62"/>
                    <a:pt x="102" y="73"/>
                    <a:pt x="89" y="86"/>
                  </a:cubicBezTo>
                  <a:cubicBezTo>
                    <a:pt x="74" y="100"/>
                    <a:pt x="63" y="115"/>
                    <a:pt x="56" y="131"/>
                  </a:cubicBezTo>
                  <a:cubicBezTo>
                    <a:pt x="49" y="146"/>
                    <a:pt x="45" y="161"/>
                    <a:pt x="44" y="176"/>
                  </a:cubicBezTo>
                  <a:cubicBezTo>
                    <a:pt x="44" y="191"/>
                    <a:pt x="46" y="206"/>
                    <a:pt x="52" y="220"/>
                  </a:cubicBezTo>
                  <a:cubicBezTo>
                    <a:pt x="58" y="234"/>
                    <a:pt x="67" y="246"/>
                    <a:pt x="79" y="258"/>
                  </a:cubicBezTo>
                  <a:cubicBezTo>
                    <a:pt x="86" y="265"/>
                    <a:pt x="94" y="272"/>
                    <a:pt x="103" y="277"/>
                  </a:cubicBezTo>
                  <a:cubicBezTo>
                    <a:pt x="112" y="283"/>
                    <a:pt x="121" y="287"/>
                    <a:pt x="131" y="290"/>
                  </a:cubicBezTo>
                  <a:lnTo>
                    <a:pt x="198" y="223"/>
                  </a:lnTo>
                  <a:lnTo>
                    <a:pt x="145" y="170"/>
                  </a:lnTo>
                  <a:cubicBezTo>
                    <a:pt x="143" y="168"/>
                    <a:pt x="142" y="166"/>
                    <a:pt x="143" y="163"/>
                  </a:cubicBezTo>
                  <a:cubicBezTo>
                    <a:pt x="144" y="160"/>
                    <a:pt x="147" y="156"/>
                    <a:pt x="151" y="152"/>
                  </a:cubicBezTo>
                  <a:cubicBezTo>
                    <a:pt x="153" y="150"/>
                    <a:pt x="155" y="148"/>
                    <a:pt x="157" y="146"/>
                  </a:cubicBezTo>
                  <a:cubicBezTo>
                    <a:pt x="159" y="145"/>
                    <a:pt x="161" y="144"/>
                    <a:pt x="162" y="144"/>
                  </a:cubicBezTo>
                  <a:cubicBezTo>
                    <a:pt x="164" y="143"/>
                    <a:pt x="165" y="143"/>
                    <a:pt x="166" y="143"/>
                  </a:cubicBezTo>
                  <a:cubicBezTo>
                    <a:pt x="167" y="144"/>
                    <a:pt x="169" y="144"/>
                    <a:pt x="170" y="145"/>
                  </a:cubicBezTo>
                  <a:lnTo>
                    <a:pt x="242" y="218"/>
                  </a:lnTo>
                  <a:cubicBezTo>
                    <a:pt x="244" y="219"/>
                    <a:pt x="245" y="221"/>
                    <a:pt x="245" y="222"/>
                  </a:cubicBezTo>
                  <a:cubicBezTo>
                    <a:pt x="246" y="224"/>
                    <a:pt x="247" y="226"/>
                    <a:pt x="247" y="228"/>
                  </a:cubicBezTo>
                  <a:cubicBezTo>
                    <a:pt x="247" y="230"/>
                    <a:pt x="247" y="232"/>
                    <a:pt x="245" y="235"/>
                  </a:cubicBezTo>
                  <a:cubicBezTo>
                    <a:pt x="244" y="237"/>
                    <a:pt x="243" y="239"/>
                    <a:pt x="241" y="241"/>
                  </a:cubicBezTo>
                  <a:lnTo>
                    <a:pt x="154" y="328"/>
                  </a:lnTo>
                  <a:cubicBezTo>
                    <a:pt x="150" y="331"/>
                    <a:pt x="147" y="333"/>
                    <a:pt x="144" y="335"/>
                  </a:cubicBezTo>
                  <a:cubicBezTo>
                    <a:pt x="141" y="336"/>
                    <a:pt x="137" y="335"/>
                    <a:pt x="131" y="334"/>
                  </a:cubicBezTo>
                  <a:cubicBezTo>
                    <a:pt x="126" y="332"/>
                    <a:pt x="120" y="329"/>
                    <a:pt x="113" y="326"/>
                  </a:cubicBezTo>
                  <a:cubicBezTo>
                    <a:pt x="105" y="323"/>
                    <a:pt x="98" y="319"/>
                    <a:pt x="91" y="314"/>
                  </a:cubicBezTo>
                  <a:cubicBezTo>
                    <a:pt x="83" y="310"/>
                    <a:pt x="77" y="305"/>
                    <a:pt x="70" y="300"/>
                  </a:cubicBezTo>
                  <a:cubicBezTo>
                    <a:pt x="63" y="295"/>
                    <a:pt x="57" y="289"/>
                    <a:pt x="51" y="284"/>
                  </a:cubicBezTo>
                  <a:cubicBezTo>
                    <a:pt x="34" y="266"/>
                    <a:pt x="21" y="247"/>
                    <a:pt x="12" y="228"/>
                  </a:cubicBezTo>
                  <a:cubicBezTo>
                    <a:pt x="4" y="209"/>
                    <a:pt x="0" y="189"/>
                    <a:pt x="0" y="169"/>
                  </a:cubicBezTo>
                  <a:cubicBezTo>
                    <a:pt x="1" y="150"/>
                    <a:pt x="6" y="130"/>
                    <a:pt x="15" y="111"/>
                  </a:cubicBezTo>
                  <a:cubicBezTo>
                    <a:pt x="24" y="92"/>
                    <a:pt x="37" y="73"/>
                    <a:pt x="55" y="56"/>
                  </a:cubicBezTo>
                  <a:cubicBezTo>
                    <a:pt x="73" y="38"/>
                    <a:pt x="92" y="24"/>
                    <a:pt x="112" y="15"/>
                  </a:cubicBezTo>
                  <a:cubicBezTo>
                    <a:pt x="132" y="6"/>
                    <a:pt x="153" y="1"/>
                    <a:pt x="173" y="0"/>
                  </a:cubicBezTo>
                  <a:cubicBezTo>
                    <a:pt x="193" y="0"/>
                    <a:pt x="213" y="4"/>
                    <a:pt x="233" y="12"/>
                  </a:cubicBezTo>
                  <a:cubicBezTo>
                    <a:pt x="253" y="20"/>
                    <a:pt x="271" y="33"/>
                    <a:pt x="288" y="50"/>
                  </a:cubicBezTo>
                  <a:cubicBezTo>
                    <a:pt x="297" y="59"/>
                    <a:pt x="304" y="68"/>
                    <a:pt x="310" y="77"/>
                  </a:cubicBezTo>
                  <a:cubicBezTo>
                    <a:pt x="316" y="86"/>
                    <a:pt x="321" y="95"/>
                    <a:pt x="325" y="103"/>
                  </a:cubicBezTo>
                  <a:cubicBezTo>
                    <a:pt x="329" y="111"/>
                    <a:pt x="332" y="118"/>
                    <a:pt x="334" y="124"/>
                  </a:cubicBezTo>
                  <a:cubicBezTo>
                    <a:pt x="335" y="131"/>
                    <a:pt x="336" y="136"/>
                    <a:pt x="336" y="139"/>
                  </a:cubicBezTo>
                  <a:cubicBezTo>
                    <a:pt x="336" y="142"/>
                    <a:pt x="335" y="145"/>
                    <a:pt x="334" y="147"/>
                  </a:cubicBezTo>
                  <a:cubicBezTo>
                    <a:pt x="332" y="150"/>
                    <a:pt x="330" y="153"/>
                    <a:pt x="326" y="157"/>
                  </a:cubicBezTo>
                  <a:close/>
                  <a:moveTo>
                    <a:pt x="213" y="430"/>
                  </a:moveTo>
                  <a:cubicBezTo>
                    <a:pt x="212" y="431"/>
                    <a:pt x="211" y="432"/>
                    <a:pt x="210" y="432"/>
                  </a:cubicBezTo>
                  <a:cubicBezTo>
                    <a:pt x="209" y="432"/>
                    <a:pt x="208" y="432"/>
                    <a:pt x="206" y="431"/>
                  </a:cubicBezTo>
                  <a:cubicBezTo>
                    <a:pt x="205" y="431"/>
                    <a:pt x="203" y="430"/>
                    <a:pt x="201" y="428"/>
                  </a:cubicBezTo>
                  <a:cubicBezTo>
                    <a:pt x="198" y="426"/>
                    <a:pt x="196" y="424"/>
                    <a:pt x="193" y="421"/>
                  </a:cubicBezTo>
                  <a:cubicBezTo>
                    <a:pt x="190" y="418"/>
                    <a:pt x="188" y="416"/>
                    <a:pt x="186" y="414"/>
                  </a:cubicBezTo>
                  <a:cubicBezTo>
                    <a:pt x="185" y="411"/>
                    <a:pt x="183" y="410"/>
                    <a:pt x="183" y="408"/>
                  </a:cubicBezTo>
                  <a:cubicBezTo>
                    <a:pt x="182" y="406"/>
                    <a:pt x="182" y="405"/>
                    <a:pt x="182" y="404"/>
                  </a:cubicBezTo>
                  <a:cubicBezTo>
                    <a:pt x="182" y="403"/>
                    <a:pt x="183" y="402"/>
                    <a:pt x="184" y="401"/>
                  </a:cubicBezTo>
                  <a:lnTo>
                    <a:pt x="420" y="165"/>
                  </a:lnTo>
                  <a:cubicBezTo>
                    <a:pt x="421" y="164"/>
                    <a:pt x="422" y="163"/>
                    <a:pt x="423" y="163"/>
                  </a:cubicBezTo>
                  <a:cubicBezTo>
                    <a:pt x="424" y="163"/>
                    <a:pt x="426" y="163"/>
                    <a:pt x="427" y="164"/>
                  </a:cubicBezTo>
                  <a:cubicBezTo>
                    <a:pt x="429" y="164"/>
                    <a:pt x="431" y="165"/>
                    <a:pt x="433" y="167"/>
                  </a:cubicBezTo>
                  <a:cubicBezTo>
                    <a:pt x="435" y="169"/>
                    <a:pt x="437" y="171"/>
                    <a:pt x="440" y="174"/>
                  </a:cubicBezTo>
                  <a:cubicBezTo>
                    <a:pt x="443" y="177"/>
                    <a:pt x="446" y="179"/>
                    <a:pt x="447" y="181"/>
                  </a:cubicBezTo>
                  <a:cubicBezTo>
                    <a:pt x="449" y="183"/>
                    <a:pt x="450" y="185"/>
                    <a:pt x="451" y="187"/>
                  </a:cubicBezTo>
                  <a:cubicBezTo>
                    <a:pt x="451" y="188"/>
                    <a:pt x="451" y="190"/>
                    <a:pt x="451" y="191"/>
                  </a:cubicBezTo>
                  <a:cubicBezTo>
                    <a:pt x="451" y="192"/>
                    <a:pt x="450" y="193"/>
                    <a:pt x="449" y="194"/>
                  </a:cubicBezTo>
                  <a:lnTo>
                    <a:pt x="213" y="430"/>
                  </a:lnTo>
                  <a:close/>
                  <a:moveTo>
                    <a:pt x="304" y="521"/>
                  </a:moveTo>
                  <a:cubicBezTo>
                    <a:pt x="303" y="522"/>
                    <a:pt x="302" y="522"/>
                    <a:pt x="301" y="522"/>
                  </a:cubicBezTo>
                  <a:cubicBezTo>
                    <a:pt x="299" y="523"/>
                    <a:pt x="298" y="522"/>
                    <a:pt x="297" y="522"/>
                  </a:cubicBezTo>
                  <a:cubicBezTo>
                    <a:pt x="295" y="521"/>
                    <a:pt x="293" y="520"/>
                    <a:pt x="291" y="518"/>
                  </a:cubicBezTo>
                  <a:cubicBezTo>
                    <a:pt x="289" y="517"/>
                    <a:pt x="286" y="514"/>
                    <a:pt x="283" y="512"/>
                  </a:cubicBezTo>
                  <a:cubicBezTo>
                    <a:pt x="281" y="509"/>
                    <a:pt x="278" y="506"/>
                    <a:pt x="277" y="504"/>
                  </a:cubicBezTo>
                  <a:cubicBezTo>
                    <a:pt x="275" y="502"/>
                    <a:pt x="274" y="500"/>
                    <a:pt x="273" y="499"/>
                  </a:cubicBezTo>
                  <a:cubicBezTo>
                    <a:pt x="273" y="497"/>
                    <a:pt x="272" y="496"/>
                    <a:pt x="273" y="495"/>
                  </a:cubicBezTo>
                  <a:cubicBezTo>
                    <a:pt x="273" y="493"/>
                    <a:pt x="274" y="492"/>
                    <a:pt x="274" y="492"/>
                  </a:cubicBezTo>
                  <a:lnTo>
                    <a:pt x="434" y="332"/>
                  </a:lnTo>
                  <a:cubicBezTo>
                    <a:pt x="434" y="332"/>
                    <a:pt x="435" y="331"/>
                    <a:pt x="436" y="331"/>
                  </a:cubicBezTo>
                  <a:cubicBezTo>
                    <a:pt x="438" y="330"/>
                    <a:pt x="439" y="331"/>
                    <a:pt x="441" y="331"/>
                  </a:cubicBezTo>
                  <a:cubicBezTo>
                    <a:pt x="442" y="332"/>
                    <a:pt x="444" y="333"/>
                    <a:pt x="446" y="335"/>
                  </a:cubicBezTo>
                  <a:cubicBezTo>
                    <a:pt x="448" y="336"/>
                    <a:pt x="451" y="339"/>
                    <a:pt x="454" y="341"/>
                  </a:cubicBezTo>
                  <a:cubicBezTo>
                    <a:pt x="456" y="344"/>
                    <a:pt x="459" y="347"/>
                    <a:pt x="460" y="349"/>
                  </a:cubicBezTo>
                  <a:cubicBezTo>
                    <a:pt x="462" y="351"/>
                    <a:pt x="463" y="353"/>
                    <a:pt x="464" y="355"/>
                  </a:cubicBezTo>
                  <a:cubicBezTo>
                    <a:pt x="464" y="356"/>
                    <a:pt x="465" y="357"/>
                    <a:pt x="464" y="359"/>
                  </a:cubicBezTo>
                  <a:cubicBezTo>
                    <a:pt x="464" y="360"/>
                    <a:pt x="464" y="361"/>
                    <a:pt x="463" y="362"/>
                  </a:cubicBezTo>
                  <a:lnTo>
                    <a:pt x="304" y="521"/>
                  </a:lnTo>
                  <a:close/>
                  <a:moveTo>
                    <a:pt x="520" y="311"/>
                  </a:moveTo>
                  <a:cubicBezTo>
                    <a:pt x="513" y="318"/>
                    <a:pt x="507" y="321"/>
                    <a:pt x="502" y="321"/>
                  </a:cubicBezTo>
                  <a:cubicBezTo>
                    <a:pt x="497" y="321"/>
                    <a:pt x="491" y="318"/>
                    <a:pt x="484" y="311"/>
                  </a:cubicBezTo>
                  <a:cubicBezTo>
                    <a:pt x="477" y="304"/>
                    <a:pt x="474" y="298"/>
                    <a:pt x="474" y="293"/>
                  </a:cubicBezTo>
                  <a:cubicBezTo>
                    <a:pt x="473" y="288"/>
                    <a:pt x="477" y="282"/>
                    <a:pt x="483" y="276"/>
                  </a:cubicBezTo>
                  <a:cubicBezTo>
                    <a:pt x="490" y="269"/>
                    <a:pt x="496" y="265"/>
                    <a:pt x="501" y="265"/>
                  </a:cubicBezTo>
                  <a:cubicBezTo>
                    <a:pt x="506" y="266"/>
                    <a:pt x="512" y="269"/>
                    <a:pt x="519" y="276"/>
                  </a:cubicBezTo>
                  <a:cubicBezTo>
                    <a:pt x="526" y="283"/>
                    <a:pt x="530" y="289"/>
                    <a:pt x="530" y="294"/>
                  </a:cubicBezTo>
                  <a:cubicBezTo>
                    <a:pt x="530" y="299"/>
                    <a:pt x="527" y="305"/>
                    <a:pt x="520" y="311"/>
                  </a:cubicBezTo>
                  <a:close/>
                  <a:moveTo>
                    <a:pt x="736" y="634"/>
                  </a:moveTo>
                  <a:cubicBezTo>
                    <a:pt x="735" y="635"/>
                    <a:pt x="734" y="636"/>
                    <a:pt x="732" y="636"/>
                  </a:cubicBezTo>
                  <a:cubicBezTo>
                    <a:pt x="731" y="637"/>
                    <a:pt x="729" y="639"/>
                    <a:pt x="727" y="640"/>
                  </a:cubicBezTo>
                  <a:lnTo>
                    <a:pt x="529" y="744"/>
                  </a:lnTo>
                  <a:cubicBezTo>
                    <a:pt x="527" y="745"/>
                    <a:pt x="525" y="745"/>
                    <a:pt x="524" y="745"/>
                  </a:cubicBezTo>
                  <a:cubicBezTo>
                    <a:pt x="522" y="746"/>
                    <a:pt x="521" y="745"/>
                    <a:pt x="519" y="744"/>
                  </a:cubicBezTo>
                  <a:cubicBezTo>
                    <a:pt x="517" y="743"/>
                    <a:pt x="515" y="742"/>
                    <a:pt x="512" y="740"/>
                  </a:cubicBezTo>
                  <a:cubicBezTo>
                    <a:pt x="510" y="737"/>
                    <a:pt x="507" y="735"/>
                    <a:pt x="503" y="731"/>
                  </a:cubicBezTo>
                  <a:cubicBezTo>
                    <a:pt x="499" y="727"/>
                    <a:pt x="496" y="724"/>
                    <a:pt x="494" y="722"/>
                  </a:cubicBezTo>
                  <a:cubicBezTo>
                    <a:pt x="492" y="719"/>
                    <a:pt x="490" y="716"/>
                    <a:pt x="489" y="715"/>
                  </a:cubicBezTo>
                  <a:cubicBezTo>
                    <a:pt x="488" y="713"/>
                    <a:pt x="488" y="711"/>
                    <a:pt x="488" y="709"/>
                  </a:cubicBezTo>
                  <a:cubicBezTo>
                    <a:pt x="488" y="708"/>
                    <a:pt x="489" y="706"/>
                    <a:pt x="489" y="705"/>
                  </a:cubicBezTo>
                  <a:lnTo>
                    <a:pt x="571" y="556"/>
                  </a:lnTo>
                  <a:lnTo>
                    <a:pt x="573" y="554"/>
                  </a:lnTo>
                  <a:lnTo>
                    <a:pt x="571" y="555"/>
                  </a:lnTo>
                  <a:lnTo>
                    <a:pt x="424" y="640"/>
                  </a:lnTo>
                  <a:cubicBezTo>
                    <a:pt x="423" y="641"/>
                    <a:pt x="421" y="641"/>
                    <a:pt x="420" y="641"/>
                  </a:cubicBezTo>
                  <a:cubicBezTo>
                    <a:pt x="418" y="641"/>
                    <a:pt x="416" y="641"/>
                    <a:pt x="414" y="640"/>
                  </a:cubicBezTo>
                  <a:cubicBezTo>
                    <a:pt x="412" y="639"/>
                    <a:pt x="410" y="637"/>
                    <a:pt x="407" y="635"/>
                  </a:cubicBezTo>
                  <a:cubicBezTo>
                    <a:pt x="405" y="632"/>
                    <a:pt x="402" y="630"/>
                    <a:pt x="398" y="626"/>
                  </a:cubicBezTo>
                  <a:cubicBezTo>
                    <a:pt x="394" y="622"/>
                    <a:pt x="392" y="619"/>
                    <a:pt x="389" y="617"/>
                  </a:cubicBezTo>
                  <a:cubicBezTo>
                    <a:pt x="387" y="614"/>
                    <a:pt x="386" y="612"/>
                    <a:pt x="385" y="610"/>
                  </a:cubicBezTo>
                  <a:cubicBezTo>
                    <a:pt x="384" y="608"/>
                    <a:pt x="383" y="606"/>
                    <a:pt x="384" y="605"/>
                  </a:cubicBezTo>
                  <a:cubicBezTo>
                    <a:pt x="384" y="603"/>
                    <a:pt x="384" y="602"/>
                    <a:pt x="385" y="600"/>
                  </a:cubicBezTo>
                  <a:lnTo>
                    <a:pt x="490" y="403"/>
                  </a:lnTo>
                  <a:cubicBezTo>
                    <a:pt x="491" y="400"/>
                    <a:pt x="492" y="398"/>
                    <a:pt x="493" y="397"/>
                  </a:cubicBezTo>
                  <a:cubicBezTo>
                    <a:pt x="494" y="396"/>
                    <a:pt x="495" y="394"/>
                    <a:pt x="495" y="394"/>
                  </a:cubicBezTo>
                  <a:cubicBezTo>
                    <a:pt x="497" y="393"/>
                    <a:pt x="498" y="392"/>
                    <a:pt x="499" y="392"/>
                  </a:cubicBezTo>
                  <a:cubicBezTo>
                    <a:pt x="500" y="392"/>
                    <a:pt x="501" y="392"/>
                    <a:pt x="503" y="393"/>
                  </a:cubicBezTo>
                  <a:cubicBezTo>
                    <a:pt x="504" y="393"/>
                    <a:pt x="506" y="394"/>
                    <a:pt x="508" y="396"/>
                  </a:cubicBezTo>
                  <a:cubicBezTo>
                    <a:pt x="510" y="398"/>
                    <a:pt x="512" y="400"/>
                    <a:pt x="515" y="403"/>
                  </a:cubicBezTo>
                  <a:cubicBezTo>
                    <a:pt x="518" y="406"/>
                    <a:pt x="521" y="409"/>
                    <a:pt x="523" y="411"/>
                  </a:cubicBezTo>
                  <a:cubicBezTo>
                    <a:pt x="525" y="413"/>
                    <a:pt x="526" y="415"/>
                    <a:pt x="526" y="417"/>
                  </a:cubicBezTo>
                  <a:cubicBezTo>
                    <a:pt x="527" y="418"/>
                    <a:pt x="527" y="420"/>
                    <a:pt x="527" y="421"/>
                  </a:cubicBezTo>
                  <a:cubicBezTo>
                    <a:pt x="527" y="422"/>
                    <a:pt x="526" y="423"/>
                    <a:pt x="525" y="425"/>
                  </a:cubicBezTo>
                  <a:lnTo>
                    <a:pt x="433" y="594"/>
                  </a:lnTo>
                  <a:lnTo>
                    <a:pt x="431" y="596"/>
                  </a:lnTo>
                  <a:lnTo>
                    <a:pt x="433" y="595"/>
                  </a:lnTo>
                  <a:lnTo>
                    <a:pt x="600" y="499"/>
                  </a:lnTo>
                  <a:cubicBezTo>
                    <a:pt x="601" y="498"/>
                    <a:pt x="602" y="498"/>
                    <a:pt x="604" y="497"/>
                  </a:cubicBezTo>
                  <a:cubicBezTo>
                    <a:pt x="605" y="497"/>
                    <a:pt x="606" y="497"/>
                    <a:pt x="608" y="498"/>
                  </a:cubicBezTo>
                  <a:cubicBezTo>
                    <a:pt x="609" y="499"/>
                    <a:pt x="611" y="500"/>
                    <a:pt x="613" y="501"/>
                  </a:cubicBezTo>
                  <a:cubicBezTo>
                    <a:pt x="615" y="503"/>
                    <a:pt x="617" y="505"/>
                    <a:pt x="620" y="508"/>
                  </a:cubicBezTo>
                  <a:cubicBezTo>
                    <a:pt x="623" y="511"/>
                    <a:pt x="625" y="514"/>
                    <a:pt x="627" y="516"/>
                  </a:cubicBezTo>
                  <a:cubicBezTo>
                    <a:pt x="629" y="518"/>
                    <a:pt x="630" y="519"/>
                    <a:pt x="631" y="521"/>
                  </a:cubicBezTo>
                  <a:cubicBezTo>
                    <a:pt x="631" y="522"/>
                    <a:pt x="631" y="524"/>
                    <a:pt x="631" y="525"/>
                  </a:cubicBezTo>
                  <a:cubicBezTo>
                    <a:pt x="631" y="526"/>
                    <a:pt x="631" y="527"/>
                    <a:pt x="630" y="528"/>
                  </a:cubicBezTo>
                  <a:lnTo>
                    <a:pt x="536" y="698"/>
                  </a:lnTo>
                  <a:lnTo>
                    <a:pt x="535" y="700"/>
                  </a:lnTo>
                  <a:lnTo>
                    <a:pt x="537" y="698"/>
                  </a:lnTo>
                  <a:lnTo>
                    <a:pt x="706" y="605"/>
                  </a:lnTo>
                  <a:cubicBezTo>
                    <a:pt x="707" y="604"/>
                    <a:pt x="708" y="604"/>
                    <a:pt x="710" y="603"/>
                  </a:cubicBezTo>
                  <a:cubicBezTo>
                    <a:pt x="711" y="603"/>
                    <a:pt x="712" y="603"/>
                    <a:pt x="714" y="604"/>
                  </a:cubicBezTo>
                  <a:cubicBezTo>
                    <a:pt x="715" y="605"/>
                    <a:pt x="717" y="606"/>
                    <a:pt x="719" y="608"/>
                  </a:cubicBezTo>
                  <a:cubicBezTo>
                    <a:pt x="722" y="610"/>
                    <a:pt x="724" y="612"/>
                    <a:pt x="727" y="615"/>
                  </a:cubicBezTo>
                  <a:cubicBezTo>
                    <a:pt x="730" y="618"/>
                    <a:pt x="732" y="620"/>
                    <a:pt x="734" y="622"/>
                  </a:cubicBezTo>
                  <a:cubicBezTo>
                    <a:pt x="735" y="624"/>
                    <a:pt x="736" y="626"/>
                    <a:pt x="737" y="627"/>
                  </a:cubicBezTo>
                  <a:cubicBezTo>
                    <a:pt x="738" y="629"/>
                    <a:pt x="738" y="630"/>
                    <a:pt x="738" y="631"/>
                  </a:cubicBezTo>
                  <a:cubicBezTo>
                    <a:pt x="737" y="632"/>
                    <a:pt x="737" y="633"/>
                    <a:pt x="736" y="634"/>
                  </a:cubicBezTo>
                  <a:close/>
                  <a:moveTo>
                    <a:pt x="643" y="860"/>
                  </a:moveTo>
                  <a:cubicBezTo>
                    <a:pt x="642" y="861"/>
                    <a:pt x="641" y="862"/>
                    <a:pt x="640" y="862"/>
                  </a:cubicBezTo>
                  <a:cubicBezTo>
                    <a:pt x="639" y="862"/>
                    <a:pt x="638" y="862"/>
                    <a:pt x="636" y="861"/>
                  </a:cubicBezTo>
                  <a:cubicBezTo>
                    <a:pt x="634" y="861"/>
                    <a:pt x="633" y="859"/>
                    <a:pt x="631" y="858"/>
                  </a:cubicBezTo>
                  <a:cubicBezTo>
                    <a:pt x="628" y="856"/>
                    <a:pt x="626" y="854"/>
                    <a:pt x="623" y="851"/>
                  </a:cubicBezTo>
                  <a:cubicBezTo>
                    <a:pt x="620" y="848"/>
                    <a:pt x="618" y="846"/>
                    <a:pt x="616" y="844"/>
                  </a:cubicBezTo>
                  <a:cubicBezTo>
                    <a:pt x="615" y="841"/>
                    <a:pt x="613" y="840"/>
                    <a:pt x="613" y="838"/>
                  </a:cubicBezTo>
                  <a:cubicBezTo>
                    <a:pt x="612" y="836"/>
                    <a:pt x="612" y="835"/>
                    <a:pt x="612" y="834"/>
                  </a:cubicBezTo>
                  <a:cubicBezTo>
                    <a:pt x="612" y="833"/>
                    <a:pt x="613" y="832"/>
                    <a:pt x="614" y="831"/>
                  </a:cubicBezTo>
                  <a:lnTo>
                    <a:pt x="773" y="672"/>
                  </a:lnTo>
                  <a:cubicBezTo>
                    <a:pt x="774" y="671"/>
                    <a:pt x="775" y="670"/>
                    <a:pt x="776" y="670"/>
                  </a:cubicBezTo>
                  <a:cubicBezTo>
                    <a:pt x="777" y="670"/>
                    <a:pt x="778" y="670"/>
                    <a:pt x="780" y="671"/>
                  </a:cubicBezTo>
                  <a:cubicBezTo>
                    <a:pt x="782" y="671"/>
                    <a:pt x="783" y="673"/>
                    <a:pt x="786" y="674"/>
                  </a:cubicBezTo>
                  <a:cubicBezTo>
                    <a:pt x="788" y="676"/>
                    <a:pt x="790" y="678"/>
                    <a:pt x="793" y="681"/>
                  </a:cubicBezTo>
                  <a:cubicBezTo>
                    <a:pt x="796" y="684"/>
                    <a:pt x="798" y="686"/>
                    <a:pt x="800" y="688"/>
                  </a:cubicBezTo>
                  <a:cubicBezTo>
                    <a:pt x="802" y="691"/>
                    <a:pt x="803" y="692"/>
                    <a:pt x="803" y="694"/>
                  </a:cubicBezTo>
                  <a:cubicBezTo>
                    <a:pt x="804" y="695"/>
                    <a:pt x="804" y="697"/>
                    <a:pt x="804" y="698"/>
                  </a:cubicBezTo>
                  <a:cubicBezTo>
                    <a:pt x="804" y="699"/>
                    <a:pt x="803" y="700"/>
                    <a:pt x="802" y="701"/>
                  </a:cubicBezTo>
                  <a:lnTo>
                    <a:pt x="643" y="860"/>
                  </a:lnTo>
                  <a:close/>
                  <a:moveTo>
                    <a:pt x="859" y="651"/>
                  </a:moveTo>
                  <a:cubicBezTo>
                    <a:pt x="852" y="657"/>
                    <a:pt x="846" y="661"/>
                    <a:pt x="841" y="661"/>
                  </a:cubicBezTo>
                  <a:cubicBezTo>
                    <a:pt x="836" y="661"/>
                    <a:pt x="830" y="657"/>
                    <a:pt x="823" y="650"/>
                  </a:cubicBezTo>
                  <a:cubicBezTo>
                    <a:pt x="817" y="643"/>
                    <a:pt x="813" y="637"/>
                    <a:pt x="813" y="632"/>
                  </a:cubicBezTo>
                  <a:cubicBezTo>
                    <a:pt x="813" y="627"/>
                    <a:pt x="816" y="622"/>
                    <a:pt x="823" y="615"/>
                  </a:cubicBezTo>
                  <a:cubicBezTo>
                    <a:pt x="830" y="608"/>
                    <a:pt x="836" y="605"/>
                    <a:pt x="841" y="605"/>
                  </a:cubicBezTo>
                  <a:cubicBezTo>
                    <a:pt x="846" y="605"/>
                    <a:pt x="852" y="609"/>
                    <a:pt x="859" y="615"/>
                  </a:cubicBezTo>
                  <a:cubicBezTo>
                    <a:pt x="866" y="622"/>
                    <a:pt x="869" y="628"/>
                    <a:pt x="869" y="633"/>
                  </a:cubicBezTo>
                  <a:cubicBezTo>
                    <a:pt x="869" y="638"/>
                    <a:pt x="866" y="644"/>
                    <a:pt x="859" y="651"/>
                  </a:cubicBezTo>
                  <a:close/>
                  <a:moveTo>
                    <a:pt x="832" y="1000"/>
                  </a:moveTo>
                  <a:cubicBezTo>
                    <a:pt x="830" y="1002"/>
                    <a:pt x="828" y="1004"/>
                    <a:pt x="826" y="1005"/>
                  </a:cubicBezTo>
                  <a:cubicBezTo>
                    <a:pt x="825" y="1007"/>
                    <a:pt x="823" y="1008"/>
                    <a:pt x="822" y="1008"/>
                  </a:cubicBezTo>
                  <a:cubicBezTo>
                    <a:pt x="821" y="1009"/>
                    <a:pt x="819" y="1010"/>
                    <a:pt x="818" y="1010"/>
                  </a:cubicBezTo>
                  <a:cubicBezTo>
                    <a:pt x="817" y="1010"/>
                    <a:pt x="815" y="1011"/>
                    <a:pt x="812" y="1011"/>
                  </a:cubicBezTo>
                  <a:cubicBezTo>
                    <a:pt x="809" y="1011"/>
                    <a:pt x="805" y="1010"/>
                    <a:pt x="799" y="1009"/>
                  </a:cubicBezTo>
                  <a:cubicBezTo>
                    <a:pt x="793" y="1007"/>
                    <a:pt x="787" y="1005"/>
                    <a:pt x="781" y="1002"/>
                  </a:cubicBezTo>
                  <a:cubicBezTo>
                    <a:pt x="775" y="1000"/>
                    <a:pt x="769" y="996"/>
                    <a:pt x="763" y="992"/>
                  </a:cubicBezTo>
                  <a:cubicBezTo>
                    <a:pt x="756" y="988"/>
                    <a:pt x="751" y="983"/>
                    <a:pt x="745" y="978"/>
                  </a:cubicBezTo>
                  <a:cubicBezTo>
                    <a:pt x="734" y="966"/>
                    <a:pt x="725" y="954"/>
                    <a:pt x="720" y="942"/>
                  </a:cubicBezTo>
                  <a:cubicBezTo>
                    <a:pt x="715" y="929"/>
                    <a:pt x="713" y="916"/>
                    <a:pt x="715" y="903"/>
                  </a:cubicBezTo>
                  <a:cubicBezTo>
                    <a:pt x="716" y="890"/>
                    <a:pt x="720" y="876"/>
                    <a:pt x="728" y="863"/>
                  </a:cubicBezTo>
                  <a:cubicBezTo>
                    <a:pt x="735" y="849"/>
                    <a:pt x="746" y="835"/>
                    <a:pt x="760" y="821"/>
                  </a:cubicBezTo>
                  <a:cubicBezTo>
                    <a:pt x="775" y="806"/>
                    <a:pt x="791" y="794"/>
                    <a:pt x="806" y="787"/>
                  </a:cubicBezTo>
                  <a:cubicBezTo>
                    <a:pt x="821" y="779"/>
                    <a:pt x="835" y="775"/>
                    <a:pt x="849" y="775"/>
                  </a:cubicBezTo>
                  <a:cubicBezTo>
                    <a:pt x="863" y="774"/>
                    <a:pt x="876" y="777"/>
                    <a:pt x="889" y="782"/>
                  </a:cubicBezTo>
                  <a:cubicBezTo>
                    <a:pt x="901" y="788"/>
                    <a:pt x="913" y="796"/>
                    <a:pt x="923" y="806"/>
                  </a:cubicBezTo>
                  <a:cubicBezTo>
                    <a:pt x="928" y="811"/>
                    <a:pt x="933" y="817"/>
                    <a:pt x="936" y="823"/>
                  </a:cubicBezTo>
                  <a:cubicBezTo>
                    <a:pt x="940" y="828"/>
                    <a:pt x="943" y="834"/>
                    <a:pt x="946" y="839"/>
                  </a:cubicBezTo>
                  <a:cubicBezTo>
                    <a:pt x="948" y="845"/>
                    <a:pt x="950" y="850"/>
                    <a:pt x="951" y="855"/>
                  </a:cubicBezTo>
                  <a:cubicBezTo>
                    <a:pt x="952" y="861"/>
                    <a:pt x="953" y="865"/>
                    <a:pt x="953" y="867"/>
                  </a:cubicBezTo>
                  <a:cubicBezTo>
                    <a:pt x="953" y="870"/>
                    <a:pt x="953" y="872"/>
                    <a:pt x="953" y="874"/>
                  </a:cubicBezTo>
                  <a:cubicBezTo>
                    <a:pt x="952" y="875"/>
                    <a:pt x="952" y="876"/>
                    <a:pt x="951" y="878"/>
                  </a:cubicBezTo>
                  <a:cubicBezTo>
                    <a:pt x="950" y="879"/>
                    <a:pt x="949" y="881"/>
                    <a:pt x="948" y="882"/>
                  </a:cubicBezTo>
                  <a:cubicBezTo>
                    <a:pt x="947" y="884"/>
                    <a:pt x="945" y="886"/>
                    <a:pt x="943" y="888"/>
                  </a:cubicBezTo>
                  <a:cubicBezTo>
                    <a:pt x="938" y="892"/>
                    <a:pt x="934" y="895"/>
                    <a:pt x="931" y="896"/>
                  </a:cubicBezTo>
                  <a:cubicBezTo>
                    <a:pt x="929" y="897"/>
                    <a:pt x="926" y="896"/>
                    <a:pt x="925" y="895"/>
                  </a:cubicBezTo>
                  <a:cubicBezTo>
                    <a:pt x="923" y="893"/>
                    <a:pt x="922" y="890"/>
                    <a:pt x="922" y="886"/>
                  </a:cubicBezTo>
                  <a:cubicBezTo>
                    <a:pt x="921" y="882"/>
                    <a:pt x="921" y="876"/>
                    <a:pt x="919" y="871"/>
                  </a:cubicBezTo>
                  <a:cubicBezTo>
                    <a:pt x="918" y="865"/>
                    <a:pt x="916" y="858"/>
                    <a:pt x="913" y="851"/>
                  </a:cubicBezTo>
                  <a:cubicBezTo>
                    <a:pt x="910" y="844"/>
                    <a:pt x="905" y="837"/>
                    <a:pt x="898" y="831"/>
                  </a:cubicBezTo>
                  <a:cubicBezTo>
                    <a:pt x="884" y="817"/>
                    <a:pt x="868" y="811"/>
                    <a:pt x="850" y="815"/>
                  </a:cubicBezTo>
                  <a:cubicBezTo>
                    <a:pt x="831" y="818"/>
                    <a:pt x="812" y="830"/>
                    <a:pt x="792" y="850"/>
                  </a:cubicBezTo>
                  <a:cubicBezTo>
                    <a:pt x="781" y="860"/>
                    <a:pt x="773" y="870"/>
                    <a:pt x="768" y="880"/>
                  </a:cubicBezTo>
                  <a:cubicBezTo>
                    <a:pt x="762" y="890"/>
                    <a:pt x="758" y="899"/>
                    <a:pt x="757" y="908"/>
                  </a:cubicBezTo>
                  <a:cubicBezTo>
                    <a:pt x="755" y="917"/>
                    <a:pt x="756" y="925"/>
                    <a:pt x="759" y="933"/>
                  </a:cubicBezTo>
                  <a:cubicBezTo>
                    <a:pt x="762" y="941"/>
                    <a:pt x="767" y="949"/>
                    <a:pt x="774" y="956"/>
                  </a:cubicBezTo>
                  <a:cubicBezTo>
                    <a:pt x="781" y="963"/>
                    <a:pt x="788" y="968"/>
                    <a:pt x="795" y="971"/>
                  </a:cubicBezTo>
                  <a:cubicBezTo>
                    <a:pt x="802" y="974"/>
                    <a:pt x="809" y="976"/>
                    <a:pt x="815" y="977"/>
                  </a:cubicBezTo>
                  <a:cubicBezTo>
                    <a:pt x="821" y="978"/>
                    <a:pt x="827" y="979"/>
                    <a:pt x="831" y="979"/>
                  </a:cubicBezTo>
                  <a:cubicBezTo>
                    <a:pt x="836" y="980"/>
                    <a:pt x="839" y="981"/>
                    <a:pt x="840" y="982"/>
                  </a:cubicBezTo>
                  <a:cubicBezTo>
                    <a:pt x="841" y="983"/>
                    <a:pt x="842" y="984"/>
                    <a:pt x="842" y="985"/>
                  </a:cubicBezTo>
                  <a:cubicBezTo>
                    <a:pt x="842" y="986"/>
                    <a:pt x="842" y="987"/>
                    <a:pt x="841" y="989"/>
                  </a:cubicBezTo>
                  <a:cubicBezTo>
                    <a:pt x="840" y="990"/>
                    <a:pt x="839" y="992"/>
                    <a:pt x="838" y="994"/>
                  </a:cubicBezTo>
                  <a:cubicBezTo>
                    <a:pt x="836" y="996"/>
                    <a:pt x="834" y="998"/>
                    <a:pt x="832" y="1000"/>
                  </a:cubicBezTo>
                  <a:close/>
                  <a:moveTo>
                    <a:pt x="1074" y="1118"/>
                  </a:moveTo>
                  <a:cubicBezTo>
                    <a:pt x="1069" y="1122"/>
                    <a:pt x="1065" y="1125"/>
                    <a:pt x="1060" y="1124"/>
                  </a:cubicBezTo>
                  <a:cubicBezTo>
                    <a:pt x="1056" y="1124"/>
                    <a:pt x="1053" y="1122"/>
                    <a:pt x="1050" y="1119"/>
                  </a:cubicBezTo>
                  <a:lnTo>
                    <a:pt x="945" y="1014"/>
                  </a:lnTo>
                  <a:cubicBezTo>
                    <a:pt x="936" y="1023"/>
                    <a:pt x="929" y="1032"/>
                    <a:pt x="924" y="1041"/>
                  </a:cubicBezTo>
                  <a:cubicBezTo>
                    <a:pt x="918" y="1050"/>
                    <a:pt x="915" y="1059"/>
                    <a:pt x="914" y="1068"/>
                  </a:cubicBezTo>
                  <a:cubicBezTo>
                    <a:pt x="913" y="1077"/>
                    <a:pt x="915" y="1087"/>
                    <a:pt x="919" y="1096"/>
                  </a:cubicBezTo>
                  <a:cubicBezTo>
                    <a:pt x="923" y="1105"/>
                    <a:pt x="929" y="1115"/>
                    <a:pt x="939" y="1124"/>
                  </a:cubicBezTo>
                  <a:cubicBezTo>
                    <a:pt x="947" y="1132"/>
                    <a:pt x="954" y="1138"/>
                    <a:pt x="961" y="1143"/>
                  </a:cubicBezTo>
                  <a:cubicBezTo>
                    <a:pt x="968" y="1147"/>
                    <a:pt x="975" y="1151"/>
                    <a:pt x="981" y="1154"/>
                  </a:cubicBezTo>
                  <a:cubicBezTo>
                    <a:pt x="987" y="1157"/>
                    <a:pt x="991" y="1159"/>
                    <a:pt x="995" y="1160"/>
                  </a:cubicBezTo>
                  <a:cubicBezTo>
                    <a:pt x="1000" y="1162"/>
                    <a:pt x="1002" y="1163"/>
                    <a:pt x="1004" y="1165"/>
                  </a:cubicBezTo>
                  <a:cubicBezTo>
                    <a:pt x="1004" y="1166"/>
                    <a:pt x="1005" y="1167"/>
                    <a:pt x="1005" y="1168"/>
                  </a:cubicBezTo>
                  <a:cubicBezTo>
                    <a:pt x="1005" y="1169"/>
                    <a:pt x="1005" y="1170"/>
                    <a:pt x="1005" y="1171"/>
                  </a:cubicBezTo>
                  <a:cubicBezTo>
                    <a:pt x="1004" y="1172"/>
                    <a:pt x="1004" y="1174"/>
                    <a:pt x="1002" y="1175"/>
                  </a:cubicBezTo>
                  <a:cubicBezTo>
                    <a:pt x="1001" y="1177"/>
                    <a:pt x="999" y="1179"/>
                    <a:pt x="997" y="1181"/>
                  </a:cubicBezTo>
                  <a:cubicBezTo>
                    <a:pt x="996" y="1183"/>
                    <a:pt x="994" y="1184"/>
                    <a:pt x="993" y="1185"/>
                  </a:cubicBezTo>
                  <a:cubicBezTo>
                    <a:pt x="992" y="1186"/>
                    <a:pt x="991" y="1187"/>
                    <a:pt x="990" y="1187"/>
                  </a:cubicBezTo>
                  <a:cubicBezTo>
                    <a:pt x="988" y="1188"/>
                    <a:pt x="987" y="1189"/>
                    <a:pt x="986" y="1189"/>
                  </a:cubicBezTo>
                  <a:cubicBezTo>
                    <a:pt x="985" y="1189"/>
                    <a:pt x="984" y="1189"/>
                    <a:pt x="983" y="1189"/>
                  </a:cubicBezTo>
                  <a:cubicBezTo>
                    <a:pt x="981" y="1189"/>
                    <a:pt x="978" y="1188"/>
                    <a:pt x="974" y="1187"/>
                  </a:cubicBezTo>
                  <a:cubicBezTo>
                    <a:pt x="969" y="1185"/>
                    <a:pt x="963" y="1182"/>
                    <a:pt x="957" y="1179"/>
                  </a:cubicBezTo>
                  <a:cubicBezTo>
                    <a:pt x="951" y="1175"/>
                    <a:pt x="943" y="1170"/>
                    <a:pt x="936" y="1165"/>
                  </a:cubicBezTo>
                  <a:cubicBezTo>
                    <a:pt x="928" y="1159"/>
                    <a:pt x="920" y="1153"/>
                    <a:pt x="913" y="1145"/>
                  </a:cubicBezTo>
                  <a:cubicBezTo>
                    <a:pt x="900" y="1132"/>
                    <a:pt x="890" y="1119"/>
                    <a:pt x="884" y="1105"/>
                  </a:cubicBezTo>
                  <a:cubicBezTo>
                    <a:pt x="878" y="1092"/>
                    <a:pt x="875" y="1078"/>
                    <a:pt x="875" y="1064"/>
                  </a:cubicBezTo>
                  <a:cubicBezTo>
                    <a:pt x="876" y="1050"/>
                    <a:pt x="880" y="1036"/>
                    <a:pt x="887" y="1022"/>
                  </a:cubicBezTo>
                  <a:cubicBezTo>
                    <a:pt x="894" y="1008"/>
                    <a:pt x="905" y="993"/>
                    <a:pt x="920" y="979"/>
                  </a:cubicBezTo>
                  <a:cubicBezTo>
                    <a:pt x="933" y="965"/>
                    <a:pt x="947" y="955"/>
                    <a:pt x="962" y="948"/>
                  </a:cubicBezTo>
                  <a:cubicBezTo>
                    <a:pt x="976" y="940"/>
                    <a:pt x="991" y="936"/>
                    <a:pt x="1005" y="935"/>
                  </a:cubicBezTo>
                  <a:cubicBezTo>
                    <a:pt x="1019" y="934"/>
                    <a:pt x="1033" y="936"/>
                    <a:pt x="1047" y="942"/>
                  </a:cubicBezTo>
                  <a:cubicBezTo>
                    <a:pt x="1060" y="947"/>
                    <a:pt x="1073" y="956"/>
                    <a:pt x="1084" y="967"/>
                  </a:cubicBezTo>
                  <a:cubicBezTo>
                    <a:pt x="1097" y="980"/>
                    <a:pt x="1105" y="992"/>
                    <a:pt x="1110" y="1005"/>
                  </a:cubicBezTo>
                  <a:cubicBezTo>
                    <a:pt x="1115" y="1018"/>
                    <a:pt x="1117" y="1031"/>
                    <a:pt x="1116" y="1043"/>
                  </a:cubicBezTo>
                  <a:cubicBezTo>
                    <a:pt x="1115" y="1055"/>
                    <a:pt x="1111" y="1068"/>
                    <a:pt x="1104" y="1079"/>
                  </a:cubicBezTo>
                  <a:cubicBezTo>
                    <a:pt x="1098" y="1091"/>
                    <a:pt x="1089" y="1102"/>
                    <a:pt x="1079" y="1113"/>
                  </a:cubicBezTo>
                  <a:lnTo>
                    <a:pt x="1074" y="1118"/>
                  </a:lnTo>
                  <a:close/>
                  <a:moveTo>
                    <a:pt x="1053" y="1080"/>
                  </a:moveTo>
                  <a:cubicBezTo>
                    <a:pt x="1069" y="1065"/>
                    <a:pt x="1077" y="1049"/>
                    <a:pt x="1079" y="1034"/>
                  </a:cubicBezTo>
                  <a:cubicBezTo>
                    <a:pt x="1080" y="1018"/>
                    <a:pt x="1074" y="1003"/>
                    <a:pt x="1060" y="989"/>
                  </a:cubicBezTo>
                  <a:cubicBezTo>
                    <a:pt x="1053" y="981"/>
                    <a:pt x="1045" y="976"/>
                    <a:pt x="1037" y="974"/>
                  </a:cubicBezTo>
                  <a:cubicBezTo>
                    <a:pt x="1029" y="971"/>
                    <a:pt x="1021" y="970"/>
                    <a:pt x="1012" y="971"/>
                  </a:cubicBezTo>
                  <a:cubicBezTo>
                    <a:pt x="1004" y="971"/>
                    <a:pt x="996" y="974"/>
                    <a:pt x="988" y="978"/>
                  </a:cubicBezTo>
                  <a:cubicBezTo>
                    <a:pt x="980" y="982"/>
                    <a:pt x="973" y="987"/>
                    <a:pt x="966" y="993"/>
                  </a:cubicBezTo>
                  <a:lnTo>
                    <a:pt x="1053" y="1080"/>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401" name="Freeform 148"/>
            <p:cNvSpPr>
              <a:spLocks noEditPoints="1"/>
            </p:cNvSpPr>
            <p:nvPr/>
          </p:nvSpPr>
          <p:spPr bwMode="auto">
            <a:xfrm>
              <a:off x="1232" y="2380"/>
              <a:ext cx="170" cy="178"/>
            </a:xfrm>
            <a:custGeom>
              <a:avLst/>
              <a:gdLst>
                <a:gd name="T0" fmla="*/ 33 w 1610"/>
                <a:gd name="T1" fmla="*/ 248 h 1682"/>
                <a:gd name="T2" fmla="*/ 1 w 1610"/>
                <a:gd name="T3" fmla="*/ 221 h 1682"/>
                <a:gd name="T4" fmla="*/ 315 w 1610"/>
                <a:gd name="T5" fmla="*/ 88 h 1682"/>
                <a:gd name="T6" fmla="*/ 285 w 1610"/>
                <a:gd name="T7" fmla="*/ 116 h 1682"/>
                <a:gd name="T8" fmla="*/ 219 w 1610"/>
                <a:gd name="T9" fmla="*/ 193 h 1682"/>
                <a:gd name="T10" fmla="*/ 148 w 1610"/>
                <a:gd name="T11" fmla="*/ 500 h 1682"/>
                <a:gd name="T12" fmla="*/ 325 w 1610"/>
                <a:gd name="T13" fmla="*/ 234 h 1682"/>
                <a:gd name="T14" fmla="*/ 362 w 1610"/>
                <a:gd name="T15" fmla="*/ 255 h 1682"/>
                <a:gd name="T16" fmla="*/ 472 w 1610"/>
                <a:gd name="T17" fmla="*/ 359 h 1682"/>
                <a:gd name="T18" fmla="*/ 466 w 1610"/>
                <a:gd name="T19" fmla="*/ 639 h 1682"/>
                <a:gd name="T20" fmla="*/ 346 w 1610"/>
                <a:gd name="T21" fmla="*/ 551 h 1682"/>
                <a:gd name="T22" fmla="*/ 376 w 1610"/>
                <a:gd name="T23" fmla="*/ 535 h 1682"/>
                <a:gd name="T24" fmla="*/ 462 w 1610"/>
                <a:gd name="T25" fmla="*/ 595 h 1682"/>
                <a:gd name="T26" fmla="*/ 446 w 1610"/>
                <a:gd name="T27" fmla="*/ 458 h 1682"/>
                <a:gd name="T28" fmla="*/ 586 w 1610"/>
                <a:gd name="T29" fmla="*/ 475 h 1682"/>
                <a:gd name="T30" fmla="*/ 579 w 1610"/>
                <a:gd name="T31" fmla="*/ 518 h 1682"/>
                <a:gd name="T32" fmla="*/ 543 w 1610"/>
                <a:gd name="T33" fmla="*/ 470 h 1682"/>
                <a:gd name="T34" fmla="*/ 490 w 1610"/>
                <a:gd name="T35" fmla="*/ 515 h 1682"/>
                <a:gd name="T36" fmla="*/ 624 w 1610"/>
                <a:gd name="T37" fmla="*/ 845 h 1682"/>
                <a:gd name="T38" fmla="*/ 593 w 1610"/>
                <a:gd name="T39" fmla="*/ 809 h 1682"/>
                <a:gd name="T40" fmla="*/ 499 w 1610"/>
                <a:gd name="T41" fmla="*/ 725 h 1682"/>
                <a:gd name="T42" fmla="*/ 745 w 1610"/>
                <a:gd name="T43" fmla="*/ 478 h 1682"/>
                <a:gd name="T44" fmla="*/ 744 w 1610"/>
                <a:gd name="T45" fmla="*/ 643 h 1682"/>
                <a:gd name="T46" fmla="*/ 782 w 1610"/>
                <a:gd name="T47" fmla="*/ 674 h 1682"/>
                <a:gd name="T48" fmla="*/ 627 w 1610"/>
                <a:gd name="T49" fmla="*/ 843 h 1682"/>
                <a:gd name="T50" fmla="*/ 678 w 1610"/>
                <a:gd name="T51" fmla="*/ 864 h 1682"/>
                <a:gd name="T52" fmla="*/ 920 w 1610"/>
                <a:gd name="T53" fmla="*/ 814 h 1682"/>
                <a:gd name="T54" fmla="*/ 885 w 1610"/>
                <a:gd name="T55" fmla="*/ 826 h 1682"/>
                <a:gd name="T56" fmla="*/ 720 w 1610"/>
                <a:gd name="T57" fmla="*/ 865 h 1682"/>
                <a:gd name="T58" fmla="*/ 1229 w 1610"/>
                <a:gd name="T59" fmla="*/ 1126 h 1682"/>
                <a:gd name="T60" fmla="*/ 997 w 1610"/>
                <a:gd name="T61" fmla="*/ 1223 h 1682"/>
                <a:gd name="T62" fmla="*/ 1064 w 1610"/>
                <a:gd name="T63" fmla="*/ 1048 h 1682"/>
                <a:gd name="T64" fmla="*/ 879 w 1610"/>
                <a:gd name="T65" fmla="*/ 1102 h 1682"/>
                <a:gd name="T66" fmla="*/ 996 w 1610"/>
                <a:gd name="T67" fmla="*/ 885 h 1682"/>
                <a:gd name="T68" fmla="*/ 926 w 1610"/>
                <a:gd name="T69" fmla="*/ 1087 h 1682"/>
                <a:gd name="T70" fmla="*/ 1114 w 1610"/>
                <a:gd name="T71" fmla="*/ 1001 h 1682"/>
                <a:gd name="T72" fmla="*/ 1030 w 1610"/>
                <a:gd name="T73" fmla="*/ 1191 h 1682"/>
                <a:gd name="T74" fmla="*/ 1231 w 1610"/>
                <a:gd name="T75" fmla="*/ 1119 h 1682"/>
                <a:gd name="T76" fmla="*/ 1117 w 1610"/>
                <a:gd name="T77" fmla="*/ 1343 h 1682"/>
                <a:gd name="T78" fmla="*/ 1274 w 1610"/>
                <a:gd name="T79" fmla="*/ 1163 h 1682"/>
                <a:gd name="T80" fmla="*/ 1137 w 1610"/>
                <a:gd name="T81" fmla="*/ 1352 h 1682"/>
                <a:gd name="T82" fmla="*/ 1352 w 1610"/>
                <a:gd name="T83" fmla="*/ 1108 h 1682"/>
                <a:gd name="T84" fmla="*/ 1306 w 1610"/>
                <a:gd name="T85" fmla="*/ 1503 h 1682"/>
                <a:gd name="T86" fmla="*/ 1221 w 1610"/>
                <a:gd name="T87" fmla="*/ 1355 h 1682"/>
                <a:gd name="T88" fmla="*/ 1440 w 1610"/>
                <a:gd name="T89" fmla="*/ 1332 h 1682"/>
                <a:gd name="T90" fmla="*/ 1425 w 1610"/>
                <a:gd name="T91" fmla="*/ 1388 h 1682"/>
                <a:gd name="T92" fmla="*/ 1285 w 1610"/>
                <a:gd name="T93" fmla="*/ 1343 h 1682"/>
                <a:gd name="T94" fmla="*/ 1325 w 1610"/>
                <a:gd name="T95" fmla="*/ 1472 h 1682"/>
                <a:gd name="T96" fmla="*/ 1554 w 1610"/>
                <a:gd name="T97" fmla="*/ 1617 h 1682"/>
                <a:gd name="T98" fmla="*/ 1455 w 1610"/>
                <a:gd name="T99" fmla="*/ 1635 h 1682"/>
                <a:gd name="T100" fmla="*/ 1491 w 1610"/>
                <a:gd name="T101" fmla="*/ 1673 h 1682"/>
                <a:gd name="T102" fmla="*/ 1429 w 1610"/>
                <a:gd name="T103" fmla="*/ 1657 h 1682"/>
                <a:gd name="T104" fmla="*/ 1499 w 1610"/>
                <a:gd name="T105" fmla="*/ 1427 h 1682"/>
                <a:gd name="T106" fmla="*/ 1567 w 1610"/>
                <a:gd name="T107" fmla="*/ 1610 h 1682"/>
                <a:gd name="T108" fmla="*/ 1460 w 1610"/>
                <a:gd name="T109" fmla="*/ 1485 h 1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10" h="1682">
                  <a:moveTo>
                    <a:pt x="300" y="201"/>
                  </a:moveTo>
                  <a:cubicBezTo>
                    <a:pt x="289" y="213"/>
                    <a:pt x="276" y="221"/>
                    <a:pt x="263" y="226"/>
                  </a:cubicBezTo>
                  <a:cubicBezTo>
                    <a:pt x="250" y="232"/>
                    <a:pt x="237" y="234"/>
                    <a:pt x="224" y="234"/>
                  </a:cubicBezTo>
                  <a:cubicBezTo>
                    <a:pt x="210" y="233"/>
                    <a:pt x="197" y="230"/>
                    <a:pt x="183" y="223"/>
                  </a:cubicBezTo>
                  <a:cubicBezTo>
                    <a:pt x="169" y="216"/>
                    <a:pt x="155" y="206"/>
                    <a:pt x="141" y="192"/>
                  </a:cubicBezTo>
                  <a:lnTo>
                    <a:pt x="115" y="166"/>
                  </a:lnTo>
                  <a:lnTo>
                    <a:pt x="33" y="248"/>
                  </a:lnTo>
                  <a:cubicBezTo>
                    <a:pt x="32" y="249"/>
                    <a:pt x="31" y="250"/>
                    <a:pt x="29" y="250"/>
                  </a:cubicBezTo>
                  <a:cubicBezTo>
                    <a:pt x="28" y="250"/>
                    <a:pt x="27" y="250"/>
                    <a:pt x="25" y="249"/>
                  </a:cubicBezTo>
                  <a:cubicBezTo>
                    <a:pt x="24" y="248"/>
                    <a:pt x="22" y="247"/>
                    <a:pt x="20" y="245"/>
                  </a:cubicBezTo>
                  <a:cubicBezTo>
                    <a:pt x="17" y="244"/>
                    <a:pt x="15" y="242"/>
                    <a:pt x="12" y="239"/>
                  </a:cubicBezTo>
                  <a:cubicBezTo>
                    <a:pt x="9" y="236"/>
                    <a:pt x="7" y="233"/>
                    <a:pt x="5" y="231"/>
                  </a:cubicBezTo>
                  <a:cubicBezTo>
                    <a:pt x="3" y="229"/>
                    <a:pt x="2" y="227"/>
                    <a:pt x="1" y="225"/>
                  </a:cubicBezTo>
                  <a:cubicBezTo>
                    <a:pt x="1" y="223"/>
                    <a:pt x="0" y="222"/>
                    <a:pt x="1" y="221"/>
                  </a:cubicBezTo>
                  <a:cubicBezTo>
                    <a:pt x="1" y="220"/>
                    <a:pt x="1" y="219"/>
                    <a:pt x="2" y="218"/>
                  </a:cubicBezTo>
                  <a:lnTo>
                    <a:pt x="213" y="7"/>
                  </a:lnTo>
                  <a:cubicBezTo>
                    <a:pt x="218" y="2"/>
                    <a:pt x="223" y="0"/>
                    <a:pt x="227" y="0"/>
                  </a:cubicBezTo>
                  <a:cubicBezTo>
                    <a:pt x="232" y="1"/>
                    <a:pt x="235" y="3"/>
                    <a:pt x="238" y="6"/>
                  </a:cubicBezTo>
                  <a:lnTo>
                    <a:pt x="287" y="55"/>
                  </a:lnTo>
                  <a:cubicBezTo>
                    <a:pt x="292" y="60"/>
                    <a:pt x="297" y="64"/>
                    <a:pt x="301" y="69"/>
                  </a:cubicBezTo>
                  <a:cubicBezTo>
                    <a:pt x="305" y="74"/>
                    <a:pt x="310" y="81"/>
                    <a:pt x="315" y="88"/>
                  </a:cubicBezTo>
                  <a:cubicBezTo>
                    <a:pt x="319" y="96"/>
                    <a:pt x="323" y="105"/>
                    <a:pt x="326" y="115"/>
                  </a:cubicBezTo>
                  <a:cubicBezTo>
                    <a:pt x="329" y="125"/>
                    <a:pt x="329" y="135"/>
                    <a:pt x="328" y="145"/>
                  </a:cubicBezTo>
                  <a:cubicBezTo>
                    <a:pt x="328" y="155"/>
                    <a:pt x="325" y="164"/>
                    <a:pt x="320" y="174"/>
                  </a:cubicBezTo>
                  <a:cubicBezTo>
                    <a:pt x="315" y="183"/>
                    <a:pt x="309" y="193"/>
                    <a:pt x="300" y="201"/>
                  </a:cubicBezTo>
                  <a:close/>
                  <a:moveTo>
                    <a:pt x="266" y="172"/>
                  </a:moveTo>
                  <a:cubicBezTo>
                    <a:pt x="275" y="162"/>
                    <a:pt x="281" y="153"/>
                    <a:pt x="284" y="143"/>
                  </a:cubicBezTo>
                  <a:cubicBezTo>
                    <a:pt x="286" y="133"/>
                    <a:pt x="287" y="124"/>
                    <a:pt x="285" y="116"/>
                  </a:cubicBezTo>
                  <a:cubicBezTo>
                    <a:pt x="283" y="108"/>
                    <a:pt x="279" y="101"/>
                    <a:pt x="275" y="94"/>
                  </a:cubicBezTo>
                  <a:cubicBezTo>
                    <a:pt x="270" y="88"/>
                    <a:pt x="265" y="82"/>
                    <a:pt x="260" y="77"/>
                  </a:cubicBezTo>
                  <a:lnTo>
                    <a:pt x="232" y="49"/>
                  </a:lnTo>
                  <a:lnTo>
                    <a:pt x="140" y="141"/>
                  </a:lnTo>
                  <a:lnTo>
                    <a:pt x="167" y="168"/>
                  </a:lnTo>
                  <a:cubicBezTo>
                    <a:pt x="177" y="177"/>
                    <a:pt x="185" y="184"/>
                    <a:pt x="194" y="188"/>
                  </a:cubicBezTo>
                  <a:cubicBezTo>
                    <a:pt x="202" y="191"/>
                    <a:pt x="211" y="193"/>
                    <a:pt x="219" y="193"/>
                  </a:cubicBezTo>
                  <a:cubicBezTo>
                    <a:pt x="227" y="193"/>
                    <a:pt x="235" y="191"/>
                    <a:pt x="243" y="187"/>
                  </a:cubicBezTo>
                  <a:cubicBezTo>
                    <a:pt x="251" y="184"/>
                    <a:pt x="259" y="178"/>
                    <a:pt x="266" y="172"/>
                  </a:cubicBezTo>
                  <a:close/>
                  <a:moveTo>
                    <a:pt x="259" y="484"/>
                  </a:moveTo>
                  <a:lnTo>
                    <a:pt x="179" y="521"/>
                  </a:lnTo>
                  <a:cubicBezTo>
                    <a:pt x="177" y="522"/>
                    <a:pt x="174" y="522"/>
                    <a:pt x="170" y="520"/>
                  </a:cubicBezTo>
                  <a:cubicBezTo>
                    <a:pt x="166" y="518"/>
                    <a:pt x="161" y="514"/>
                    <a:pt x="155" y="508"/>
                  </a:cubicBezTo>
                  <a:cubicBezTo>
                    <a:pt x="152" y="505"/>
                    <a:pt x="150" y="503"/>
                    <a:pt x="148" y="500"/>
                  </a:cubicBezTo>
                  <a:cubicBezTo>
                    <a:pt x="146" y="498"/>
                    <a:pt x="146" y="496"/>
                    <a:pt x="145" y="495"/>
                  </a:cubicBezTo>
                  <a:cubicBezTo>
                    <a:pt x="145" y="493"/>
                    <a:pt x="145" y="491"/>
                    <a:pt x="146" y="490"/>
                  </a:cubicBezTo>
                  <a:cubicBezTo>
                    <a:pt x="147" y="489"/>
                    <a:pt x="149" y="488"/>
                    <a:pt x="152" y="487"/>
                  </a:cubicBezTo>
                  <a:lnTo>
                    <a:pt x="229" y="453"/>
                  </a:lnTo>
                  <a:cubicBezTo>
                    <a:pt x="228" y="452"/>
                    <a:pt x="228" y="450"/>
                    <a:pt x="228" y="448"/>
                  </a:cubicBezTo>
                  <a:cubicBezTo>
                    <a:pt x="228" y="446"/>
                    <a:pt x="229" y="444"/>
                    <a:pt x="229" y="443"/>
                  </a:cubicBezTo>
                  <a:lnTo>
                    <a:pt x="325" y="234"/>
                  </a:lnTo>
                  <a:cubicBezTo>
                    <a:pt x="326" y="231"/>
                    <a:pt x="328" y="228"/>
                    <a:pt x="329" y="227"/>
                  </a:cubicBezTo>
                  <a:cubicBezTo>
                    <a:pt x="331" y="225"/>
                    <a:pt x="332" y="225"/>
                    <a:pt x="334" y="225"/>
                  </a:cubicBezTo>
                  <a:cubicBezTo>
                    <a:pt x="336" y="225"/>
                    <a:pt x="338" y="226"/>
                    <a:pt x="340" y="228"/>
                  </a:cubicBezTo>
                  <a:cubicBezTo>
                    <a:pt x="343" y="230"/>
                    <a:pt x="346" y="232"/>
                    <a:pt x="349" y="236"/>
                  </a:cubicBezTo>
                  <a:cubicBezTo>
                    <a:pt x="353" y="239"/>
                    <a:pt x="355" y="242"/>
                    <a:pt x="357" y="244"/>
                  </a:cubicBezTo>
                  <a:cubicBezTo>
                    <a:pt x="359" y="247"/>
                    <a:pt x="360" y="248"/>
                    <a:pt x="361" y="250"/>
                  </a:cubicBezTo>
                  <a:cubicBezTo>
                    <a:pt x="362" y="252"/>
                    <a:pt x="362" y="253"/>
                    <a:pt x="362" y="255"/>
                  </a:cubicBezTo>
                  <a:cubicBezTo>
                    <a:pt x="361" y="256"/>
                    <a:pt x="361" y="258"/>
                    <a:pt x="360" y="260"/>
                  </a:cubicBezTo>
                  <a:lnTo>
                    <a:pt x="277" y="433"/>
                  </a:lnTo>
                  <a:lnTo>
                    <a:pt x="278" y="434"/>
                  </a:lnTo>
                  <a:lnTo>
                    <a:pt x="450" y="349"/>
                  </a:lnTo>
                  <a:cubicBezTo>
                    <a:pt x="453" y="348"/>
                    <a:pt x="455" y="347"/>
                    <a:pt x="457" y="347"/>
                  </a:cubicBezTo>
                  <a:cubicBezTo>
                    <a:pt x="459" y="348"/>
                    <a:pt x="461" y="349"/>
                    <a:pt x="463" y="350"/>
                  </a:cubicBezTo>
                  <a:cubicBezTo>
                    <a:pt x="465" y="352"/>
                    <a:pt x="468" y="355"/>
                    <a:pt x="472" y="359"/>
                  </a:cubicBezTo>
                  <a:cubicBezTo>
                    <a:pt x="475" y="362"/>
                    <a:pt x="478" y="365"/>
                    <a:pt x="480" y="367"/>
                  </a:cubicBezTo>
                  <a:cubicBezTo>
                    <a:pt x="482" y="370"/>
                    <a:pt x="483" y="372"/>
                    <a:pt x="483" y="374"/>
                  </a:cubicBezTo>
                  <a:cubicBezTo>
                    <a:pt x="483" y="375"/>
                    <a:pt x="482" y="377"/>
                    <a:pt x="481" y="378"/>
                  </a:cubicBezTo>
                  <a:cubicBezTo>
                    <a:pt x="479" y="380"/>
                    <a:pt x="477" y="381"/>
                    <a:pt x="474" y="383"/>
                  </a:cubicBezTo>
                  <a:lnTo>
                    <a:pt x="259" y="484"/>
                  </a:lnTo>
                  <a:close/>
                  <a:moveTo>
                    <a:pt x="493" y="622"/>
                  </a:moveTo>
                  <a:cubicBezTo>
                    <a:pt x="485" y="630"/>
                    <a:pt x="476" y="636"/>
                    <a:pt x="466" y="639"/>
                  </a:cubicBezTo>
                  <a:cubicBezTo>
                    <a:pt x="457" y="642"/>
                    <a:pt x="447" y="644"/>
                    <a:pt x="438" y="642"/>
                  </a:cubicBezTo>
                  <a:cubicBezTo>
                    <a:pt x="428" y="641"/>
                    <a:pt x="418" y="638"/>
                    <a:pt x="408" y="632"/>
                  </a:cubicBezTo>
                  <a:cubicBezTo>
                    <a:pt x="398" y="627"/>
                    <a:pt x="388" y="620"/>
                    <a:pt x="379" y="611"/>
                  </a:cubicBezTo>
                  <a:cubicBezTo>
                    <a:pt x="374" y="605"/>
                    <a:pt x="369" y="599"/>
                    <a:pt x="364" y="593"/>
                  </a:cubicBezTo>
                  <a:cubicBezTo>
                    <a:pt x="360" y="587"/>
                    <a:pt x="357" y="581"/>
                    <a:pt x="354" y="576"/>
                  </a:cubicBezTo>
                  <a:cubicBezTo>
                    <a:pt x="351" y="570"/>
                    <a:pt x="349" y="566"/>
                    <a:pt x="348" y="561"/>
                  </a:cubicBezTo>
                  <a:cubicBezTo>
                    <a:pt x="346" y="557"/>
                    <a:pt x="346" y="554"/>
                    <a:pt x="346" y="551"/>
                  </a:cubicBezTo>
                  <a:cubicBezTo>
                    <a:pt x="346" y="549"/>
                    <a:pt x="346" y="546"/>
                    <a:pt x="348" y="543"/>
                  </a:cubicBezTo>
                  <a:cubicBezTo>
                    <a:pt x="349" y="541"/>
                    <a:pt x="352" y="537"/>
                    <a:pt x="356" y="534"/>
                  </a:cubicBezTo>
                  <a:cubicBezTo>
                    <a:pt x="358" y="532"/>
                    <a:pt x="360" y="530"/>
                    <a:pt x="362" y="528"/>
                  </a:cubicBezTo>
                  <a:cubicBezTo>
                    <a:pt x="363" y="527"/>
                    <a:pt x="365" y="526"/>
                    <a:pt x="366" y="526"/>
                  </a:cubicBezTo>
                  <a:cubicBezTo>
                    <a:pt x="367" y="525"/>
                    <a:pt x="369" y="525"/>
                    <a:pt x="370" y="525"/>
                  </a:cubicBezTo>
                  <a:cubicBezTo>
                    <a:pt x="371" y="525"/>
                    <a:pt x="372" y="526"/>
                    <a:pt x="372" y="527"/>
                  </a:cubicBezTo>
                  <a:cubicBezTo>
                    <a:pt x="374" y="528"/>
                    <a:pt x="375" y="531"/>
                    <a:pt x="376" y="535"/>
                  </a:cubicBezTo>
                  <a:cubicBezTo>
                    <a:pt x="377" y="539"/>
                    <a:pt x="378" y="544"/>
                    <a:pt x="380" y="549"/>
                  </a:cubicBezTo>
                  <a:cubicBezTo>
                    <a:pt x="382" y="555"/>
                    <a:pt x="384" y="561"/>
                    <a:pt x="388" y="568"/>
                  </a:cubicBezTo>
                  <a:cubicBezTo>
                    <a:pt x="391" y="574"/>
                    <a:pt x="396" y="581"/>
                    <a:pt x="403" y="588"/>
                  </a:cubicBezTo>
                  <a:cubicBezTo>
                    <a:pt x="408" y="593"/>
                    <a:pt x="413" y="597"/>
                    <a:pt x="418" y="600"/>
                  </a:cubicBezTo>
                  <a:cubicBezTo>
                    <a:pt x="423" y="603"/>
                    <a:pt x="428" y="604"/>
                    <a:pt x="433" y="605"/>
                  </a:cubicBezTo>
                  <a:cubicBezTo>
                    <a:pt x="438" y="606"/>
                    <a:pt x="443" y="606"/>
                    <a:pt x="448" y="604"/>
                  </a:cubicBezTo>
                  <a:cubicBezTo>
                    <a:pt x="453" y="603"/>
                    <a:pt x="457" y="600"/>
                    <a:pt x="462" y="595"/>
                  </a:cubicBezTo>
                  <a:cubicBezTo>
                    <a:pt x="466" y="591"/>
                    <a:pt x="469" y="586"/>
                    <a:pt x="469" y="581"/>
                  </a:cubicBezTo>
                  <a:cubicBezTo>
                    <a:pt x="470" y="575"/>
                    <a:pt x="470" y="569"/>
                    <a:pt x="468" y="563"/>
                  </a:cubicBezTo>
                  <a:cubicBezTo>
                    <a:pt x="467" y="557"/>
                    <a:pt x="465" y="551"/>
                    <a:pt x="462" y="544"/>
                  </a:cubicBezTo>
                  <a:cubicBezTo>
                    <a:pt x="459" y="538"/>
                    <a:pt x="456" y="531"/>
                    <a:pt x="453" y="524"/>
                  </a:cubicBezTo>
                  <a:cubicBezTo>
                    <a:pt x="450" y="517"/>
                    <a:pt x="448" y="510"/>
                    <a:pt x="445" y="503"/>
                  </a:cubicBezTo>
                  <a:cubicBezTo>
                    <a:pt x="443" y="495"/>
                    <a:pt x="442" y="488"/>
                    <a:pt x="442" y="480"/>
                  </a:cubicBezTo>
                  <a:cubicBezTo>
                    <a:pt x="442" y="473"/>
                    <a:pt x="443" y="466"/>
                    <a:pt x="446" y="458"/>
                  </a:cubicBezTo>
                  <a:cubicBezTo>
                    <a:pt x="449" y="451"/>
                    <a:pt x="453" y="444"/>
                    <a:pt x="461" y="437"/>
                  </a:cubicBezTo>
                  <a:cubicBezTo>
                    <a:pt x="467" y="430"/>
                    <a:pt x="474" y="426"/>
                    <a:pt x="482" y="422"/>
                  </a:cubicBezTo>
                  <a:cubicBezTo>
                    <a:pt x="490" y="419"/>
                    <a:pt x="499" y="418"/>
                    <a:pt x="508" y="418"/>
                  </a:cubicBezTo>
                  <a:cubicBezTo>
                    <a:pt x="517" y="419"/>
                    <a:pt x="527" y="421"/>
                    <a:pt x="536" y="426"/>
                  </a:cubicBezTo>
                  <a:cubicBezTo>
                    <a:pt x="546" y="431"/>
                    <a:pt x="556" y="438"/>
                    <a:pt x="566" y="447"/>
                  </a:cubicBezTo>
                  <a:cubicBezTo>
                    <a:pt x="570" y="452"/>
                    <a:pt x="574" y="456"/>
                    <a:pt x="577" y="461"/>
                  </a:cubicBezTo>
                  <a:cubicBezTo>
                    <a:pt x="581" y="466"/>
                    <a:pt x="584" y="471"/>
                    <a:pt x="586" y="475"/>
                  </a:cubicBezTo>
                  <a:cubicBezTo>
                    <a:pt x="589" y="480"/>
                    <a:pt x="590" y="484"/>
                    <a:pt x="592" y="487"/>
                  </a:cubicBezTo>
                  <a:cubicBezTo>
                    <a:pt x="593" y="491"/>
                    <a:pt x="593" y="494"/>
                    <a:pt x="594" y="496"/>
                  </a:cubicBezTo>
                  <a:cubicBezTo>
                    <a:pt x="594" y="498"/>
                    <a:pt x="594" y="500"/>
                    <a:pt x="594" y="501"/>
                  </a:cubicBezTo>
                  <a:cubicBezTo>
                    <a:pt x="593" y="502"/>
                    <a:pt x="593" y="503"/>
                    <a:pt x="592" y="504"/>
                  </a:cubicBezTo>
                  <a:cubicBezTo>
                    <a:pt x="592" y="506"/>
                    <a:pt x="591" y="507"/>
                    <a:pt x="589" y="508"/>
                  </a:cubicBezTo>
                  <a:cubicBezTo>
                    <a:pt x="588" y="510"/>
                    <a:pt x="587" y="511"/>
                    <a:pt x="585" y="513"/>
                  </a:cubicBezTo>
                  <a:cubicBezTo>
                    <a:pt x="583" y="515"/>
                    <a:pt x="581" y="517"/>
                    <a:pt x="579" y="518"/>
                  </a:cubicBezTo>
                  <a:cubicBezTo>
                    <a:pt x="578" y="520"/>
                    <a:pt x="576" y="520"/>
                    <a:pt x="575" y="521"/>
                  </a:cubicBezTo>
                  <a:cubicBezTo>
                    <a:pt x="574" y="522"/>
                    <a:pt x="572" y="522"/>
                    <a:pt x="571" y="522"/>
                  </a:cubicBezTo>
                  <a:cubicBezTo>
                    <a:pt x="570" y="521"/>
                    <a:pt x="570" y="521"/>
                    <a:pt x="569" y="520"/>
                  </a:cubicBezTo>
                  <a:cubicBezTo>
                    <a:pt x="568" y="519"/>
                    <a:pt x="567" y="517"/>
                    <a:pt x="566" y="514"/>
                  </a:cubicBezTo>
                  <a:cubicBezTo>
                    <a:pt x="566" y="510"/>
                    <a:pt x="564" y="506"/>
                    <a:pt x="563" y="502"/>
                  </a:cubicBezTo>
                  <a:cubicBezTo>
                    <a:pt x="561" y="497"/>
                    <a:pt x="559" y="492"/>
                    <a:pt x="556" y="486"/>
                  </a:cubicBezTo>
                  <a:cubicBezTo>
                    <a:pt x="553" y="481"/>
                    <a:pt x="548" y="475"/>
                    <a:pt x="543" y="470"/>
                  </a:cubicBezTo>
                  <a:cubicBezTo>
                    <a:pt x="538" y="465"/>
                    <a:pt x="533" y="461"/>
                    <a:pt x="528" y="458"/>
                  </a:cubicBezTo>
                  <a:cubicBezTo>
                    <a:pt x="523" y="456"/>
                    <a:pt x="518" y="454"/>
                    <a:pt x="514" y="454"/>
                  </a:cubicBezTo>
                  <a:cubicBezTo>
                    <a:pt x="509" y="453"/>
                    <a:pt x="505" y="454"/>
                    <a:pt x="501" y="456"/>
                  </a:cubicBezTo>
                  <a:cubicBezTo>
                    <a:pt x="497" y="457"/>
                    <a:pt x="493" y="460"/>
                    <a:pt x="490" y="463"/>
                  </a:cubicBezTo>
                  <a:cubicBezTo>
                    <a:pt x="485" y="468"/>
                    <a:pt x="483" y="473"/>
                    <a:pt x="482" y="478"/>
                  </a:cubicBezTo>
                  <a:cubicBezTo>
                    <a:pt x="481" y="484"/>
                    <a:pt x="482" y="489"/>
                    <a:pt x="483" y="495"/>
                  </a:cubicBezTo>
                  <a:cubicBezTo>
                    <a:pt x="484" y="502"/>
                    <a:pt x="487" y="508"/>
                    <a:pt x="490" y="515"/>
                  </a:cubicBezTo>
                  <a:cubicBezTo>
                    <a:pt x="492" y="521"/>
                    <a:pt x="495" y="528"/>
                    <a:pt x="498" y="535"/>
                  </a:cubicBezTo>
                  <a:cubicBezTo>
                    <a:pt x="501" y="542"/>
                    <a:pt x="504" y="550"/>
                    <a:pt x="507" y="557"/>
                  </a:cubicBezTo>
                  <a:cubicBezTo>
                    <a:pt x="509" y="564"/>
                    <a:pt x="510" y="572"/>
                    <a:pt x="511" y="579"/>
                  </a:cubicBezTo>
                  <a:cubicBezTo>
                    <a:pt x="511" y="586"/>
                    <a:pt x="510" y="593"/>
                    <a:pt x="507" y="601"/>
                  </a:cubicBezTo>
                  <a:cubicBezTo>
                    <a:pt x="504" y="608"/>
                    <a:pt x="500" y="615"/>
                    <a:pt x="493" y="622"/>
                  </a:cubicBezTo>
                  <a:close/>
                  <a:moveTo>
                    <a:pt x="627" y="843"/>
                  </a:moveTo>
                  <a:cubicBezTo>
                    <a:pt x="626" y="844"/>
                    <a:pt x="625" y="844"/>
                    <a:pt x="624" y="845"/>
                  </a:cubicBezTo>
                  <a:cubicBezTo>
                    <a:pt x="623" y="845"/>
                    <a:pt x="622" y="845"/>
                    <a:pt x="620" y="844"/>
                  </a:cubicBezTo>
                  <a:cubicBezTo>
                    <a:pt x="618" y="843"/>
                    <a:pt x="617" y="842"/>
                    <a:pt x="614" y="840"/>
                  </a:cubicBezTo>
                  <a:cubicBezTo>
                    <a:pt x="612" y="839"/>
                    <a:pt x="609" y="836"/>
                    <a:pt x="606" y="833"/>
                  </a:cubicBezTo>
                  <a:cubicBezTo>
                    <a:pt x="603" y="830"/>
                    <a:pt x="601" y="827"/>
                    <a:pt x="599" y="825"/>
                  </a:cubicBezTo>
                  <a:cubicBezTo>
                    <a:pt x="597" y="823"/>
                    <a:pt x="595" y="821"/>
                    <a:pt x="594" y="819"/>
                  </a:cubicBezTo>
                  <a:cubicBezTo>
                    <a:pt x="593" y="817"/>
                    <a:pt x="593" y="815"/>
                    <a:pt x="593" y="814"/>
                  </a:cubicBezTo>
                  <a:cubicBezTo>
                    <a:pt x="593" y="812"/>
                    <a:pt x="593" y="810"/>
                    <a:pt x="593" y="809"/>
                  </a:cubicBezTo>
                  <a:lnTo>
                    <a:pt x="614" y="653"/>
                  </a:lnTo>
                  <a:lnTo>
                    <a:pt x="526" y="742"/>
                  </a:lnTo>
                  <a:cubicBezTo>
                    <a:pt x="525" y="742"/>
                    <a:pt x="524" y="743"/>
                    <a:pt x="523" y="743"/>
                  </a:cubicBezTo>
                  <a:cubicBezTo>
                    <a:pt x="522" y="743"/>
                    <a:pt x="520" y="743"/>
                    <a:pt x="519" y="743"/>
                  </a:cubicBezTo>
                  <a:cubicBezTo>
                    <a:pt x="517" y="742"/>
                    <a:pt x="515" y="741"/>
                    <a:pt x="513" y="739"/>
                  </a:cubicBezTo>
                  <a:cubicBezTo>
                    <a:pt x="511" y="738"/>
                    <a:pt x="509" y="735"/>
                    <a:pt x="506" y="732"/>
                  </a:cubicBezTo>
                  <a:cubicBezTo>
                    <a:pt x="503" y="729"/>
                    <a:pt x="501" y="727"/>
                    <a:pt x="499" y="725"/>
                  </a:cubicBezTo>
                  <a:cubicBezTo>
                    <a:pt x="497" y="723"/>
                    <a:pt x="496" y="721"/>
                    <a:pt x="495" y="719"/>
                  </a:cubicBezTo>
                  <a:cubicBezTo>
                    <a:pt x="495" y="718"/>
                    <a:pt x="495" y="716"/>
                    <a:pt x="495" y="715"/>
                  </a:cubicBezTo>
                  <a:cubicBezTo>
                    <a:pt x="495" y="714"/>
                    <a:pt x="496" y="713"/>
                    <a:pt x="497" y="712"/>
                  </a:cubicBezTo>
                  <a:lnTo>
                    <a:pt x="733" y="476"/>
                  </a:lnTo>
                  <a:cubicBezTo>
                    <a:pt x="734" y="475"/>
                    <a:pt x="735" y="475"/>
                    <a:pt x="736" y="474"/>
                  </a:cubicBezTo>
                  <a:cubicBezTo>
                    <a:pt x="737" y="474"/>
                    <a:pt x="738" y="474"/>
                    <a:pt x="740" y="475"/>
                  </a:cubicBezTo>
                  <a:cubicBezTo>
                    <a:pt x="742" y="475"/>
                    <a:pt x="743" y="477"/>
                    <a:pt x="745" y="478"/>
                  </a:cubicBezTo>
                  <a:cubicBezTo>
                    <a:pt x="748" y="480"/>
                    <a:pt x="750" y="482"/>
                    <a:pt x="753" y="485"/>
                  </a:cubicBezTo>
                  <a:cubicBezTo>
                    <a:pt x="756" y="488"/>
                    <a:pt x="758" y="490"/>
                    <a:pt x="760" y="493"/>
                  </a:cubicBezTo>
                  <a:cubicBezTo>
                    <a:pt x="761" y="495"/>
                    <a:pt x="763" y="497"/>
                    <a:pt x="763" y="498"/>
                  </a:cubicBezTo>
                  <a:cubicBezTo>
                    <a:pt x="764" y="500"/>
                    <a:pt x="764" y="501"/>
                    <a:pt x="764" y="502"/>
                  </a:cubicBezTo>
                  <a:cubicBezTo>
                    <a:pt x="763" y="503"/>
                    <a:pt x="763" y="504"/>
                    <a:pt x="762" y="505"/>
                  </a:cubicBezTo>
                  <a:lnTo>
                    <a:pt x="618" y="649"/>
                  </a:lnTo>
                  <a:lnTo>
                    <a:pt x="744" y="643"/>
                  </a:lnTo>
                  <a:cubicBezTo>
                    <a:pt x="746" y="643"/>
                    <a:pt x="748" y="643"/>
                    <a:pt x="750" y="643"/>
                  </a:cubicBezTo>
                  <a:cubicBezTo>
                    <a:pt x="752" y="644"/>
                    <a:pt x="754" y="644"/>
                    <a:pt x="756" y="645"/>
                  </a:cubicBezTo>
                  <a:cubicBezTo>
                    <a:pt x="758" y="646"/>
                    <a:pt x="760" y="647"/>
                    <a:pt x="762" y="649"/>
                  </a:cubicBezTo>
                  <a:cubicBezTo>
                    <a:pt x="764" y="651"/>
                    <a:pt x="767" y="653"/>
                    <a:pt x="770" y="656"/>
                  </a:cubicBezTo>
                  <a:cubicBezTo>
                    <a:pt x="773" y="659"/>
                    <a:pt x="775" y="662"/>
                    <a:pt x="777" y="664"/>
                  </a:cubicBezTo>
                  <a:cubicBezTo>
                    <a:pt x="779" y="666"/>
                    <a:pt x="780" y="668"/>
                    <a:pt x="781" y="670"/>
                  </a:cubicBezTo>
                  <a:cubicBezTo>
                    <a:pt x="782" y="671"/>
                    <a:pt x="782" y="673"/>
                    <a:pt x="782" y="674"/>
                  </a:cubicBezTo>
                  <a:cubicBezTo>
                    <a:pt x="782" y="675"/>
                    <a:pt x="781" y="676"/>
                    <a:pt x="780" y="677"/>
                  </a:cubicBezTo>
                  <a:cubicBezTo>
                    <a:pt x="779" y="679"/>
                    <a:pt x="777" y="680"/>
                    <a:pt x="775" y="680"/>
                  </a:cubicBezTo>
                  <a:cubicBezTo>
                    <a:pt x="773" y="681"/>
                    <a:pt x="770" y="681"/>
                    <a:pt x="766" y="682"/>
                  </a:cubicBezTo>
                  <a:lnTo>
                    <a:pt x="651" y="682"/>
                  </a:lnTo>
                  <a:lnTo>
                    <a:pt x="631" y="830"/>
                  </a:lnTo>
                  <a:cubicBezTo>
                    <a:pt x="631" y="834"/>
                    <a:pt x="630" y="837"/>
                    <a:pt x="630" y="838"/>
                  </a:cubicBezTo>
                  <a:cubicBezTo>
                    <a:pt x="629" y="840"/>
                    <a:pt x="628" y="842"/>
                    <a:pt x="627" y="843"/>
                  </a:cubicBezTo>
                  <a:close/>
                  <a:moveTo>
                    <a:pt x="884" y="937"/>
                  </a:moveTo>
                  <a:cubicBezTo>
                    <a:pt x="871" y="950"/>
                    <a:pt x="858" y="961"/>
                    <a:pt x="843" y="968"/>
                  </a:cubicBezTo>
                  <a:cubicBezTo>
                    <a:pt x="829" y="976"/>
                    <a:pt x="815" y="980"/>
                    <a:pt x="800" y="981"/>
                  </a:cubicBezTo>
                  <a:cubicBezTo>
                    <a:pt x="785" y="982"/>
                    <a:pt x="771" y="980"/>
                    <a:pt x="756" y="974"/>
                  </a:cubicBezTo>
                  <a:cubicBezTo>
                    <a:pt x="741" y="968"/>
                    <a:pt x="727" y="959"/>
                    <a:pt x="714" y="945"/>
                  </a:cubicBezTo>
                  <a:cubicBezTo>
                    <a:pt x="701" y="932"/>
                    <a:pt x="691" y="919"/>
                    <a:pt x="685" y="905"/>
                  </a:cubicBezTo>
                  <a:cubicBezTo>
                    <a:pt x="680" y="892"/>
                    <a:pt x="677" y="878"/>
                    <a:pt x="678" y="864"/>
                  </a:cubicBezTo>
                  <a:cubicBezTo>
                    <a:pt x="679" y="850"/>
                    <a:pt x="683" y="836"/>
                    <a:pt x="691" y="822"/>
                  </a:cubicBezTo>
                  <a:cubicBezTo>
                    <a:pt x="698" y="809"/>
                    <a:pt x="709" y="795"/>
                    <a:pt x="722" y="781"/>
                  </a:cubicBezTo>
                  <a:cubicBezTo>
                    <a:pt x="735" y="769"/>
                    <a:pt x="749" y="758"/>
                    <a:pt x="763" y="751"/>
                  </a:cubicBezTo>
                  <a:cubicBezTo>
                    <a:pt x="777" y="743"/>
                    <a:pt x="792" y="739"/>
                    <a:pt x="806" y="738"/>
                  </a:cubicBezTo>
                  <a:cubicBezTo>
                    <a:pt x="821" y="737"/>
                    <a:pt x="835" y="739"/>
                    <a:pt x="850" y="745"/>
                  </a:cubicBezTo>
                  <a:cubicBezTo>
                    <a:pt x="864" y="750"/>
                    <a:pt x="878" y="760"/>
                    <a:pt x="892" y="774"/>
                  </a:cubicBezTo>
                  <a:cubicBezTo>
                    <a:pt x="905" y="787"/>
                    <a:pt x="915" y="800"/>
                    <a:pt x="920" y="814"/>
                  </a:cubicBezTo>
                  <a:cubicBezTo>
                    <a:pt x="926" y="827"/>
                    <a:pt x="929" y="841"/>
                    <a:pt x="928" y="855"/>
                  </a:cubicBezTo>
                  <a:cubicBezTo>
                    <a:pt x="927" y="869"/>
                    <a:pt x="923" y="883"/>
                    <a:pt x="915" y="897"/>
                  </a:cubicBezTo>
                  <a:cubicBezTo>
                    <a:pt x="908" y="910"/>
                    <a:pt x="898" y="924"/>
                    <a:pt x="884" y="937"/>
                  </a:cubicBezTo>
                  <a:close/>
                  <a:moveTo>
                    <a:pt x="852" y="909"/>
                  </a:moveTo>
                  <a:cubicBezTo>
                    <a:pt x="861" y="900"/>
                    <a:pt x="868" y="892"/>
                    <a:pt x="874" y="882"/>
                  </a:cubicBezTo>
                  <a:cubicBezTo>
                    <a:pt x="880" y="873"/>
                    <a:pt x="884" y="864"/>
                    <a:pt x="886" y="854"/>
                  </a:cubicBezTo>
                  <a:cubicBezTo>
                    <a:pt x="888" y="845"/>
                    <a:pt x="888" y="835"/>
                    <a:pt x="885" y="826"/>
                  </a:cubicBezTo>
                  <a:cubicBezTo>
                    <a:pt x="882" y="816"/>
                    <a:pt x="876" y="806"/>
                    <a:pt x="866" y="797"/>
                  </a:cubicBezTo>
                  <a:cubicBezTo>
                    <a:pt x="858" y="788"/>
                    <a:pt x="849" y="782"/>
                    <a:pt x="840" y="779"/>
                  </a:cubicBezTo>
                  <a:cubicBezTo>
                    <a:pt x="830" y="776"/>
                    <a:pt x="821" y="775"/>
                    <a:pt x="811" y="777"/>
                  </a:cubicBezTo>
                  <a:cubicBezTo>
                    <a:pt x="801" y="778"/>
                    <a:pt x="792" y="782"/>
                    <a:pt x="782" y="788"/>
                  </a:cubicBezTo>
                  <a:cubicBezTo>
                    <a:pt x="773" y="793"/>
                    <a:pt x="763" y="801"/>
                    <a:pt x="754" y="810"/>
                  </a:cubicBezTo>
                  <a:cubicBezTo>
                    <a:pt x="745" y="818"/>
                    <a:pt x="738" y="827"/>
                    <a:pt x="732" y="837"/>
                  </a:cubicBezTo>
                  <a:cubicBezTo>
                    <a:pt x="726" y="846"/>
                    <a:pt x="722" y="855"/>
                    <a:pt x="720" y="865"/>
                  </a:cubicBezTo>
                  <a:cubicBezTo>
                    <a:pt x="718" y="874"/>
                    <a:pt x="718" y="884"/>
                    <a:pt x="721" y="894"/>
                  </a:cubicBezTo>
                  <a:cubicBezTo>
                    <a:pt x="724" y="903"/>
                    <a:pt x="731" y="913"/>
                    <a:pt x="740" y="922"/>
                  </a:cubicBezTo>
                  <a:cubicBezTo>
                    <a:pt x="748" y="931"/>
                    <a:pt x="757" y="937"/>
                    <a:pt x="767" y="940"/>
                  </a:cubicBezTo>
                  <a:cubicBezTo>
                    <a:pt x="776" y="943"/>
                    <a:pt x="786" y="944"/>
                    <a:pt x="795" y="942"/>
                  </a:cubicBezTo>
                  <a:cubicBezTo>
                    <a:pt x="805" y="941"/>
                    <a:pt x="814" y="937"/>
                    <a:pt x="824" y="932"/>
                  </a:cubicBezTo>
                  <a:cubicBezTo>
                    <a:pt x="834" y="926"/>
                    <a:pt x="843" y="918"/>
                    <a:pt x="852" y="909"/>
                  </a:cubicBezTo>
                  <a:close/>
                  <a:moveTo>
                    <a:pt x="1229" y="1126"/>
                  </a:moveTo>
                  <a:cubicBezTo>
                    <a:pt x="1229" y="1127"/>
                    <a:pt x="1227" y="1128"/>
                    <a:pt x="1226" y="1129"/>
                  </a:cubicBezTo>
                  <a:cubicBezTo>
                    <a:pt x="1225" y="1130"/>
                    <a:pt x="1223" y="1131"/>
                    <a:pt x="1220" y="1132"/>
                  </a:cubicBezTo>
                  <a:lnTo>
                    <a:pt x="1022" y="1236"/>
                  </a:lnTo>
                  <a:cubicBezTo>
                    <a:pt x="1021" y="1237"/>
                    <a:pt x="1019" y="1238"/>
                    <a:pt x="1017" y="1238"/>
                  </a:cubicBezTo>
                  <a:cubicBezTo>
                    <a:pt x="1016" y="1238"/>
                    <a:pt x="1014" y="1237"/>
                    <a:pt x="1012" y="1237"/>
                  </a:cubicBezTo>
                  <a:cubicBezTo>
                    <a:pt x="1011" y="1236"/>
                    <a:pt x="1008" y="1234"/>
                    <a:pt x="1006" y="1232"/>
                  </a:cubicBezTo>
                  <a:cubicBezTo>
                    <a:pt x="1003" y="1230"/>
                    <a:pt x="1000" y="1227"/>
                    <a:pt x="997" y="1223"/>
                  </a:cubicBezTo>
                  <a:cubicBezTo>
                    <a:pt x="993" y="1220"/>
                    <a:pt x="990" y="1217"/>
                    <a:pt x="988" y="1214"/>
                  </a:cubicBezTo>
                  <a:cubicBezTo>
                    <a:pt x="986" y="1211"/>
                    <a:pt x="984" y="1209"/>
                    <a:pt x="983" y="1207"/>
                  </a:cubicBezTo>
                  <a:cubicBezTo>
                    <a:pt x="982" y="1205"/>
                    <a:pt x="982" y="1203"/>
                    <a:pt x="982" y="1202"/>
                  </a:cubicBezTo>
                  <a:cubicBezTo>
                    <a:pt x="982" y="1200"/>
                    <a:pt x="982" y="1199"/>
                    <a:pt x="983" y="1197"/>
                  </a:cubicBezTo>
                  <a:lnTo>
                    <a:pt x="1065" y="1048"/>
                  </a:lnTo>
                  <a:lnTo>
                    <a:pt x="1066" y="1046"/>
                  </a:lnTo>
                  <a:lnTo>
                    <a:pt x="1064" y="1048"/>
                  </a:lnTo>
                  <a:lnTo>
                    <a:pt x="918" y="1132"/>
                  </a:lnTo>
                  <a:cubicBezTo>
                    <a:pt x="916" y="1133"/>
                    <a:pt x="915" y="1133"/>
                    <a:pt x="913" y="1134"/>
                  </a:cubicBezTo>
                  <a:cubicBezTo>
                    <a:pt x="912" y="1134"/>
                    <a:pt x="910" y="1133"/>
                    <a:pt x="908" y="1132"/>
                  </a:cubicBezTo>
                  <a:cubicBezTo>
                    <a:pt x="906" y="1131"/>
                    <a:pt x="903" y="1129"/>
                    <a:pt x="901" y="1127"/>
                  </a:cubicBezTo>
                  <a:cubicBezTo>
                    <a:pt x="898" y="1125"/>
                    <a:pt x="895" y="1122"/>
                    <a:pt x="892" y="1118"/>
                  </a:cubicBezTo>
                  <a:cubicBezTo>
                    <a:pt x="888" y="1115"/>
                    <a:pt x="885" y="1112"/>
                    <a:pt x="883" y="1109"/>
                  </a:cubicBezTo>
                  <a:cubicBezTo>
                    <a:pt x="881" y="1107"/>
                    <a:pt x="880" y="1104"/>
                    <a:pt x="879" y="1102"/>
                  </a:cubicBezTo>
                  <a:cubicBezTo>
                    <a:pt x="878" y="1100"/>
                    <a:pt x="877" y="1099"/>
                    <a:pt x="877" y="1097"/>
                  </a:cubicBezTo>
                  <a:cubicBezTo>
                    <a:pt x="877" y="1096"/>
                    <a:pt x="878" y="1094"/>
                    <a:pt x="879" y="1093"/>
                  </a:cubicBezTo>
                  <a:lnTo>
                    <a:pt x="983" y="895"/>
                  </a:lnTo>
                  <a:cubicBezTo>
                    <a:pt x="984" y="893"/>
                    <a:pt x="985" y="891"/>
                    <a:pt x="986" y="889"/>
                  </a:cubicBezTo>
                  <a:cubicBezTo>
                    <a:pt x="987" y="888"/>
                    <a:pt x="988" y="887"/>
                    <a:pt x="989" y="886"/>
                  </a:cubicBezTo>
                  <a:cubicBezTo>
                    <a:pt x="990" y="885"/>
                    <a:pt x="991" y="884"/>
                    <a:pt x="992" y="884"/>
                  </a:cubicBezTo>
                  <a:cubicBezTo>
                    <a:pt x="993" y="884"/>
                    <a:pt x="995" y="884"/>
                    <a:pt x="996" y="885"/>
                  </a:cubicBezTo>
                  <a:cubicBezTo>
                    <a:pt x="998" y="886"/>
                    <a:pt x="1000" y="887"/>
                    <a:pt x="1002" y="889"/>
                  </a:cubicBezTo>
                  <a:cubicBezTo>
                    <a:pt x="1004" y="890"/>
                    <a:pt x="1006" y="893"/>
                    <a:pt x="1009" y="895"/>
                  </a:cubicBezTo>
                  <a:cubicBezTo>
                    <a:pt x="1012" y="899"/>
                    <a:pt x="1015" y="901"/>
                    <a:pt x="1016" y="904"/>
                  </a:cubicBezTo>
                  <a:cubicBezTo>
                    <a:pt x="1018" y="906"/>
                    <a:pt x="1019" y="908"/>
                    <a:pt x="1020" y="909"/>
                  </a:cubicBezTo>
                  <a:cubicBezTo>
                    <a:pt x="1021" y="910"/>
                    <a:pt x="1021" y="912"/>
                    <a:pt x="1021" y="913"/>
                  </a:cubicBezTo>
                  <a:cubicBezTo>
                    <a:pt x="1020" y="914"/>
                    <a:pt x="1020" y="916"/>
                    <a:pt x="1019" y="917"/>
                  </a:cubicBezTo>
                  <a:lnTo>
                    <a:pt x="926" y="1087"/>
                  </a:lnTo>
                  <a:lnTo>
                    <a:pt x="925" y="1089"/>
                  </a:lnTo>
                  <a:lnTo>
                    <a:pt x="927" y="1087"/>
                  </a:lnTo>
                  <a:lnTo>
                    <a:pt x="1093" y="991"/>
                  </a:lnTo>
                  <a:cubicBezTo>
                    <a:pt x="1095" y="990"/>
                    <a:pt x="1096" y="990"/>
                    <a:pt x="1097" y="990"/>
                  </a:cubicBezTo>
                  <a:cubicBezTo>
                    <a:pt x="1099" y="989"/>
                    <a:pt x="1100" y="990"/>
                    <a:pt x="1101" y="990"/>
                  </a:cubicBezTo>
                  <a:cubicBezTo>
                    <a:pt x="1103" y="991"/>
                    <a:pt x="1105" y="992"/>
                    <a:pt x="1107" y="994"/>
                  </a:cubicBezTo>
                  <a:cubicBezTo>
                    <a:pt x="1109" y="995"/>
                    <a:pt x="1111" y="998"/>
                    <a:pt x="1114" y="1001"/>
                  </a:cubicBezTo>
                  <a:cubicBezTo>
                    <a:pt x="1117" y="1003"/>
                    <a:pt x="1119" y="1006"/>
                    <a:pt x="1121" y="1008"/>
                  </a:cubicBezTo>
                  <a:cubicBezTo>
                    <a:pt x="1122" y="1010"/>
                    <a:pt x="1124" y="1012"/>
                    <a:pt x="1124" y="1013"/>
                  </a:cubicBezTo>
                  <a:cubicBezTo>
                    <a:pt x="1125" y="1015"/>
                    <a:pt x="1125" y="1016"/>
                    <a:pt x="1125" y="1017"/>
                  </a:cubicBezTo>
                  <a:cubicBezTo>
                    <a:pt x="1125" y="1018"/>
                    <a:pt x="1124" y="1019"/>
                    <a:pt x="1123" y="1021"/>
                  </a:cubicBezTo>
                  <a:lnTo>
                    <a:pt x="1030" y="1190"/>
                  </a:lnTo>
                  <a:lnTo>
                    <a:pt x="1029" y="1192"/>
                  </a:lnTo>
                  <a:lnTo>
                    <a:pt x="1030" y="1191"/>
                  </a:lnTo>
                  <a:lnTo>
                    <a:pt x="1199" y="1097"/>
                  </a:lnTo>
                  <a:cubicBezTo>
                    <a:pt x="1201" y="1097"/>
                    <a:pt x="1202" y="1096"/>
                    <a:pt x="1203" y="1096"/>
                  </a:cubicBezTo>
                  <a:cubicBezTo>
                    <a:pt x="1205" y="1096"/>
                    <a:pt x="1206" y="1096"/>
                    <a:pt x="1208" y="1096"/>
                  </a:cubicBezTo>
                  <a:cubicBezTo>
                    <a:pt x="1209" y="1097"/>
                    <a:pt x="1211" y="1098"/>
                    <a:pt x="1213" y="1100"/>
                  </a:cubicBezTo>
                  <a:cubicBezTo>
                    <a:pt x="1215" y="1102"/>
                    <a:pt x="1218" y="1104"/>
                    <a:pt x="1221" y="1107"/>
                  </a:cubicBezTo>
                  <a:cubicBezTo>
                    <a:pt x="1224" y="1110"/>
                    <a:pt x="1226" y="1113"/>
                    <a:pt x="1227" y="1114"/>
                  </a:cubicBezTo>
                  <a:cubicBezTo>
                    <a:pt x="1229" y="1116"/>
                    <a:pt x="1230" y="1118"/>
                    <a:pt x="1231" y="1119"/>
                  </a:cubicBezTo>
                  <a:cubicBezTo>
                    <a:pt x="1231" y="1121"/>
                    <a:pt x="1231" y="1122"/>
                    <a:pt x="1231" y="1123"/>
                  </a:cubicBezTo>
                  <a:cubicBezTo>
                    <a:pt x="1231" y="1124"/>
                    <a:pt x="1230" y="1125"/>
                    <a:pt x="1229" y="1126"/>
                  </a:cubicBezTo>
                  <a:close/>
                  <a:moveTo>
                    <a:pt x="1137" y="1352"/>
                  </a:moveTo>
                  <a:cubicBezTo>
                    <a:pt x="1136" y="1353"/>
                    <a:pt x="1135" y="1354"/>
                    <a:pt x="1134" y="1354"/>
                  </a:cubicBezTo>
                  <a:cubicBezTo>
                    <a:pt x="1132" y="1354"/>
                    <a:pt x="1131" y="1354"/>
                    <a:pt x="1130" y="1354"/>
                  </a:cubicBezTo>
                  <a:cubicBezTo>
                    <a:pt x="1128" y="1353"/>
                    <a:pt x="1126" y="1352"/>
                    <a:pt x="1124" y="1350"/>
                  </a:cubicBezTo>
                  <a:cubicBezTo>
                    <a:pt x="1122" y="1349"/>
                    <a:pt x="1119" y="1346"/>
                    <a:pt x="1117" y="1343"/>
                  </a:cubicBezTo>
                  <a:cubicBezTo>
                    <a:pt x="1114" y="1340"/>
                    <a:pt x="1111" y="1338"/>
                    <a:pt x="1110" y="1336"/>
                  </a:cubicBezTo>
                  <a:cubicBezTo>
                    <a:pt x="1108" y="1334"/>
                    <a:pt x="1107" y="1332"/>
                    <a:pt x="1106" y="1330"/>
                  </a:cubicBezTo>
                  <a:cubicBezTo>
                    <a:pt x="1106" y="1329"/>
                    <a:pt x="1106" y="1327"/>
                    <a:pt x="1106" y="1326"/>
                  </a:cubicBezTo>
                  <a:cubicBezTo>
                    <a:pt x="1106" y="1325"/>
                    <a:pt x="1107" y="1324"/>
                    <a:pt x="1108" y="1323"/>
                  </a:cubicBezTo>
                  <a:lnTo>
                    <a:pt x="1267" y="1164"/>
                  </a:lnTo>
                  <a:cubicBezTo>
                    <a:pt x="1267" y="1163"/>
                    <a:pt x="1268" y="1163"/>
                    <a:pt x="1270" y="1163"/>
                  </a:cubicBezTo>
                  <a:cubicBezTo>
                    <a:pt x="1271" y="1162"/>
                    <a:pt x="1272" y="1162"/>
                    <a:pt x="1274" y="1163"/>
                  </a:cubicBezTo>
                  <a:cubicBezTo>
                    <a:pt x="1275" y="1164"/>
                    <a:pt x="1277" y="1165"/>
                    <a:pt x="1279" y="1166"/>
                  </a:cubicBezTo>
                  <a:cubicBezTo>
                    <a:pt x="1281" y="1168"/>
                    <a:pt x="1284" y="1170"/>
                    <a:pt x="1287" y="1173"/>
                  </a:cubicBezTo>
                  <a:cubicBezTo>
                    <a:pt x="1290" y="1176"/>
                    <a:pt x="1292" y="1179"/>
                    <a:pt x="1294" y="1181"/>
                  </a:cubicBezTo>
                  <a:cubicBezTo>
                    <a:pt x="1295" y="1183"/>
                    <a:pt x="1296" y="1185"/>
                    <a:pt x="1297" y="1186"/>
                  </a:cubicBezTo>
                  <a:cubicBezTo>
                    <a:pt x="1297" y="1188"/>
                    <a:pt x="1298" y="1189"/>
                    <a:pt x="1297" y="1190"/>
                  </a:cubicBezTo>
                  <a:cubicBezTo>
                    <a:pt x="1297" y="1192"/>
                    <a:pt x="1297" y="1193"/>
                    <a:pt x="1296" y="1193"/>
                  </a:cubicBezTo>
                  <a:lnTo>
                    <a:pt x="1137" y="1352"/>
                  </a:lnTo>
                  <a:close/>
                  <a:moveTo>
                    <a:pt x="1353" y="1143"/>
                  </a:moveTo>
                  <a:cubicBezTo>
                    <a:pt x="1346" y="1150"/>
                    <a:pt x="1340" y="1153"/>
                    <a:pt x="1335" y="1153"/>
                  </a:cubicBezTo>
                  <a:cubicBezTo>
                    <a:pt x="1330" y="1153"/>
                    <a:pt x="1324" y="1149"/>
                    <a:pt x="1317" y="1142"/>
                  </a:cubicBezTo>
                  <a:cubicBezTo>
                    <a:pt x="1310" y="1136"/>
                    <a:pt x="1307" y="1130"/>
                    <a:pt x="1307" y="1125"/>
                  </a:cubicBezTo>
                  <a:cubicBezTo>
                    <a:pt x="1306" y="1120"/>
                    <a:pt x="1310" y="1114"/>
                    <a:pt x="1316" y="1107"/>
                  </a:cubicBezTo>
                  <a:cubicBezTo>
                    <a:pt x="1323" y="1100"/>
                    <a:pt x="1329" y="1097"/>
                    <a:pt x="1334" y="1097"/>
                  </a:cubicBezTo>
                  <a:cubicBezTo>
                    <a:pt x="1339" y="1097"/>
                    <a:pt x="1345" y="1101"/>
                    <a:pt x="1352" y="1108"/>
                  </a:cubicBezTo>
                  <a:cubicBezTo>
                    <a:pt x="1359" y="1115"/>
                    <a:pt x="1363" y="1121"/>
                    <a:pt x="1363" y="1125"/>
                  </a:cubicBezTo>
                  <a:cubicBezTo>
                    <a:pt x="1363" y="1130"/>
                    <a:pt x="1360" y="1136"/>
                    <a:pt x="1353" y="1143"/>
                  </a:cubicBezTo>
                  <a:close/>
                  <a:moveTo>
                    <a:pt x="1325" y="1493"/>
                  </a:moveTo>
                  <a:cubicBezTo>
                    <a:pt x="1323" y="1495"/>
                    <a:pt x="1322" y="1496"/>
                    <a:pt x="1320" y="1498"/>
                  </a:cubicBezTo>
                  <a:cubicBezTo>
                    <a:pt x="1318" y="1499"/>
                    <a:pt x="1317" y="1500"/>
                    <a:pt x="1316" y="1501"/>
                  </a:cubicBezTo>
                  <a:cubicBezTo>
                    <a:pt x="1314" y="1501"/>
                    <a:pt x="1313" y="1502"/>
                    <a:pt x="1312" y="1502"/>
                  </a:cubicBezTo>
                  <a:cubicBezTo>
                    <a:pt x="1311" y="1503"/>
                    <a:pt x="1309" y="1503"/>
                    <a:pt x="1306" y="1503"/>
                  </a:cubicBezTo>
                  <a:cubicBezTo>
                    <a:pt x="1303" y="1503"/>
                    <a:pt x="1298" y="1502"/>
                    <a:pt x="1293" y="1501"/>
                  </a:cubicBezTo>
                  <a:cubicBezTo>
                    <a:pt x="1287" y="1500"/>
                    <a:pt x="1281" y="1497"/>
                    <a:pt x="1275" y="1495"/>
                  </a:cubicBezTo>
                  <a:cubicBezTo>
                    <a:pt x="1269" y="1492"/>
                    <a:pt x="1263" y="1489"/>
                    <a:pt x="1256" y="1485"/>
                  </a:cubicBezTo>
                  <a:cubicBezTo>
                    <a:pt x="1250" y="1480"/>
                    <a:pt x="1244" y="1476"/>
                    <a:pt x="1239" y="1470"/>
                  </a:cubicBezTo>
                  <a:cubicBezTo>
                    <a:pt x="1227" y="1459"/>
                    <a:pt x="1219" y="1447"/>
                    <a:pt x="1214" y="1434"/>
                  </a:cubicBezTo>
                  <a:cubicBezTo>
                    <a:pt x="1209" y="1421"/>
                    <a:pt x="1207" y="1408"/>
                    <a:pt x="1208" y="1395"/>
                  </a:cubicBezTo>
                  <a:cubicBezTo>
                    <a:pt x="1210" y="1382"/>
                    <a:pt x="1214" y="1369"/>
                    <a:pt x="1221" y="1355"/>
                  </a:cubicBezTo>
                  <a:cubicBezTo>
                    <a:pt x="1229" y="1341"/>
                    <a:pt x="1239" y="1328"/>
                    <a:pt x="1253" y="1314"/>
                  </a:cubicBezTo>
                  <a:cubicBezTo>
                    <a:pt x="1269" y="1298"/>
                    <a:pt x="1284" y="1287"/>
                    <a:pt x="1299" y="1279"/>
                  </a:cubicBezTo>
                  <a:cubicBezTo>
                    <a:pt x="1314" y="1272"/>
                    <a:pt x="1329" y="1268"/>
                    <a:pt x="1343" y="1267"/>
                  </a:cubicBezTo>
                  <a:cubicBezTo>
                    <a:pt x="1357" y="1267"/>
                    <a:pt x="1370" y="1269"/>
                    <a:pt x="1382" y="1275"/>
                  </a:cubicBezTo>
                  <a:cubicBezTo>
                    <a:pt x="1395" y="1280"/>
                    <a:pt x="1406" y="1288"/>
                    <a:pt x="1417" y="1299"/>
                  </a:cubicBezTo>
                  <a:cubicBezTo>
                    <a:pt x="1422" y="1304"/>
                    <a:pt x="1426" y="1309"/>
                    <a:pt x="1430" y="1315"/>
                  </a:cubicBezTo>
                  <a:cubicBezTo>
                    <a:pt x="1434" y="1321"/>
                    <a:pt x="1437" y="1326"/>
                    <a:pt x="1440" y="1332"/>
                  </a:cubicBezTo>
                  <a:cubicBezTo>
                    <a:pt x="1442" y="1337"/>
                    <a:pt x="1444" y="1343"/>
                    <a:pt x="1445" y="1348"/>
                  </a:cubicBezTo>
                  <a:cubicBezTo>
                    <a:pt x="1446" y="1353"/>
                    <a:pt x="1447" y="1357"/>
                    <a:pt x="1447" y="1360"/>
                  </a:cubicBezTo>
                  <a:cubicBezTo>
                    <a:pt x="1447" y="1363"/>
                    <a:pt x="1446" y="1365"/>
                    <a:pt x="1446" y="1366"/>
                  </a:cubicBezTo>
                  <a:cubicBezTo>
                    <a:pt x="1446" y="1367"/>
                    <a:pt x="1445" y="1369"/>
                    <a:pt x="1445" y="1370"/>
                  </a:cubicBezTo>
                  <a:cubicBezTo>
                    <a:pt x="1444" y="1372"/>
                    <a:pt x="1443" y="1373"/>
                    <a:pt x="1441" y="1375"/>
                  </a:cubicBezTo>
                  <a:cubicBezTo>
                    <a:pt x="1440" y="1376"/>
                    <a:pt x="1438" y="1378"/>
                    <a:pt x="1436" y="1380"/>
                  </a:cubicBezTo>
                  <a:cubicBezTo>
                    <a:pt x="1432" y="1385"/>
                    <a:pt x="1428" y="1387"/>
                    <a:pt x="1425" y="1388"/>
                  </a:cubicBezTo>
                  <a:cubicBezTo>
                    <a:pt x="1422" y="1389"/>
                    <a:pt x="1420" y="1389"/>
                    <a:pt x="1418" y="1387"/>
                  </a:cubicBezTo>
                  <a:cubicBezTo>
                    <a:pt x="1417" y="1385"/>
                    <a:pt x="1416" y="1382"/>
                    <a:pt x="1415" y="1378"/>
                  </a:cubicBezTo>
                  <a:cubicBezTo>
                    <a:pt x="1415" y="1374"/>
                    <a:pt x="1414" y="1369"/>
                    <a:pt x="1413" y="1363"/>
                  </a:cubicBezTo>
                  <a:cubicBezTo>
                    <a:pt x="1412" y="1357"/>
                    <a:pt x="1410" y="1351"/>
                    <a:pt x="1407" y="1344"/>
                  </a:cubicBezTo>
                  <a:cubicBezTo>
                    <a:pt x="1404" y="1337"/>
                    <a:pt x="1399" y="1330"/>
                    <a:pt x="1392" y="1323"/>
                  </a:cubicBezTo>
                  <a:cubicBezTo>
                    <a:pt x="1378" y="1309"/>
                    <a:pt x="1362" y="1304"/>
                    <a:pt x="1343" y="1307"/>
                  </a:cubicBezTo>
                  <a:cubicBezTo>
                    <a:pt x="1325" y="1310"/>
                    <a:pt x="1306" y="1322"/>
                    <a:pt x="1285" y="1343"/>
                  </a:cubicBezTo>
                  <a:cubicBezTo>
                    <a:pt x="1275" y="1353"/>
                    <a:pt x="1267" y="1363"/>
                    <a:pt x="1261" y="1372"/>
                  </a:cubicBezTo>
                  <a:cubicBezTo>
                    <a:pt x="1255" y="1382"/>
                    <a:pt x="1252" y="1391"/>
                    <a:pt x="1250" y="1400"/>
                  </a:cubicBezTo>
                  <a:cubicBezTo>
                    <a:pt x="1249" y="1409"/>
                    <a:pt x="1250" y="1418"/>
                    <a:pt x="1253" y="1426"/>
                  </a:cubicBezTo>
                  <a:cubicBezTo>
                    <a:pt x="1256" y="1434"/>
                    <a:pt x="1261" y="1441"/>
                    <a:pt x="1268" y="1448"/>
                  </a:cubicBezTo>
                  <a:cubicBezTo>
                    <a:pt x="1274" y="1455"/>
                    <a:pt x="1281" y="1460"/>
                    <a:pt x="1289" y="1463"/>
                  </a:cubicBezTo>
                  <a:cubicBezTo>
                    <a:pt x="1296" y="1466"/>
                    <a:pt x="1302" y="1468"/>
                    <a:pt x="1309" y="1469"/>
                  </a:cubicBezTo>
                  <a:cubicBezTo>
                    <a:pt x="1315" y="1470"/>
                    <a:pt x="1320" y="1471"/>
                    <a:pt x="1325" y="1472"/>
                  </a:cubicBezTo>
                  <a:cubicBezTo>
                    <a:pt x="1330" y="1472"/>
                    <a:pt x="1333" y="1473"/>
                    <a:pt x="1334" y="1474"/>
                  </a:cubicBezTo>
                  <a:cubicBezTo>
                    <a:pt x="1335" y="1475"/>
                    <a:pt x="1335" y="1476"/>
                    <a:pt x="1335" y="1477"/>
                  </a:cubicBezTo>
                  <a:cubicBezTo>
                    <a:pt x="1336" y="1478"/>
                    <a:pt x="1335" y="1480"/>
                    <a:pt x="1335" y="1481"/>
                  </a:cubicBezTo>
                  <a:cubicBezTo>
                    <a:pt x="1334" y="1483"/>
                    <a:pt x="1333" y="1484"/>
                    <a:pt x="1331" y="1486"/>
                  </a:cubicBezTo>
                  <a:cubicBezTo>
                    <a:pt x="1330" y="1488"/>
                    <a:pt x="1328" y="1490"/>
                    <a:pt x="1325" y="1493"/>
                  </a:cubicBezTo>
                  <a:close/>
                  <a:moveTo>
                    <a:pt x="1567" y="1610"/>
                  </a:moveTo>
                  <a:cubicBezTo>
                    <a:pt x="1563" y="1615"/>
                    <a:pt x="1558" y="1617"/>
                    <a:pt x="1554" y="1617"/>
                  </a:cubicBezTo>
                  <a:cubicBezTo>
                    <a:pt x="1550" y="1616"/>
                    <a:pt x="1546" y="1615"/>
                    <a:pt x="1543" y="1612"/>
                  </a:cubicBezTo>
                  <a:lnTo>
                    <a:pt x="1438" y="1507"/>
                  </a:lnTo>
                  <a:cubicBezTo>
                    <a:pt x="1430" y="1516"/>
                    <a:pt x="1423" y="1524"/>
                    <a:pt x="1417" y="1533"/>
                  </a:cubicBezTo>
                  <a:cubicBezTo>
                    <a:pt x="1412" y="1542"/>
                    <a:pt x="1409" y="1551"/>
                    <a:pt x="1408" y="1560"/>
                  </a:cubicBezTo>
                  <a:cubicBezTo>
                    <a:pt x="1407" y="1570"/>
                    <a:pt x="1409" y="1579"/>
                    <a:pt x="1412" y="1588"/>
                  </a:cubicBezTo>
                  <a:cubicBezTo>
                    <a:pt x="1416" y="1598"/>
                    <a:pt x="1423" y="1607"/>
                    <a:pt x="1433" y="1617"/>
                  </a:cubicBezTo>
                  <a:cubicBezTo>
                    <a:pt x="1440" y="1624"/>
                    <a:pt x="1448" y="1630"/>
                    <a:pt x="1455" y="1635"/>
                  </a:cubicBezTo>
                  <a:cubicBezTo>
                    <a:pt x="1462" y="1640"/>
                    <a:pt x="1468" y="1643"/>
                    <a:pt x="1474" y="1646"/>
                  </a:cubicBezTo>
                  <a:cubicBezTo>
                    <a:pt x="1480" y="1649"/>
                    <a:pt x="1485" y="1651"/>
                    <a:pt x="1489" y="1653"/>
                  </a:cubicBezTo>
                  <a:cubicBezTo>
                    <a:pt x="1493" y="1654"/>
                    <a:pt x="1496" y="1656"/>
                    <a:pt x="1497" y="1657"/>
                  </a:cubicBezTo>
                  <a:cubicBezTo>
                    <a:pt x="1498" y="1658"/>
                    <a:pt x="1499" y="1659"/>
                    <a:pt x="1499" y="1660"/>
                  </a:cubicBezTo>
                  <a:cubicBezTo>
                    <a:pt x="1499" y="1661"/>
                    <a:pt x="1499" y="1662"/>
                    <a:pt x="1499" y="1663"/>
                  </a:cubicBezTo>
                  <a:cubicBezTo>
                    <a:pt x="1498" y="1665"/>
                    <a:pt x="1497" y="1666"/>
                    <a:pt x="1496" y="1668"/>
                  </a:cubicBezTo>
                  <a:cubicBezTo>
                    <a:pt x="1495" y="1669"/>
                    <a:pt x="1493" y="1671"/>
                    <a:pt x="1491" y="1673"/>
                  </a:cubicBezTo>
                  <a:cubicBezTo>
                    <a:pt x="1489" y="1675"/>
                    <a:pt x="1488" y="1676"/>
                    <a:pt x="1487" y="1677"/>
                  </a:cubicBezTo>
                  <a:cubicBezTo>
                    <a:pt x="1485" y="1678"/>
                    <a:pt x="1484" y="1679"/>
                    <a:pt x="1483" y="1680"/>
                  </a:cubicBezTo>
                  <a:cubicBezTo>
                    <a:pt x="1482" y="1680"/>
                    <a:pt x="1481" y="1681"/>
                    <a:pt x="1480" y="1681"/>
                  </a:cubicBezTo>
                  <a:cubicBezTo>
                    <a:pt x="1479" y="1681"/>
                    <a:pt x="1478" y="1682"/>
                    <a:pt x="1476" y="1682"/>
                  </a:cubicBezTo>
                  <a:cubicBezTo>
                    <a:pt x="1475" y="1682"/>
                    <a:pt x="1472" y="1681"/>
                    <a:pt x="1467" y="1679"/>
                  </a:cubicBezTo>
                  <a:cubicBezTo>
                    <a:pt x="1463" y="1677"/>
                    <a:pt x="1457" y="1675"/>
                    <a:pt x="1451" y="1671"/>
                  </a:cubicBezTo>
                  <a:cubicBezTo>
                    <a:pt x="1444" y="1667"/>
                    <a:pt x="1437" y="1663"/>
                    <a:pt x="1429" y="1657"/>
                  </a:cubicBezTo>
                  <a:cubicBezTo>
                    <a:pt x="1421" y="1652"/>
                    <a:pt x="1414" y="1645"/>
                    <a:pt x="1406" y="1638"/>
                  </a:cubicBezTo>
                  <a:cubicBezTo>
                    <a:pt x="1393" y="1625"/>
                    <a:pt x="1384" y="1611"/>
                    <a:pt x="1377" y="1598"/>
                  </a:cubicBezTo>
                  <a:cubicBezTo>
                    <a:pt x="1371" y="1584"/>
                    <a:pt x="1368" y="1571"/>
                    <a:pt x="1369" y="1557"/>
                  </a:cubicBezTo>
                  <a:cubicBezTo>
                    <a:pt x="1369" y="1543"/>
                    <a:pt x="1373" y="1529"/>
                    <a:pt x="1381" y="1514"/>
                  </a:cubicBezTo>
                  <a:cubicBezTo>
                    <a:pt x="1388" y="1500"/>
                    <a:pt x="1399" y="1486"/>
                    <a:pt x="1413" y="1471"/>
                  </a:cubicBezTo>
                  <a:cubicBezTo>
                    <a:pt x="1427" y="1458"/>
                    <a:pt x="1441" y="1447"/>
                    <a:pt x="1456" y="1440"/>
                  </a:cubicBezTo>
                  <a:cubicBezTo>
                    <a:pt x="1470" y="1433"/>
                    <a:pt x="1484" y="1428"/>
                    <a:pt x="1499" y="1427"/>
                  </a:cubicBezTo>
                  <a:cubicBezTo>
                    <a:pt x="1513" y="1426"/>
                    <a:pt x="1527" y="1429"/>
                    <a:pt x="1540" y="1434"/>
                  </a:cubicBezTo>
                  <a:cubicBezTo>
                    <a:pt x="1554" y="1439"/>
                    <a:pt x="1566" y="1448"/>
                    <a:pt x="1578" y="1460"/>
                  </a:cubicBezTo>
                  <a:cubicBezTo>
                    <a:pt x="1590" y="1472"/>
                    <a:pt x="1599" y="1485"/>
                    <a:pt x="1604" y="1498"/>
                  </a:cubicBezTo>
                  <a:cubicBezTo>
                    <a:pt x="1609" y="1510"/>
                    <a:pt x="1610" y="1523"/>
                    <a:pt x="1609" y="1535"/>
                  </a:cubicBezTo>
                  <a:cubicBezTo>
                    <a:pt x="1608" y="1548"/>
                    <a:pt x="1604" y="1560"/>
                    <a:pt x="1598" y="1572"/>
                  </a:cubicBezTo>
                  <a:cubicBezTo>
                    <a:pt x="1591" y="1583"/>
                    <a:pt x="1583" y="1595"/>
                    <a:pt x="1573" y="1605"/>
                  </a:cubicBezTo>
                  <a:lnTo>
                    <a:pt x="1567" y="1610"/>
                  </a:lnTo>
                  <a:close/>
                  <a:moveTo>
                    <a:pt x="1547" y="1572"/>
                  </a:moveTo>
                  <a:cubicBezTo>
                    <a:pt x="1562" y="1557"/>
                    <a:pt x="1571" y="1542"/>
                    <a:pt x="1572" y="1526"/>
                  </a:cubicBezTo>
                  <a:cubicBezTo>
                    <a:pt x="1574" y="1510"/>
                    <a:pt x="1568" y="1495"/>
                    <a:pt x="1554" y="1481"/>
                  </a:cubicBezTo>
                  <a:cubicBezTo>
                    <a:pt x="1546" y="1474"/>
                    <a:pt x="1539" y="1469"/>
                    <a:pt x="1531" y="1466"/>
                  </a:cubicBezTo>
                  <a:cubicBezTo>
                    <a:pt x="1522" y="1463"/>
                    <a:pt x="1514" y="1462"/>
                    <a:pt x="1506" y="1463"/>
                  </a:cubicBezTo>
                  <a:cubicBezTo>
                    <a:pt x="1498" y="1464"/>
                    <a:pt x="1490" y="1466"/>
                    <a:pt x="1482" y="1470"/>
                  </a:cubicBezTo>
                  <a:cubicBezTo>
                    <a:pt x="1474" y="1474"/>
                    <a:pt x="1467" y="1479"/>
                    <a:pt x="1460" y="1485"/>
                  </a:cubicBezTo>
                  <a:lnTo>
                    <a:pt x="1547" y="1572"/>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402" name="Freeform 149"/>
            <p:cNvSpPr>
              <a:spLocks noEditPoints="1"/>
            </p:cNvSpPr>
            <p:nvPr/>
          </p:nvSpPr>
          <p:spPr bwMode="auto">
            <a:xfrm>
              <a:off x="874" y="2376"/>
              <a:ext cx="146" cy="154"/>
            </a:xfrm>
            <a:custGeom>
              <a:avLst/>
              <a:gdLst>
                <a:gd name="T0" fmla="*/ 142 w 1391"/>
                <a:gd name="T1" fmla="*/ 436 h 1466"/>
                <a:gd name="T2" fmla="*/ 45 w 1391"/>
                <a:gd name="T3" fmla="*/ 324 h 1466"/>
                <a:gd name="T4" fmla="*/ 2 w 1391"/>
                <a:gd name="T5" fmla="*/ 294 h 1466"/>
                <a:gd name="T6" fmla="*/ 170 w 1391"/>
                <a:gd name="T7" fmla="*/ 4 h 1466"/>
                <a:gd name="T8" fmla="*/ 50 w 1391"/>
                <a:gd name="T9" fmla="*/ 279 h 1466"/>
                <a:gd name="T10" fmla="*/ 314 w 1391"/>
                <a:gd name="T11" fmla="*/ 147 h 1466"/>
                <a:gd name="T12" fmla="*/ 185 w 1391"/>
                <a:gd name="T13" fmla="*/ 414 h 1466"/>
                <a:gd name="T14" fmla="*/ 458 w 1391"/>
                <a:gd name="T15" fmla="*/ 292 h 1466"/>
                <a:gd name="T16" fmla="*/ 507 w 1391"/>
                <a:gd name="T17" fmla="*/ 506 h 1466"/>
                <a:gd name="T18" fmla="*/ 485 w 1391"/>
                <a:gd name="T19" fmla="*/ 491 h 1466"/>
                <a:gd name="T20" fmla="*/ 301 w 1391"/>
                <a:gd name="T21" fmla="*/ 585 h 1466"/>
                <a:gd name="T22" fmla="*/ 271 w 1391"/>
                <a:gd name="T23" fmla="*/ 562 h 1466"/>
                <a:gd name="T24" fmla="*/ 443 w 1391"/>
                <a:gd name="T25" fmla="*/ 398 h 1466"/>
                <a:gd name="T26" fmla="*/ 434 w 1391"/>
                <a:gd name="T27" fmla="*/ 446 h 1466"/>
                <a:gd name="T28" fmla="*/ 519 w 1391"/>
                <a:gd name="T29" fmla="*/ 471 h 1466"/>
                <a:gd name="T30" fmla="*/ 513 w 1391"/>
                <a:gd name="T31" fmla="*/ 500 h 1466"/>
                <a:gd name="T32" fmla="*/ 438 w 1391"/>
                <a:gd name="T33" fmla="*/ 726 h 1466"/>
                <a:gd name="T34" fmla="*/ 602 w 1391"/>
                <a:gd name="T35" fmla="*/ 565 h 1466"/>
                <a:gd name="T36" fmla="*/ 605 w 1391"/>
                <a:gd name="T37" fmla="*/ 730 h 1466"/>
                <a:gd name="T38" fmla="*/ 564 w 1391"/>
                <a:gd name="T39" fmla="*/ 597 h 1466"/>
                <a:gd name="T40" fmla="*/ 492 w 1391"/>
                <a:gd name="T41" fmla="*/ 742 h 1466"/>
                <a:gd name="T42" fmla="*/ 722 w 1391"/>
                <a:gd name="T43" fmla="*/ 967 h 1466"/>
                <a:gd name="T44" fmla="*/ 658 w 1391"/>
                <a:gd name="T45" fmla="*/ 954 h 1466"/>
                <a:gd name="T46" fmla="*/ 701 w 1391"/>
                <a:gd name="T47" fmla="*/ 749 h 1466"/>
                <a:gd name="T48" fmla="*/ 847 w 1391"/>
                <a:gd name="T49" fmla="*/ 817 h 1466"/>
                <a:gd name="T50" fmla="*/ 827 w 1391"/>
                <a:gd name="T51" fmla="*/ 858 h 1466"/>
                <a:gd name="T52" fmla="*/ 745 w 1391"/>
                <a:gd name="T53" fmla="*/ 777 h 1466"/>
                <a:gd name="T54" fmla="*/ 690 w 1391"/>
                <a:gd name="T55" fmla="*/ 933 h 1466"/>
                <a:gd name="T56" fmla="*/ 733 w 1391"/>
                <a:gd name="T57" fmla="*/ 956 h 1466"/>
                <a:gd name="T58" fmla="*/ 949 w 1391"/>
                <a:gd name="T59" fmla="*/ 933 h 1466"/>
                <a:gd name="T60" fmla="*/ 759 w 1391"/>
                <a:gd name="T61" fmla="*/ 1054 h 1466"/>
                <a:gd name="T62" fmla="*/ 837 w 1391"/>
                <a:gd name="T63" fmla="*/ 908 h 1466"/>
                <a:gd name="T64" fmla="*/ 862 w 1391"/>
                <a:gd name="T65" fmla="*/ 882 h 1466"/>
                <a:gd name="T66" fmla="*/ 1007 w 1391"/>
                <a:gd name="T67" fmla="*/ 807 h 1466"/>
                <a:gd name="T68" fmla="*/ 973 w 1391"/>
                <a:gd name="T69" fmla="*/ 907 h 1466"/>
                <a:gd name="T70" fmla="*/ 939 w 1391"/>
                <a:gd name="T71" fmla="*/ 1234 h 1466"/>
                <a:gd name="T72" fmla="*/ 874 w 1391"/>
                <a:gd name="T73" fmla="*/ 1173 h 1466"/>
                <a:gd name="T74" fmla="*/ 928 w 1391"/>
                <a:gd name="T75" fmla="*/ 1051 h 1466"/>
                <a:gd name="T76" fmla="*/ 1054 w 1391"/>
                <a:gd name="T77" fmla="*/ 1070 h 1466"/>
                <a:gd name="T78" fmla="*/ 967 w 1391"/>
                <a:gd name="T79" fmla="*/ 997 h 1466"/>
                <a:gd name="T80" fmla="*/ 988 w 1391"/>
                <a:gd name="T81" fmla="*/ 972 h 1466"/>
                <a:gd name="T82" fmla="*/ 1095 w 1391"/>
                <a:gd name="T83" fmla="*/ 1075 h 1466"/>
                <a:gd name="T84" fmla="*/ 953 w 1391"/>
                <a:gd name="T85" fmla="*/ 1096 h 1466"/>
                <a:gd name="T86" fmla="*/ 929 w 1391"/>
                <a:gd name="T87" fmla="*/ 1170 h 1466"/>
                <a:gd name="T88" fmla="*/ 1182 w 1391"/>
                <a:gd name="T89" fmla="*/ 1464 h 1466"/>
                <a:gd name="T90" fmla="*/ 1143 w 1391"/>
                <a:gd name="T91" fmla="*/ 1435 h 1466"/>
                <a:gd name="T92" fmla="*/ 1078 w 1391"/>
                <a:gd name="T93" fmla="*/ 1360 h 1466"/>
                <a:gd name="T94" fmla="*/ 1038 w 1391"/>
                <a:gd name="T95" fmla="*/ 1330 h 1466"/>
                <a:gd name="T96" fmla="*/ 1152 w 1391"/>
                <a:gd name="T97" fmla="*/ 1112 h 1466"/>
                <a:gd name="T98" fmla="*/ 1180 w 1391"/>
                <a:gd name="T99" fmla="*/ 1141 h 1466"/>
                <a:gd name="T100" fmla="*/ 1257 w 1391"/>
                <a:gd name="T101" fmla="*/ 1217 h 1466"/>
                <a:gd name="T102" fmla="*/ 1285 w 1391"/>
                <a:gd name="T103" fmla="*/ 1245 h 1466"/>
                <a:gd name="T104" fmla="*/ 1363 w 1391"/>
                <a:gd name="T105" fmla="*/ 1323 h 1466"/>
                <a:gd name="T106" fmla="*/ 1391 w 1391"/>
                <a:gd name="T107" fmla="*/ 1351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91" h="1466">
                  <a:moveTo>
                    <a:pt x="180" y="459"/>
                  </a:moveTo>
                  <a:cubicBezTo>
                    <a:pt x="177" y="460"/>
                    <a:pt x="175" y="460"/>
                    <a:pt x="173" y="461"/>
                  </a:cubicBezTo>
                  <a:cubicBezTo>
                    <a:pt x="172" y="461"/>
                    <a:pt x="169" y="460"/>
                    <a:pt x="167" y="459"/>
                  </a:cubicBezTo>
                  <a:cubicBezTo>
                    <a:pt x="165" y="458"/>
                    <a:pt x="163" y="456"/>
                    <a:pt x="160" y="454"/>
                  </a:cubicBezTo>
                  <a:cubicBezTo>
                    <a:pt x="157" y="452"/>
                    <a:pt x="154" y="449"/>
                    <a:pt x="151" y="445"/>
                  </a:cubicBezTo>
                  <a:cubicBezTo>
                    <a:pt x="147" y="442"/>
                    <a:pt x="144" y="439"/>
                    <a:pt x="142" y="436"/>
                  </a:cubicBezTo>
                  <a:cubicBezTo>
                    <a:pt x="140" y="433"/>
                    <a:pt x="138" y="431"/>
                    <a:pt x="137" y="428"/>
                  </a:cubicBezTo>
                  <a:cubicBezTo>
                    <a:pt x="136" y="426"/>
                    <a:pt x="135" y="424"/>
                    <a:pt x="135" y="422"/>
                  </a:cubicBezTo>
                  <a:cubicBezTo>
                    <a:pt x="135" y="421"/>
                    <a:pt x="136" y="419"/>
                    <a:pt x="137" y="416"/>
                  </a:cubicBezTo>
                  <a:lnTo>
                    <a:pt x="262" y="196"/>
                  </a:lnTo>
                  <a:lnTo>
                    <a:pt x="262" y="195"/>
                  </a:lnTo>
                  <a:lnTo>
                    <a:pt x="45" y="324"/>
                  </a:lnTo>
                  <a:cubicBezTo>
                    <a:pt x="43" y="325"/>
                    <a:pt x="41" y="326"/>
                    <a:pt x="39" y="326"/>
                  </a:cubicBezTo>
                  <a:cubicBezTo>
                    <a:pt x="37" y="326"/>
                    <a:pt x="35" y="326"/>
                    <a:pt x="33" y="325"/>
                  </a:cubicBezTo>
                  <a:cubicBezTo>
                    <a:pt x="31" y="324"/>
                    <a:pt x="29" y="322"/>
                    <a:pt x="26" y="320"/>
                  </a:cubicBezTo>
                  <a:cubicBezTo>
                    <a:pt x="24" y="318"/>
                    <a:pt x="20" y="315"/>
                    <a:pt x="17" y="311"/>
                  </a:cubicBezTo>
                  <a:cubicBezTo>
                    <a:pt x="13" y="307"/>
                    <a:pt x="10" y="304"/>
                    <a:pt x="7" y="301"/>
                  </a:cubicBezTo>
                  <a:cubicBezTo>
                    <a:pt x="5" y="298"/>
                    <a:pt x="3" y="296"/>
                    <a:pt x="2" y="294"/>
                  </a:cubicBezTo>
                  <a:cubicBezTo>
                    <a:pt x="1" y="291"/>
                    <a:pt x="0" y="289"/>
                    <a:pt x="1" y="288"/>
                  </a:cubicBezTo>
                  <a:cubicBezTo>
                    <a:pt x="1" y="286"/>
                    <a:pt x="1" y="284"/>
                    <a:pt x="3" y="282"/>
                  </a:cubicBezTo>
                  <a:lnTo>
                    <a:pt x="153" y="10"/>
                  </a:lnTo>
                  <a:cubicBezTo>
                    <a:pt x="155" y="7"/>
                    <a:pt x="157" y="4"/>
                    <a:pt x="159" y="3"/>
                  </a:cubicBezTo>
                  <a:cubicBezTo>
                    <a:pt x="160" y="1"/>
                    <a:pt x="162" y="0"/>
                    <a:pt x="164" y="0"/>
                  </a:cubicBezTo>
                  <a:cubicBezTo>
                    <a:pt x="165" y="1"/>
                    <a:pt x="168" y="2"/>
                    <a:pt x="170" y="4"/>
                  </a:cubicBezTo>
                  <a:cubicBezTo>
                    <a:pt x="173" y="6"/>
                    <a:pt x="176" y="9"/>
                    <a:pt x="179" y="12"/>
                  </a:cubicBezTo>
                  <a:cubicBezTo>
                    <a:pt x="183" y="16"/>
                    <a:pt x="186" y="19"/>
                    <a:pt x="188" y="21"/>
                  </a:cubicBezTo>
                  <a:cubicBezTo>
                    <a:pt x="190" y="24"/>
                    <a:pt x="191" y="25"/>
                    <a:pt x="192" y="27"/>
                  </a:cubicBezTo>
                  <a:cubicBezTo>
                    <a:pt x="192" y="29"/>
                    <a:pt x="192" y="30"/>
                    <a:pt x="192" y="31"/>
                  </a:cubicBezTo>
                  <a:cubicBezTo>
                    <a:pt x="192" y="33"/>
                    <a:pt x="191" y="34"/>
                    <a:pt x="190" y="35"/>
                  </a:cubicBezTo>
                  <a:lnTo>
                    <a:pt x="50" y="279"/>
                  </a:lnTo>
                  <a:lnTo>
                    <a:pt x="50" y="279"/>
                  </a:lnTo>
                  <a:lnTo>
                    <a:pt x="290" y="136"/>
                  </a:lnTo>
                  <a:cubicBezTo>
                    <a:pt x="292" y="135"/>
                    <a:pt x="293" y="135"/>
                    <a:pt x="294" y="134"/>
                  </a:cubicBezTo>
                  <a:cubicBezTo>
                    <a:pt x="296" y="134"/>
                    <a:pt x="297" y="134"/>
                    <a:pt x="299" y="135"/>
                  </a:cubicBezTo>
                  <a:cubicBezTo>
                    <a:pt x="301" y="136"/>
                    <a:pt x="303" y="137"/>
                    <a:pt x="305" y="139"/>
                  </a:cubicBezTo>
                  <a:cubicBezTo>
                    <a:pt x="308" y="141"/>
                    <a:pt x="311" y="143"/>
                    <a:pt x="314" y="147"/>
                  </a:cubicBezTo>
                  <a:cubicBezTo>
                    <a:pt x="317" y="150"/>
                    <a:pt x="320" y="153"/>
                    <a:pt x="322" y="155"/>
                  </a:cubicBezTo>
                  <a:cubicBezTo>
                    <a:pt x="323" y="157"/>
                    <a:pt x="325" y="159"/>
                    <a:pt x="325" y="161"/>
                  </a:cubicBezTo>
                  <a:cubicBezTo>
                    <a:pt x="326" y="163"/>
                    <a:pt x="326" y="164"/>
                    <a:pt x="326" y="166"/>
                  </a:cubicBezTo>
                  <a:cubicBezTo>
                    <a:pt x="325" y="167"/>
                    <a:pt x="325" y="169"/>
                    <a:pt x="324" y="170"/>
                  </a:cubicBezTo>
                  <a:lnTo>
                    <a:pt x="185" y="414"/>
                  </a:lnTo>
                  <a:lnTo>
                    <a:pt x="185" y="414"/>
                  </a:lnTo>
                  <a:lnTo>
                    <a:pt x="427" y="273"/>
                  </a:lnTo>
                  <a:cubicBezTo>
                    <a:pt x="429" y="272"/>
                    <a:pt x="430" y="272"/>
                    <a:pt x="431" y="271"/>
                  </a:cubicBezTo>
                  <a:cubicBezTo>
                    <a:pt x="433" y="271"/>
                    <a:pt x="434" y="271"/>
                    <a:pt x="436" y="271"/>
                  </a:cubicBezTo>
                  <a:cubicBezTo>
                    <a:pt x="437" y="272"/>
                    <a:pt x="439" y="273"/>
                    <a:pt x="441" y="275"/>
                  </a:cubicBezTo>
                  <a:cubicBezTo>
                    <a:pt x="444" y="277"/>
                    <a:pt x="447" y="280"/>
                    <a:pt x="450" y="283"/>
                  </a:cubicBezTo>
                  <a:cubicBezTo>
                    <a:pt x="454" y="286"/>
                    <a:pt x="456" y="289"/>
                    <a:pt x="458" y="292"/>
                  </a:cubicBezTo>
                  <a:cubicBezTo>
                    <a:pt x="460" y="294"/>
                    <a:pt x="461" y="296"/>
                    <a:pt x="461" y="298"/>
                  </a:cubicBezTo>
                  <a:cubicBezTo>
                    <a:pt x="461" y="300"/>
                    <a:pt x="460" y="301"/>
                    <a:pt x="459" y="303"/>
                  </a:cubicBezTo>
                  <a:cubicBezTo>
                    <a:pt x="457" y="304"/>
                    <a:pt x="455" y="306"/>
                    <a:pt x="451" y="308"/>
                  </a:cubicBezTo>
                  <a:lnTo>
                    <a:pt x="180" y="459"/>
                  </a:lnTo>
                  <a:close/>
                  <a:moveTo>
                    <a:pt x="513" y="500"/>
                  </a:moveTo>
                  <a:cubicBezTo>
                    <a:pt x="511" y="502"/>
                    <a:pt x="509" y="504"/>
                    <a:pt x="507" y="506"/>
                  </a:cubicBezTo>
                  <a:cubicBezTo>
                    <a:pt x="505" y="508"/>
                    <a:pt x="503" y="509"/>
                    <a:pt x="502" y="510"/>
                  </a:cubicBezTo>
                  <a:cubicBezTo>
                    <a:pt x="500" y="510"/>
                    <a:pt x="499" y="510"/>
                    <a:pt x="498" y="510"/>
                  </a:cubicBezTo>
                  <a:cubicBezTo>
                    <a:pt x="497" y="510"/>
                    <a:pt x="496" y="510"/>
                    <a:pt x="495" y="509"/>
                  </a:cubicBezTo>
                  <a:cubicBezTo>
                    <a:pt x="494" y="508"/>
                    <a:pt x="493" y="507"/>
                    <a:pt x="492" y="505"/>
                  </a:cubicBezTo>
                  <a:cubicBezTo>
                    <a:pt x="492" y="503"/>
                    <a:pt x="491" y="501"/>
                    <a:pt x="489" y="499"/>
                  </a:cubicBezTo>
                  <a:cubicBezTo>
                    <a:pt x="488" y="496"/>
                    <a:pt x="487" y="494"/>
                    <a:pt x="485" y="491"/>
                  </a:cubicBezTo>
                  <a:cubicBezTo>
                    <a:pt x="484" y="489"/>
                    <a:pt x="482" y="486"/>
                    <a:pt x="479" y="484"/>
                  </a:cubicBezTo>
                  <a:cubicBezTo>
                    <a:pt x="476" y="481"/>
                    <a:pt x="473" y="479"/>
                    <a:pt x="469" y="477"/>
                  </a:cubicBezTo>
                  <a:cubicBezTo>
                    <a:pt x="465" y="475"/>
                    <a:pt x="460" y="474"/>
                    <a:pt x="454" y="474"/>
                  </a:cubicBezTo>
                  <a:cubicBezTo>
                    <a:pt x="448" y="473"/>
                    <a:pt x="441" y="474"/>
                    <a:pt x="433" y="475"/>
                  </a:cubicBezTo>
                  <a:cubicBezTo>
                    <a:pt x="425" y="476"/>
                    <a:pt x="416" y="478"/>
                    <a:pt x="406" y="480"/>
                  </a:cubicBezTo>
                  <a:lnTo>
                    <a:pt x="301" y="585"/>
                  </a:lnTo>
                  <a:cubicBezTo>
                    <a:pt x="300" y="585"/>
                    <a:pt x="299" y="586"/>
                    <a:pt x="298" y="586"/>
                  </a:cubicBezTo>
                  <a:cubicBezTo>
                    <a:pt x="297" y="586"/>
                    <a:pt x="295" y="586"/>
                    <a:pt x="294" y="586"/>
                  </a:cubicBezTo>
                  <a:cubicBezTo>
                    <a:pt x="292" y="585"/>
                    <a:pt x="290" y="584"/>
                    <a:pt x="288" y="582"/>
                  </a:cubicBezTo>
                  <a:cubicBezTo>
                    <a:pt x="286" y="581"/>
                    <a:pt x="284" y="578"/>
                    <a:pt x="281" y="575"/>
                  </a:cubicBezTo>
                  <a:cubicBezTo>
                    <a:pt x="278" y="573"/>
                    <a:pt x="276" y="570"/>
                    <a:pt x="274" y="568"/>
                  </a:cubicBezTo>
                  <a:cubicBezTo>
                    <a:pt x="272" y="566"/>
                    <a:pt x="271" y="564"/>
                    <a:pt x="271" y="562"/>
                  </a:cubicBezTo>
                  <a:cubicBezTo>
                    <a:pt x="270" y="561"/>
                    <a:pt x="270" y="559"/>
                    <a:pt x="270" y="558"/>
                  </a:cubicBezTo>
                  <a:cubicBezTo>
                    <a:pt x="270" y="557"/>
                    <a:pt x="271" y="556"/>
                    <a:pt x="272" y="555"/>
                  </a:cubicBezTo>
                  <a:lnTo>
                    <a:pt x="431" y="396"/>
                  </a:lnTo>
                  <a:cubicBezTo>
                    <a:pt x="432" y="395"/>
                    <a:pt x="433" y="395"/>
                    <a:pt x="434" y="394"/>
                  </a:cubicBezTo>
                  <a:cubicBezTo>
                    <a:pt x="435" y="394"/>
                    <a:pt x="436" y="394"/>
                    <a:pt x="438" y="395"/>
                  </a:cubicBezTo>
                  <a:cubicBezTo>
                    <a:pt x="439" y="395"/>
                    <a:pt x="441" y="396"/>
                    <a:pt x="443" y="398"/>
                  </a:cubicBezTo>
                  <a:cubicBezTo>
                    <a:pt x="445" y="399"/>
                    <a:pt x="447" y="401"/>
                    <a:pt x="450" y="404"/>
                  </a:cubicBezTo>
                  <a:cubicBezTo>
                    <a:pt x="452" y="407"/>
                    <a:pt x="454" y="409"/>
                    <a:pt x="456" y="411"/>
                  </a:cubicBezTo>
                  <a:cubicBezTo>
                    <a:pt x="457" y="413"/>
                    <a:pt x="458" y="414"/>
                    <a:pt x="459" y="416"/>
                  </a:cubicBezTo>
                  <a:cubicBezTo>
                    <a:pt x="459" y="417"/>
                    <a:pt x="459" y="419"/>
                    <a:pt x="459" y="420"/>
                  </a:cubicBezTo>
                  <a:cubicBezTo>
                    <a:pt x="459" y="421"/>
                    <a:pt x="458" y="422"/>
                    <a:pt x="457" y="423"/>
                  </a:cubicBezTo>
                  <a:lnTo>
                    <a:pt x="434" y="446"/>
                  </a:lnTo>
                  <a:cubicBezTo>
                    <a:pt x="445" y="444"/>
                    <a:pt x="454" y="443"/>
                    <a:pt x="462" y="443"/>
                  </a:cubicBezTo>
                  <a:cubicBezTo>
                    <a:pt x="470" y="442"/>
                    <a:pt x="476" y="443"/>
                    <a:pt x="482" y="444"/>
                  </a:cubicBezTo>
                  <a:cubicBezTo>
                    <a:pt x="488" y="445"/>
                    <a:pt x="493" y="447"/>
                    <a:pt x="497" y="449"/>
                  </a:cubicBezTo>
                  <a:cubicBezTo>
                    <a:pt x="501" y="452"/>
                    <a:pt x="505" y="455"/>
                    <a:pt x="509" y="458"/>
                  </a:cubicBezTo>
                  <a:cubicBezTo>
                    <a:pt x="510" y="460"/>
                    <a:pt x="512" y="462"/>
                    <a:pt x="514" y="464"/>
                  </a:cubicBezTo>
                  <a:cubicBezTo>
                    <a:pt x="515" y="466"/>
                    <a:pt x="517" y="468"/>
                    <a:pt x="519" y="471"/>
                  </a:cubicBezTo>
                  <a:cubicBezTo>
                    <a:pt x="520" y="473"/>
                    <a:pt x="522" y="476"/>
                    <a:pt x="523" y="478"/>
                  </a:cubicBezTo>
                  <a:cubicBezTo>
                    <a:pt x="524" y="480"/>
                    <a:pt x="525" y="482"/>
                    <a:pt x="525" y="483"/>
                  </a:cubicBezTo>
                  <a:cubicBezTo>
                    <a:pt x="525" y="485"/>
                    <a:pt x="525" y="486"/>
                    <a:pt x="524" y="487"/>
                  </a:cubicBezTo>
                  <a:cubicBezTo>
                    <a:pt x="524" y="487"/>
                    <a:pt x="524" y="488"/>
                    <a:pt x="523" y="489"/>
                  </a:cubicBezTo>
                  <a:cubicBezTo>
                    <a:pt x="522" y="490"/>
                    <a:pt x="521" y="492"/>
                    <a:pt x="520" y="493"/>
                  </a:cubicBezTo>
                  <a:cubicBezTo>
                    <a:pt x="518" y="495"/>
                    <a:pt x="516" y="497"/>
                    <a:pt x="513" y="500"/>
                  </a:cubicBezTo>
                  <a:close/>
                  <a:moveTo>
                    <a:pt x="637" y="758"/>
                  </a:moveTo>
                  <a:cubicBezTo>
                    <a:pt x="624" y="771"/>
                    <a:pt x="610" y="781"/>
                    <a:pt x="596" y="788"/>
                  </a:cubicBezTo>
                  <a:cubicBezTo>
                    <a:pt x="581" y="796"/>
                    <a:pt x="567" y="800"/>
                    <a:pt x="552" y="801"/>
                  </a:cubicBezTo>
                  <a:cubicBezTo>
                    <a:pt x="538" y="802"/>
                    <a:pt x="523" y="800"/>
                    <a:pt x="508" y="794"/>
                  </a:cubicBezTo>
                  <a:cubicBezTo>
                    <a:pt x="494" y="789"/>
                    <a:pt x="480" y="779"/>
                    <a:pt x="466" y="766"/>
                  </a:cubicBezTo>
                  <a:cubicBezTo>
                    <a:pt x="453" y="752"/>
                    <a:pt x="444" y="739"/>
                    <a:pt x="438" y="726"/>
                  </a:cubicBezTo>
                  <a:cubicBezTo>
                    <a:pt x="432" y="712"/>
                    <a:pt x="430" y="698"/>
                    <a:pt x="431" y="684"/>
                  </a:cubicBezTo>
                  <a:cubicBezTo>
                    <a:pt x="432" y="670"/>
                    <a:pt x="436" y="656"/>
                    <a:pt x="443" y="643"/>
                  </a:cubicBezTo>
                  <a:cubicBezTo>
                    <a:pt x="451" y="629"/>
                    <a:pt x="461" y="615"/>
                    <a:pt x="474" y="602"/>
                  </a:cubicBezTo>
                  <a:cubicBezTo>
                    <a:pt x="487" y="589"/>
                    <a:pt x="501" y="579"/>
                    <a:pt x="515" y="571"/>
                  </a:cubicBezTo>
                  <a:cubicBezTo>
                    <a:pt x="530" y="564"/>
                    <a:pt x="544" y="559"/>
                    <a:pt x="559" y="558"/>
                  </a:cubicBezTo>
                  <a:cubicBezTo>
                    <a:pt x="573" y="557"/>
                    <a:pt x="588" y="559"/>
                    <a:pt x="602" y="565"/>
                  </a:cubicBezTo>
                  <a:cubicBezTo>
                    <a:pt x="617" y="571"/>
                    <a:pt x="631" y="581"/>
                    <a:pt x="645" y="594"/>
                  </a:cubicBezTo>
                  <a:cubicBezTo>
                    <a:pt x="658" y="607"/>
                    <a:pt x="667" y="621"/>
                    <a:pt x="673" y="634"/>
                  </a:cubicBezTo>
                  <a:cubicBezTo>
                    <a:pt x="679" y="648"/>
                    <a:pt x="681" y="662"/>
                    <a:pt x="680" y="675"/>
                  </a:cubicBezTo>
                  <a:cubicBezTo>
                    <a:pt x="679" y="689"/>
                    <a:pt x="675" y="703"/>
                    <a:pt x="668" y="717"/>
                  </a:cubicBezTo>
                  <a:cubicBezTo>
                    <a:pt x="660" y="731"/>
                    <a:pt x="650" y="744"/>
                    <a:pt x="637" y="758"/>
                  </a:cubicBezTo>
                  <a:close/>
                  <a:moveTo>
                    <a:pt x="605" y="730"/>
                  </a:moveTo>
                  <a:cubicBezTo>
                    <a:pt x="613" y="721"/>
                    <a:pt x="620" y="712"/>
                    <a:pt x="627" y="703"/>
                  </a:cubicBezTo>
                  <a:cubicBezTo>
                    <a:pt x="633" y="693"/>
                    <a:pt x="637" y="684"/>
                    <a:pt x="639" y="675"/>
                  </a:cubicBezTo>
                  <a:cubicBezTo>
                    <a:pt x="641" y="665"/>
                    <a:pt x="640" y="656"/>
                    <a:pt x="637" y="646"/>
                  </a:cubicBezTo>
                  <a:cubicBezTo>
                    <a:pt x="635" y="636"/>
                    <a:pt x="628" y="627"/>
                    <a:pt x="619" y="617"/>
                  </a:cubicBezTo>
                  <a:cubicBezTo>
                    <a:pt x="610" y="609"/>
                    <a:pt x="601" y="603"/>
                    <a:pt x="592" y="600"/>
                  </a:cubicBezTo>
                  <a:cubicBezTo>
                    <a:pt x="583" y="596"/>
                    <a:pt x="573" y="596"/>
                    <a:pt x="564" y="597"/>
                  </a:cubicBezTo>
                  <a:cubicBezTo>
                    <a:pt x="554" y="599"/>
                    <a:pt x="544" y="602"/>
                    <a:pt x="535" y="608"/>
                  </a:cubicBezTo>
                  <a:cubicBezTo>
                    <a:pt x="525" y="614"/>
                    <a:pt x="516" y="621"/>
                    <a:pt x="507" y="630"/>
                  </a:cubicBezTo>
                  <a:cubicBezTo>
                    <a:pt x="498" y="639"/>
                    <a:pt x="491" y="648"/>
                    <a:pt x="484" y="657"/>
                  </a:cubicBezTo>
                  <a:cubicBezTo>
                    <a:pt x="478" y="666"/>
                    <a:pt x="474" y="676"/>
                    <a:pt x="472" y="685"/>
                  </a:cubicBezTo>
                  <a:cubicBezTo>
                    <a:pt x="470" y="695"/>
                    <a:pt x="471" y="704"/>
                    <a:pt x="474" y="714"/>
                  </a:cubicBezTo>
                  <a:cubicBezTo>
                    <a:pt x="477" y="724"/>
                    <a:pt x="483" y="733"/>
                    <a:pt x="492" y="742"/>
                  </a:cubicBezTo>
                  <a:cubicBezTo>
                    <a:pt x="501" y="751"/>
                    <a:pt x="510" y="757"/>
                    <a:pt x="519" y="760"/>
                  </a:cubicBezTo>
                  <a:cubicBezTo>
                    <a:pt x="529" y="763"/>
                    <a:pt x="538" y="764"/>
                    <a:pt x="548" y="763"/>
                  </a:cubicBezTo>
                  <a:cubicBezTo>
                    <a:pt x="557" y="761"/>
                    <a:pt x="567" y="758"/>
                    <a:pt x="576" y="752"/>
                  </a:cubicBezTo>
                  <a:cubicBezTo>
                    <a:pt x="586" y="746"/>
                    <a:pt x="595" y="739"/>
                    <a:pt x="605" y="730"/>
                  </a:cubicBezTo>
                  <a:close/>
                  <a:moveTo>
                    <a:pt x="727" y="962"/>
                  </a:moveTo>
                  <a:cubicBezTo>
                    <a:pt x="725" y="964"/>
                    <a:pt x="723" y="966"/>
                    <a:pt x="722" y="967"/>
                  </a:cubicBezTo>
                  <a:cubicBezTo>
                    <a:pt x="720" y="969"/>
                    <a:pt x="719" y="970"/>
                    <a:pt x="717" y="970"/>
                  </a:cubicBezTo>
                  <a:cubicBezTo>
                    <a:pt x="716" y="971"/>
                    <a:pt x="715" y="972"/>
                    <a:pt x="714" y="972"/>
                  </a:cubicBezTo>
                  <a:cubicBezTo>
                    <a:pt x="712" y="972"/>
                    <a:pt x="710" y="973"/>
                    <a:pt x="707" y="973"/>
                  </a:cubicBezTo>
                  <a:cubicBezTo>
                    <a:pt x="704" y="973"/>
                    <a:pt x="700" y="972"/>
                    <a:pt x="694" y="971"/>
                  </a:cubicBezTo>
                  <a:cubicBezTo>
                    <a:pt x="689" y="969"/>
                    <a:pt x="683" y="967"/>
                    <a:pt x="677" y="964"/>
                  </a:cubicBezTo>
                  <a:cubicBezTo>
                    <a:pt x="671" y="962"/>
                    <a:pt x="664" y="958"/>
                    <a:pt x="658" y="954"/>
                  </a:cubicBezTo>
                  <a:cubicBezTo>
                    <a:pt x="652" y="950"/>
                    <a:pt x="646" y="945"/>
                    <a:pt x="640" y="940"/>
                  </a:cubicBezTo>
                  <a:cubicBezTo>
                    <a:pt x="629" y="928"/>
                    <a:pt x="621" y="916"/>
                    <a:pt x="616" y="904"/>
                  </a:cubicBezTo>
                  <a:cubicBezTo>
                    <a:pt x="611" y="891"/>
                    <a:pt x="609" y="878"/>
                    <a:pt x="610" y="865"/>
                  </a:cubicBezTo>
                  <a:cubicBezTo>
                    <a:pt x="611" y="852"/>
                    <a:pt x="616" y="838"/>
                    <a:pt x="623" y="825"/>
                  </a:cubicBezTo>
                  <a:cubicBezTo>
                    <a:pt x="631" y="811"/>
                    <a:pt x="641" y="797"/>
                    <a:pt x="655" y="783"/>
                  </a:cubicBezTo>
                  <a:cubicBezTo>
                    <a:pt x="671" y="768"/>
                    <a:pt x="686" y="756"/>
                    <a:pt x="701" y="749"/>
                  </a:cubicBezTo>
                  <a:cubicBezTo>
                    <a:pt x="716" y="741"/>
                    <a:pt x="731" y="737"/>
                    <a:pt x="744" y="737"/>
                  </a:cubicBezTo>
                  <a:cubicBezTo>
                    <a:pt x="758" y="736"/>
                    <a:pt x="771" y="739"/>
                    <a:pt x="784" y="744"/>
                  </a:cubicBezTo>
                  <a:cubicBezTo>
                    <a:pt x="796" y="750"/>
                    <a:pt x="808" y="758"/>
                    <a:pt x="818" y="768"/>
                  </a:cubicBezTo>
                  <a:cubicBezTo>
                    <a:pt x="824" y="773"/>
                    <a:pt x="828" y="779"/>
                    <a:pt x="832" y="785"/>
                  </a:cubicBezTo>
                  <a:cubicBezTo>
                    <a:pt x="836" y="790"/>
                    <a:pt x="839" y="796"/>
                    <a:pt x="841" y="801"/>
                  </a:cubicBezTo>
                  <a:cubicBezTo>
                    <a:pt x="844" y="807"/>
                    <a:pt x="846" y="812"/>
                    <a:pt x="847" y="817"/>
                  </a:cubicBezTo>
                  <a:cubicBezTo>
                    <a:pt x="848" y="823"/>
                    <a:pt x="848" y="827"/>
                    <a:pt x="848" y="829"/>
                  </a:cubicBezTo>
                  <a:cubicBezTo>
                    <a:pt x="848" y="832"/>
                    <a:pt x="848" y="834"/>
                    <a:pt x="848" y="836"/>
                  </a:cubicBezTo>
                  <a:cubicBezTo>
                    <a:pt x="848" y="837"/>
                    <a:pt x="847" y="838"/>
                    <a:pt x="846" y="840"/>
                  </a:cubicBezTo>
                  <a:cubicBezTo>
                    <a:pt x="846" y="841"/>
                    <a:pt x="845" y="843"/>
                    <a:pt x="843" y="844"/>
                  </a:cubicBezTo>
                  <a:cubicBezTo>
                    <a:pt x="842" y="846"/>
                    <a:pt x="840" y="848"/>
                    <a:pt x="838" y="850"/>
                  </a:cubicBezTo>
                  <a:cubicBezTo>
                    <a:pt x="833" y="854"/>
                    <a:pt x="830" y="857"/>
                    <a:pt x="827" y="858"/>
                  </a:cubicBezTo>
                  <a:cubicBezTo>
                    <a:pt x="824" y="859"/>
                    <a:pt x="822" y="858"/>
                    <a:pt x="820" y="857"/>
                  </a:cubicBezTo>
                  <a:cubicBezTo>
                    <a:pt x="818" y="855"/>
                    <a:pt x="817" y="852"/>
                    <a:pt x="817" y="848"/>
                  </a:cubicBezTo>
                  <a:cubicBezTo>
                    <a:pt x="817" y="844"/>
                    <a:pt x="816" y="838"/>
                    <a:pt x="815" y="833"/>
                  </a:cubicBezTo>
                  <a:cubicBezTo>
                    <a:pt x="814" y="827"/>
                    <a:pt x="811" y="820"/>
                    <a:pt x="808" y="813"/>
                  </a:cubicBezTo>
                  <a:cubicBezTo>
                    <a:pt x="805" y="806"/>
                    <a:pt x="800" y="799"/>
                    <a:pt x="794" y="793"/>
                  </a:cubicBezTo>
                  <a:cubicBezTo>
                    <a:pt x="780" y="779"/>
                    <a:pt x="763" y="773"/>
                    <a:pt x="745" y="777"/>
                  </a:cubicBezTo>
                  <a:cubicBezTo>
                    <a:pt x="727" y="780"/>
                    <a:pt x="707" y="792"/>
                    <a:pt x="687" y="812"/>
                  </a:cubicBezTo>
                  <a:cubicBezTo>
                    <a:pt x="677" y="822"/>
                    <a:pt x="669" y="832"/>
                    <a:pt x="663" y="842"/>
                  </a:cubicBezTo>
                  <a:cubicBezTo>
                    <a:pt x="657" y="852"/>
                    <a:pt x="654" y="861"/>
                    <a:pt x="652" y="870"/>
                  </a:cubicBezTo>
                  <a:cubicBezTo>
                    <a:pt x="651" y="879"/>
                    <a:pt x="651" y="887"/>
                    <a:pt x="654" y="895"/>
                  </a:cubicBezTo>
                  <a:cubicBezTo>
                    <a:pt x="657" y="904"/>
                    <a:pt x="662" y="911"/>
                    <a:pt x="669" y="918"/>
                  </a:cubicBezTo>
                  <a:cubicBezTo>
                    <a:pt x="676" y="925"/>
                    <a:pt x="683" y="930"/>
                    <a:pt x="690" y="933"/>
                  </a:cubicBezTo>
                  <a:cubicBezTo>
                    <a:pt x="697" y="936"/>
                    <a:pt x="704" y="938"/>
                    <a:pt x="710" y="939"/>
                  </a:cubicBezTo>
                  <a:cubicBezTo>
                    <a:pt x="717" y="940"/>
                    <a:pt x="722" y="941"/>
                    <a:pt x="727" y="941"/>
                  </a:cubicBezTo>
                  <a:cubicBezTo>
                    <a:pt x="731" y="942"/>
                    <a:pt x="734" y="943"/>
                    <a:pt x="736" y="944"/>
                  </a:cubicBezTo>
                  <a:cubicBezTo>
                    <a:pt x="737" y="945"/>
                    <a:pt x="737" y="946"/>
                    <a:pt x="737" y="947"/>
                  </a:cubicBezTo>
                  <a:cubicBezTo>
                    <a:pt x="737" y="948"/>
                    <a:pt x="737" y="949"/>
                    <a:pt x="736" y="951"/>
                  </a:cubicBezTo>
                  <a:cubicBezTo>
                    <a:pt x="736" y="952"/>
                    <a:pt x="734" y="954"/>
                    <a:pt x="733" y="956"/>
                  </a:cubicBezTo>
                  <a:cubicBezTo>
                    <a:pt x="731" y="958"/>
                    <a:pt x="729" y="960"/>
                    <a:pt x="727" y="962"/>
                  </a:cubicBezTo>
                  <a:close/>
                  <a:moveTo>
                    <a:pt x="969" y="924"/>
                  </a:moveTo>
                  <a:cubicBezTo>
                    <a:pt x="967" y="926"/>
                    <a:pt x="965" y="928"/>
                    <a:pt x="963" y="929"/>
                  </a:cubicBezTo>
                  <a:cubicBezTo>
                    <a:pt x="962" y="931"/>
                    <a:pt x="960" y="932"/>
                    <a:pt x="959" y="932"/>
                  </a:cubicBezTo>
                  <a:cubicBezTo>
                    <a:pt x="957" y="933"/>
                    <a:pt x="956" y="934"/>
                    <a:pt x="954" y="934"/>
                  </a:cubicBezTo>
                  <a:cubicBezTo>
                    <a:pt x="953" y="934"/>
                    <a:pt x="951" y="934"/>
                    <a:pt x="949" y="933"/>
                  </a:cubicBezTo>
                  <a:lnTo>
                    <a:pt x="916" y="926"/>
                  </a:lnTo>
                  <a:lnTo>
                    <a:pt x="779" y="1063"/>
                  </a:lnTo>
                  <a:cubicBezTo>
                    <a:pt x="778" y="1064"/>
                    <a:pt x="777" y="1064"/>
                    <a:pt x="776" y="1065"/>
                  </a:cubicBezTo>
                  <a:cubicBezTo>
                    <a:pt x="775" y="1065"/>
                    <a:pt x="774" y="1065"/>
                    <a:pt x="772" y="1064"/>
                  </a:cubicBezTo>
                  <a:cubicBezTo>
                    <a:pt x="771" y="1063"/>
                    <a:pt x="769" y="1062"/>
                    <a:pt x="767" y="1061"/>
                  </a:cubicBezTo>
                  <a:cubicBezTo>
                    <a:pt x="765" y="1059"/>
                    <a:pt x="762" y="1057"/>
                    <a:pt x="759" y="1054"/>
                  </a:cubicBezTo>
                  <a:cubicBezTo>
                    <a:pt x="756" y="1051"/>
                    <a:pt x="754" y="1048"/>
                    <a:pt x="752" y="1046"/>
                  </a:cubicBezTo>
                  <a:cubicBezTo>
                    <a:pt x="751" y="1044"/>
                    <a:pt x="750" y="1042"/>
                    <a:pt x="749" y="1041"/>
                  </a:cubicBezTo>
                  <a:cubicBezTo>
                    <a:pt x="748" y="1039"/>
                    <a:pt x="748" y="1038"/>
                    <a:pt x="748" y="1037"/>
                  </a:cubicBezTo>
                  <a:cubicBezTo>
                    <a:pt x="749" y="1036"/>
                    <a:pt x="749" y="1035"/>
                    <a:pt x="750" y="1034"/>
                  </a:cubicBezTo>
                  <a:lnTo>
                    <a:pt x="869" y="915"/>
                  </a:lnTo>
                  <a:lnTo>
                    <a:pt x="837" y="908"/>
                  </a:lnTo>
                  <a:cubicBezTo>
                    <a:pt x="834" y="907"/>
                    <a:pt x="833" y="905"/>
                    <a:pt x="834" y="903"/>
                  </a:cubicBezTo>
                  <a:cubicBezTo>
                    <a:pt x="834" y="900"/>
                    <a:pt x="837" y="896"/>
                    <a:pt x="842" y="891"/>
                  </a:cubicBezTo>
                  <a:cubicBezTo>
                    <a:pt x="844" y="889"/>
                    <a:pt x="846" y="887"/>
                    <a:pt x="848" y="886"/>
                  </a:cubicBezTo>
                  <a:cubicBezTo>
                    <a:pt x="849" y="885"/>
                    <a:pt x="851" y="883"/>
                    <a:pt x="852" y="883"/>
                  </a:cubicBezTo>
                  <a:cubicBezTo>
                    <a:pt x="854" y="882"/>
                    <a:pt x="855" y="882"/>
                    <a:pt x="857" y="881"/>
                  </a:cubicBezTo>
                  <a:cubicBezTo>
                    <a:pt x="858" y="881"/>
                    <a:pt x="860" y="881"/>
                    <a:pt x="862" y="882"/>
                  </a:cubicBezTo>
                  <a:lnTo>
                    <a:pt x="894" y="889"/>
                  </a:lnTo>
                  <a:lnTo>
                    <a:pt x="986" y="798"/>
                  </a:lnTo>
                  <a:cubicBezTo>
                    <a:pt x="987" y="797"/>
                    <a:pt x="988" y="796"/>
                    <a:pt x="989" y="796"/>
                  </a:cubicBezTo>
                  <a:cubicBezTo>
                    <a:pt x="991" y="796"/>
                    <a:pt x="992" y="796"/>
                    <a:pt x="993" y="796"/>
                  </a:cubicBezTo>
                  <a:cubicBezTo>
                    <a:pt x="995" y="797"/>
                    <a:pt x="997" y="798"/>
                    <a:pt x="999" y="800"/>
                  </a:cubicBezTo>
                  <a:cubicBezTo>
                    <a:pt x="1001" y="801"/>
                    <a:pt x="1004" y="804"/>
                    <a:pt x="1007" y="807"/>
                  </a:cubicBezTo>
                  <a:cubicBezTo>
                    <a:pt x="1009" y="809"/>
                    <a:pt x="1012" y="812"/>
                    <a:pt x="1013" y="814"/>
                  </a:cubicBezTo>
                  <a:cubicBezTo>
                    <a:pt x="1015" y="816"/>
                    <a:pt x="1016" y="818"/>
                    <a:pt x="1017" y="819"/>
                  </a:cubicBezTo>
                  <a:cubicBezTo>
                    <a:pt x="1017" y="821"/>
                    <a:pt x="1017" y="822"/>
                    <a:pt x="1017" y="824"/>
                  </a:cubicBezTo>
                  <a:cubicBezTo>
                    <a:pt x="1017" y="825"/>
                    <a:pt x="1016" y="826"/>
                    <a:pt x="1015" y="827"/>
                  </a:cubicBezTo>
                  <a:lnTo>
                    <a:pt x="942" y="900"/>
                  </a:lnTo>
                  <a:lnTo>
                    <a:pt x="973" y="907"/>
                  </a:lnTo>
                  <a:cubicBezTo>
                    <a:pt x="977" y="908"/>
                    <a:pt x="978" y="910"/>
                    <a:pt x="977" y="912"/>
                  </a:cubicBezTo>
                  <a:cubicBezTo>
                    <a:pt x="977" y="915"/>
                    <a:pt x="974" y="919"/>
                    <a:pt x="969" y="924"/>
                  </a:cubicBezTo>
                  <a:close/>
                  <a:moveTo>
                    <a:pt x="957" y="1241"/>
                  </a:moveTo>
                  <a:cubicBezTo>
                    <a:pt x="956" y="1243"/>
                    <a:pt x="954" y="1243"/>
                    <a:pt x="952" y="1243"/>
                  </a:cubicBezTo>
                  <a:cubicBezTo>
                    <a:pt x="951" y="1243"/>
                    <a:pt x="949" y="1242"/>
                    <a:pt x="947" y="1241"/>
                  </a:cubicBezTo>
                  <a:cubicBezTo>
                    <a:pt x="945" y="1239"/>
                    <a:pt x="942" y="1237"/>
                    <a:pt x="939" y="1234"/>
                  </a:cubicBezTo>
                  <a:cubicBezTo>
                    <a:pt x="936" y="1231"/>
                    <a:pt x="934" y="1228"/>
                    <a:pt x="932" y="1226"/>
                  </a:cubicBezTo>
                  <a:cubicBezTo>
                    <a:pt x="931" y="1224"/>
                    <a:pt x="930" y="1222"/>
                    <a:pt x="930" y="1220"/>
                  </a:cubicBezTo>
                  <a:cubicBezTo>
                    <a:pt x="930" y="1219"/>
                    <a:pt x="931" y="1217"/>
                    <a:pt x="932" y="1216"/>
                  </a:cubicBezTo>
                  <a:lnTo>
                    <a:pt x="948" y="1200"/>
                  </a:lnTo>
                  <a:cubicBezTo>
                    <a:pt x="933" y="1201"/>
                    <a:pt x="920" y="1199"/>
                    <a:pt x="907" y="1194"/>
                  </a:cubicBezTo>
                  <a:cubicBezTo>
                    <a:pt x="895" y="1190"/>
                    <a:pt x="884" y="1183"/>
                    <a:pt x="874" y="1173"/>
                  </a:cubicBezTo>
                  <a:cubicBezTo>
                    <a:pt x="866" y="1165"/>
                    <a:pt x="859" y="1156"/>
                    <a:pt x="855" y="1147"/>
                  </a:cubicBezTo>
                  <a:cubicBezTo>
                    <a:pt x="850" y="1138"/>
                    <a:pt x="847" y="1129"/>
                    <a:pt x="847" y="1120"/>
                  </a:cubicBezTo>
                  <a:cubicBezTo>
                    <a:pt x="846" y="1112"/>
                    <a:pt x="847" y="1103"/>
                    <a:pt x="851" y="1094"/>
                  </a:cubicBezTo>
                  <a:cubicBezTo>
                    <a:pt x="854" y="1085"/>
                    <a:pt x="860" y="1077"/>
                    <a:pt x="867" y="1070"/>
                  </a:cubicBezTo>
                  <a:cubicBezTo>
                    <a:pt x="876" y="1061"/>
                    <a:pt x="886" y="1055"/>
                    <a:pt x="896" y="1052"/>
                  </a:cubicBezTo>
                  <a:cubicBezTo>
                    <a:pt x="906" y="1049"/>
                    <a:pt x="917" y="1049"/>
                    <a:pt x="928" y="1051"/>
                  </a:cubicBezTo>
                  <a:cubicBezTo>
                    <a:pt x="939" y="1054"/>
                    <a:pt x="951" y="1059"/>
                    <a:pt x="963" y="1066"/>
                  </a:cubicBezTo>
                  <a:cubicBezTo>
                    <a:pt x="975" y="1074"/>
                    <a:pt x="987" y="1084"/>
                    <a:pt x="1000" y="1096"/>
                  </a:cubicBezTo>
                  <a:lnTo>
                    <a:pt x="1022" y="1118"/>
                  </a:lnTo>
                  <a:lnTo>
                    <a:pt x="1034" y="1106"/>
                  </a:lnTo>
                  <a:cubicBezTo>
                    <a:pt x="1040" y="1100"/>
                    <a:pt x="1045" y="1094"/>
                    <a:pt x="1048" y="1088"/>
                  </a:cubicBezTo>
                  <a:cubicBezTo>
                    <a:pt x="1052" y="1082"/>
                    <a:pt x="1054" y="1076"/>
                    <a:pt x="1054" y="1070"/>
                  </a:cubicBezTo>
                  <a:cubicBezTo>
                    <a:pt x="1054" y="1064"/>
                    <a:pt x="1053" y="1058"/>
                    <a:pt x="1050" y="1052"/>
                  </a:cubicBezTo>
                  <a:cubicBezTo>
                    <a:pt x="1047" y="1045"/>
                    <a:pt x="1042" y="1039"/>
                    <a:pt x="1035" y="1032"/>
                  </a:cubicBezTo>
                  <a:cubicBezTo>
                    <a:pt x="1028" y="1025"/>
                    <a:pt x="1021" y="1019"/>
                    <a:pt x="1013" y="1015"/>
                  </a:cubicBezTo>
                  <a:cubicBezTo>
                    <a:pt x="1006" y="1011"/>
                    <a:pt x="999" y="1008"/>
                    <a:pt x="993" y="1006"/>
                  </a:cubicBezTo>
                  <a:cubicBezTo>
                    <a:pt x="986" y="1004"/>
                    <a:pt x="981" y="1002"/>
                    <a:pt x="976" y="1001"/>
                  </a:cubicBezTo>
                  <a:cubicBezTo>
                    <a:pt x="972" y="1000"/>
                    <a:pt x="969" y="998"/>
                    <a:pt x="967" y="997"/>
                  </a:cubicBezTo>
                  <a:cubicBezTo>
                    <a:pt x="966" y="996"/>
                    <a:pt x="966" y="995"/>
                    <a:pt x="965" y="994"/>
                  </a:cubicBezTo>
                  <a:cubicBezTo>
                    <a:pt x="965" y="993"/>
                    <a:pt x="965" y="991"/>
                    <a:pt x="966" y="990"/>
                  </a:cubicBezTo>
                  <a:cubicBezTo>
                    <a:pt x="966" y="988"/>
                    <a:pt x="967" y="987"/>
                    <a:pt x="968" y="985"/>
                  </a:cubicBezTo>
                  <a:cubicBezTo>
                    <a:pt x="969" y="983"/>
                    <a:pt x="971" y="982"/>
                    <a:pt x="973" y="980"/>
                  </a:cubicBezTo>
                  <a:cubicBezTo>
                    <a:pt x="976" y="977"/>
                    <a:pt x="978" y="975"/>
                    <a:pt x="980" y="973"/>
                  </a:cubicBezTo>
                  <a:cubicBezTo>
                    <a:pt x="982" y="972"/>
                    <a:pt x="985" y="972"/>
                    <a:pt x="988" y="972"/>
                  </a:cubicBezTo>
                  <a:cubicBezTo>
                    <a:pt x="991" y="972"/>
                    <a:pt x="996" y="973"/>
                    <a:pt x="1002" y="974"/>
                  </a:cubicBezTo>
                  <a:cubicBezTo>
                    <a:pt x="1008" y="976"/>
                    <a:pt x="1014" y="979"/>
                    <a:pt x="1021" y="982"/>
                  </a:cubicBezTo>
                  <a:cubicBezTo>
                    <a:pt x="1028" y="986"/>
                    <a:pt x="1035" y="990"/>
                    <a:pt x="1042" y="995"/>
                  </a:cubicBezTo>
                  <a:cubicBezTo>
                    <a:pt x="1049" y="999"/>
                    <a:pt x="1055" y="1005"/>
                    <a:pt x="1062" y="1011"/>
                  </a:cubicBezTo>
                  <a:cubicBezTo>
                    <a:pt x="1073" y="1023"/>
                    <a:pt x="1081" y="1034"/>
                    <a:pt x="1087" y="1044"/>
                  </a:cubicBezTo>
                  <a:cubicBezTo>
                    <a:pt x="1092" y="1055"/>
                    <a:pt x="1095" y="1065"/>
                    <a:pt x="1095" y="1075"/>
                  </a:cubicBezTo>
                  <a:cubicBezTo>
                    <a:pt x="1095" y="1085"/>
                    <a:pt x="1092" y="1095"/>
                    <a:pt x="1087" y="1104"/>
                  </a:cubicBezTo>
                  <a:cubicBezTo>
                    <a:pt x="1082" y="1114"/>
                    <a:pt x="1074" y="1124"/>
                    <a:pt x="1064" y="1134"/>
                  </a:cubicBezTo>
                  <a:lnTo>
                    <a:pt x="957" y="1241"/>
                  </a:lnTo>
                  <a:close/>
                  <a:moveTo>
                    <a:pt x="1001" y="1139"/>
                  </a:moveTo>
                  <a:lnTo>
                    <a:pt x="976" y="1115"/>
                  </a:lnTo>
                  <a:cubicBezTo>
                    <a:pt x="968" y="1107"/>
                    <a:pt x="960" y="1100"/>
                    <a:pt x="953" y="1096"/>
                  </a:cubicBezTo>
                  <a:cubicBezTo>
                    <a:pt x="946" y="1091"/>
                    <a:pt x="939" y="1088"/>
                    <a:pt x="932" y="1087"/>
                  </a:cubicBezTo>
                  <a:cubicBezTo>
                    <a:pt x="926" y="1086"/>
                    <a:pt x="920" y="1086"/>
                    <a:pt x="914" y="1088"/>
                  </a:cubicBezTo>
                  <a:cubicBezTo>
                    <a:pt x="909" y="1090"/>
                    <a:pt x="903" y="1093"/>
                    <a:pt x="899" y="1098"/>
                  </a:cubicBezTo>
                  <a:cubicBezTo>
                    <a:pt x="890" y="1106"/>
                    <a:pt x="886" y="1116"/>
                    <a:pt x="887" y="1126"/>
                  </a:cubicBezTo>
                  <a:cubicBezTo>
                    <a:pt x="887" y="1136"/>
                    <a:pt x="892" y="1146"/>
                    <a:pt x="901" y="1155"/>
                  </a:cubicBezTo>
                  <a:cubicBezTo>
                    <a:pt x="909" y="1163"/>
                    <a:pt x="918" y="1168"/>
                    <a:pt x="929" y="1170"/>
                  </a:cubicBezTo>
                  <a:cubicBezTo>
                    <a:pt x="939" y="1173"/>
                    <a:pt x="952" y="1174"/>
                    <a:pt x="967" y="1173"/>
                  </a:cubicBezTo>
                  <a:lnTo>
                    <a:pt x="1001" y="1139"/>
                  </a:lnTo>
                  <a:close/>
                  <a:moveTo>
                    <a:pt x="1389" y="1354"/>
                  </a:moveTo>
                  <a:cubicBezTo>
                    <a:pt x="1388" y="1355"/>
                    <a:pt x="1387" y="1356"/>
                    <a:pt x="1386" y="1357"/>
                  </a:cubicBezTo>
                  <a:cubicBezTo>
                    <a:pt x="1384" y="1357"/>
                    <a:pt x="1382" y="1359"/>
                    <a:pt x="1380" y="1360"/>
                  </a:cubicBezTo>
                  <a:lnTo>
                    <a:pt x="1182" y="1464"/>
                  </a:lnTo>
                  <a:cubicBezTo>
                    <a:pt x="1180" y="1465"/>
                    <a:pt x="1179" y="1465"/>
                    <a:pt x="1177" y="1466"/>
                  </a:cubicBezTo>
                  <a:cubicBezTo>
                    <a:pt x="1176" y="1466"/>
                    <a:pt x="1174" y="1465"/>
                    <a:pt x="1172" y="1464"/>
                  </a:cubicBezTo>
                  <a:cubicBezTo>
                    <a:pt x="1170" y="1463"/>
                    <a:pt x="1168" y="1462"/>
                    <a:pt x="1166" y="1460"/>
                  </a:cubicBezTo>
                  <a:cubicBezTo>
                    <a:pt x="1163" y="1457"/>
                    <a:pt x="1160" y="1455"/>
                    <a:pt x="1156" y="1451"/>
                  </a:cubicBezTo>
                  <a:cubicBezTo>
                    <a:pt x="1153" y="1447"/>
                    <a:pt x="1150" y="1444"/>
                    <a:pt x="1148" y="1442"/>
                  </a:cubicBezTo>
                  <a:cubicBezTo>
                    <a:pt x="1145" y="1439"/>
                    <a:pt x="1144" y="1437"/>
                    <a:pt x="1143" y="1435"/>
                  </a:cubicBezTo>
                  <a:cubicBezTo>
                    <a:pt x="1142" y="1433"/>
                    <a:pt x="1141" y="1431"/>
                    <a:pt x="1141" y="1429"/>
                  </a:cubicBezTo>
                  <a:cubicBezTo>
                    <a:pt x="1142" y="1428"/>
                    <a:pt x="1142" y="1426"/>
                    <a:pt x="1143" y="1425"/>
                  </a:cubicBezTo>
                  <a:lnTo>
                    <a:pt x="1225" y="1276"/>
                  </a:lnTo>
                  <a:lnTo>
                    <a:pt x="1226" y="1274"/>
                  </a:lnTo>
                  <a:lnTo>
                    <a:pt x="1224" y="1275"/>
                  </a:lnTo>
                  <a:lnTo>
                    <a:pt x="1078" y="1360"/>
                  </a:lnTo>
                  <a:cubicBezTo>
                    <a:pt x="1076" y="1361"/>
                    <a:pt x="1075" y="1361"/>
                    <a:pt x="1073" y="1361"/>
                  </a:cubicBezTo>
                  <a:cubicBezTo>
                    <a:pt x="1071" y="1361"/>
                    <a:pt x="1070" y="1361"/>
                    <a:pt x="1068" y="1360"/>
                  </a:cubicBezTo>
                  <a:cubicBezTo>
                    <a:pt x="1066" y="1359"/>
                    <a:pt x="1063" y="1357"/>
                    <a:pt x="1061" y="1355"/>
                  </a:cubicBezTo>
                  <a:cubicBezTo>
                    <a:pt x="1058" y="1353"/>
                    <a:pt x="1055" y="1350"/>
                    <a:pt x="1051" y="1346"/>
                  </a:cubicBezTo>
                  <a:cubicBezTo>
                    <a:pt x="1048" y="1342"/>
                    <a:pt x="1045" y="1339"/>
                    <a:pt x="1043" y="1337"/>
                  </a:cubicBezTo>
                  <a:cubicBezTo>
                    <a:pt x="1041" y="1334"/>
                    <a:pt x="1039" y="1332"/>
                    <a:pt x="1038" y="1330"/>
                  </a:cubicBezTo>
                  <a:cubicBezTo>
                    <a:pt x="1037" y="1328"/>
                    <a:pt x="1037" y="1326"/>
                    <a:pt x="1037" y="1325"/>
                  </a:cubicBezTo>
                  <a:cubicBezTo>
                    <a:pt x="1037" y="1323"/>
                    <a:pt x="1038" y="1322"/>
                    <a:pt x="1038" y="1320"/>
                  </a:cubicBezTo>
                  <a:lnTo>
                    <a:pt x="1143" y="1123"/>
                  </a:lnTo>
                  <a:cubicBezTo>
                    <a:pt x="1144" y="1120"/>
                    <a:pt x="1145" y="1118"/>
                    <a:pt x="1146" y="1117"/>
                  </a:cubicBezTo>
                  <a:cubicBezTo>
                    <a:pt x="1147" y="1116"/>
                    <a:pt x="1148" y="1114"/>
                    <a:pt x="1149" y="1114"/>
                  </a:cubicBezTo>
                  <a:cubicBezTo>
                    <a:pt x="1150" y="1113"/>
                    <a:pt x="1151" y="1112"/>
                    <a:pt x="1152" y="1112"/>
                  </a:cubicBezTo>
                  <a:cubicBezTo>
                    <a:pt x="1153" y="1112"/>
                    <a:pt x="1155" y="1112"/>
                    <a:pt x="1156" y="1113"/>
                  </a:cubicBezTo>
                  <a:cubicBezTo>
                    <a:pt x="1158" y="1113"/>
                    <a:pt x="1159" y="1115"/>
                    <a:pt x="1161" y="1116"/>
                  </a:cubicBezTo>
                  <a:cubicBezTo>
                    <a:pt x="1163" y="1118"/>
                    <a:pt x="1166" y="1120"/>
                    <a:pt x="1168" y="1123"/>
                  </a:cubicBezTo>
                  <a:cubicBezTo>
                    <a:pt x="1172" y="1126"/>
                    <a:pt x="1174" y="1129"/>
                    <a:pt x="1176" y="1131"/>
                  </a:cubicBezTo>
                  <a:cubicBezTo>
                    <a:pt x="1178" y="1133"/>
                    <a:pt x="1179" y="1135"/>
                    <a:pt x="1180" y="1137"/>
                  </a:cubicBezTo>
                  <a:cubicBezTo>
                    <a:pt x="1181" y="1138"/>
                    <a:pt x="1181" y="1140"/>
                    <a:pt x="1180" y="1141"/>
                  </a:cubicBezTo>
                  <a:cubicBezTo>
                    <a:pt x="1180" y="1142"/>
                    <a:pt x="1180" y="1143"/>
                    <a:pt x="1179" y="1145"/>
                  </a:cubicBezTo>
                  <a:lnTo>
                    <a:pt x="1086" y="1314"/>
                  </a:lnTo>
                  <a:lnTo>
                    <a:pt x="1085" y="1316"/>
                  </a:lnTo>
                  <a:lnTo>
                    <a:pt x="1087" y="1315"/>
                  </a:lnTo>
                  <a:lnTo>
                    <a:pt x="1253" y="1219"/>
                  </a:lnTo>
                  <a:cubicBezTo>
                    <a:pt x="1254" y="1218"/>
                    <a:pt x="1256" y="1218"/>
                    <a:pt x="1257" y="1217"/>
                  </a:cubicBezTo>
                  <a:cubicBezTo>
                    <a:pt x="1258" y="1217"/>
                    <a:pt x="1260" y="1217"/>
                    <a:pt x="1261" y="1218"/>
                  </a:cubicBezTo>
                  <a:cubicBezTo>
                    <a:pt x="1263" y="1219"/>
                    <a:pt x="1264" y="1220"/>
                    <a:pt x="1266" y="1221"/>
                  </a:cubicBezTo>
                  <a:cubicBezTo>
                    <a:pt x="1268" y="1223"/>
                    <a:pt x="1271" y="1225"/>
                    <a:pt x="1274" y="1228"/>
                  </a:cubicBezTo>
                  <a:cubicBezTo>
                    <a:pt x="1277" y="1231"/>
                    <a:pt x="1279" y="1234"/>
                    <a:pt x="1281" y="1236"/>
                  </a:cubicBezTo>
                  <a:cubicBezTo>
                    <a:pt x="1282" y="1238"/>
                    <a:pt x="1283" y="1239"/>
                    <a:pt x="1284" y="1241"/>
                  </a:cubicBezTo>
                  <a:cubicBezTo>
                    <a:pt x="1285" y="1242"/>
                    <a:pt x="1285" y="1244"/>
                    <a:pt x="1285" y="1245"/>
                  </a:cubicBezTo>
                  <a:cubicBezTo>
                    <a:pt x="1284" y="1246"/>
                    <a:pt x="1284" y="1247"/>
                    <a:pt x="1283" y="1248"/>
                  </a:cubicBezTo>
                  <a:lnTo>
                    <a:pt x="1190" y="1418"/>
                  </a:lnTo>
                  <a:lnTo>
                    <a:pt x="1188" y="1420"/>
                  </a:lnTo>
                  <a:lnTo>
                    <a:pt x="1190" y="1418"/>
                  </a:lnTo>
                  <a:lnTo>
                    <a:pt x="1359" y="1325"/>
                  </a:lnTo>
                  <a:cubicBezTo>
                    <a:pt x="1361" y="1324"/>
                    <a:pt x="1362" y="1324"/>
                    <a:pt x="1363" y="1323"/>
                  </a:cubicBezTo>
                  <a:cubicBezTo>
                    <a:pt x="1364" y="1323"/>
                    <a:pt x="1366" y="1323"/>
                    <a:pt x="1367" y="1324"/>
                  </a:cubicBezTo>
                  <a:cubicBezTo>
                    <a:pt x="1369" y="1325"/>
                    <a:pt x="1371" y="1326"/>
                    <a:pt x="1373" y="1328"/>
                  </a:cubicBezTo>
                  <a:cubicBezTo>
                    <a:pt x="1375" y="1330"/>
                    <a:pt x="1378" y="1332"/>
                    <a:pt x="1381" y="1335"/>
                  </a:cubicBezTo>
                  <a:cubicBezTo>
                    <a:pt x="1383" y="1338"/>
                    <a:pt x="1386" y="1340"/>
                    <a:pt x="1387" y="1342"/>
                  </a:cubicBezTo>
                  <a:cubicBezTo>
                    <a:pt x="1389" y="1344"/>
                    <a:pt x="1390" y="1346"/>
                    <a:pt x="1390" y="1347"/>
                  </a:cubicBezTo>
                  <a:cubicBezTo>
                    <a:pt x="1391" y="1349"/>
                    <a:pt x="1391" y="1350"/>
                    <a:pt x="1391" y="1351"/>
                  </a:cubicBezTo>
                  <a:cubicBezTo>
                    <a:pt x="1391" y="1352"/>
                    <a:pt x="1390" y="1353"/>
                    <a:pt x="1389" y="1354"/>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403" name="Freeform 150"/>
            <p:cNvSpPr>
              <a:spLocks noEditPoints="1"/>
            </p:cNvSpPr>
            <p:nvPr/>
          </p:nvSpPr>
          <p:spPr bwMode="auto">
            <a:xfrm>
              <a:off x="1017" y="2526"/>
              <a:ext cx="151" cy="152"/>
            </a:xfrm>
            <a:custGeom>
              <a:avLst/>
              <a:gdLst>
                <a:gd name="T0" fmla="*/ 90 w 1431"/>
                <a:gd name="T1" fmla="*/ 315 h 1443"/>
                <a:gd name="T2" fmla="*/ 223 w 1431"/>
                <a:gd name="T3" fmla="*/ 1 h 1443"/>
                <a:gd name="T4" fmla="*/ 301 w 1431"/>
                <a:gd name="T5" fmla="*/ 189 h 1443"/>
                <a:gd name="T6" fmla="*/ 235 w 1431"/>
                <a:gd name="T7" fmla="*/ 257 h 1443"/>
                <a:gd name="T8" fmla="*/ 278 w 1431"/>
                <a:gd name="T9" fmla="*/ 104 h 1443"/>
                <a:gd name="T10" fmla="*/ 231 w 1431"/>
                <a:gd name="T11" fmla="*/ 178 h 1443"/>
                <a:gd name="T12" fmla="*/ 187 w 1431"/>
                <a:gd name="T13" fmla="*/ 211 h 1443"/>
                <a:gd name="T14" fmla="*/ 135 w 1431"/>
                <a:gd name="T15" fmla="*/ 295 h 1443"/>
                <a:gd name="T16" fmla="*/ 414 w 1431"/>
                <a:gd name="T17" fmla="*/ 363 h 1443"/>
                <a:gd name="T18" fmla="*/ 384 w 1431"/>
                <a:gd name="T19" fmla="*/ 329 h 1443"/>
                <a:gd name="T20" fmla="*/ 209 w 1431"/>
                <a:gd name="T21" fmla="*/ 438 h 1443"/>
                <a:gd name="T22" fmla="*/ 187 w 1431"/>
                <a:gd name="T23" fmla="*/ 408 h 1443"/>
                <a:gd name="T24" fmla="*/ 371 w 1431"/>
                <a:gd name="T25" fmla="*/ 263 h 1443"/>
                <a:gd name="T26" fmla="*/ 398 w 1431"/>
                <a:gd name="T27" fmla="*/ 296 h 1443"/>
                <a:gd name="T28" fmla="*/ 440 w 1431"/>
                <a:gd name="T29" fmla="*/ 336 h 1443"/>
                <a:gd name="T30" fmla="*/ 511 w 1431"/>
                <a:gd name="T31" fmla="*/ 641 h 1443"/>
                <a:gd name="T32" fmla="*/ 359 w 1431"/>
                <a:gd name="T33" fmla="*/ 495 h 1443"/>
                <a:gd name="T34" fmla="*/ 588 w 1431"/>
                <a:gd name="T35" fmla="*/ 487 h 1443"/>
                <a:gd name="T36" fmla="*/ 554 w 1431"/>
                <a:gd name="T37" fmla="*/ 527 h 1443"/>
                <a:gd name="T38" fmla="*/ 422 w 1431"/>
                <a:gd name="T39" fmla="*/ 483 h 1443"/>
                <a:gd name="T40" fmla="*/ 463 w 1431"/>
                <a:gd name="T41" fmla="*/ 615 h 1443"/>
                <a:gd name="T42" fmla="*/ 629 w 1431"/>
                <a:gd name="T43" fmla="*/ 825 h 1443"/>
                <a:gd name="T44" fmla="*/ 531 w 1431"/>
                <a:gd name="T45" fmla="*/ 756 h 1443"/>
                <a:gd name="T46" fmla="*/ 700 w 1431"/>
                <a:gd name="T47" fmla="*/ 597 h 1443"/>
                <a:gd name="T48" fmla="*/ 763 w 1431"/>
                <a:gd name="T49" fmla="*/ 688 h 1443"/>
                <a:gd name="T50" fmla="*/ 733 w 1431"/>
                <a:gd name="T51" fmla="*/ 700 h 1443"/>
                <a:gd name="T52" fmla="*/ 578 w 1431"/>
                <a:gd name="T53" fmla="*/ 695 h 1443"/>
                <a:gd name="T54" fmla="*/ 642 w 1431"/>
                <a:gd name="T55" fmla="*/ 794 h 1443"/>
                <a:gd name="T56" fmla="*/ 799 w 1431"/>
                <a:gd name="T57" fmla="*/ 1020 h 1443"/>
                <a:gd name="T58" fmla="*/ 769 w 1431"/>
                <a:gd name="T59" fmla="*/ 998 h 1443"/>
                <a:gd name="T60" fmla="*/ 890 w 1431"/>
                <a:gd name="T61" fmla="*/ 834 h 1443"/>
                <a:gd name="T62" fmla="*/ 685 w 1431"/>
                <a:gd name="T63" fmla="*/ 913 h 1443"/>
                <a:gd name="T64" fmla="*/ 662 w 1431"/>
                <a:gd name="T65" fmla="*/ 883 h 1443"/>
                <a:gd name="T66" fmla="*/ 926 w 1431"/>
                <a:gd name="T67" fmla="*/ 663 h 1443"/>
                <a:gd name="T68" fmla="*/ 910 w 1431"/>
                <a:gd name="T69" fmla="*/ 796 h 1443"/>
                <a:gd name="T70" fmla="*/ 1084 w 1431"/>
                <a:gd name="T71" fmla="*/ 1142 h 1443"/>
                <a:gd name="T72" fmla="*/ 878 w 1431"/>
                <a:gd name="T73" fmla="*/ 1069 h 1443"/>
                <a:gd name="T74" fmla="*/ 1092 w 1431"/>
                <a:gd name="T75" fmla="*/ 978 h 1443"/>
                <a:gd name="T76" fmla="*/ 1074 w 1431"/>
                <a:gd name="T77" fmla="*/ 1087 h 1443"/>
                <a:gd name="T78" fmla="*/ 982 w 1431"/>
                <a:gd name="T79" fmla="*/ 992 h 1443"/>
                <a:gd name="T80" fmla="*/ 967 w 1431"/>
                <a:gd name="T81" fmla="*/ 1144 h 1443"/>
                <a:gd name="T82" fmla="*/ 1186 w 1431"/>
                <a:gd name="T83" fmla="*/ 922 h 1443"/>
                <a:gd name="T84" fmla="*/ 1203 w 1431"/>
                <a:gd name="T85" fmla="*/ 953 h 1443"/>
                <a:gd name="T86" fmla="*/ 1103 w 1431"/>
                <a:gd name="T87" fmla="*/ 946 h 1443"/>
                <a:gd name="T88" fmla="*/ 1426 w 1431"/>
                <a:gd name="T89" fmla="*/ 1334 h 1443"/>
                <a:gd name="T90" fmla="*/ 1196 w 1431"/>
                <a:gd name="T91" fmla="*/ 1428 h 1443"/>
                <a:gd name="T92" fmla="*/ 1266 w 1431"/>
                <a:gd name="T93" fmla="*/ 1251 h 1443"/>
                <a:gd name="T94" fmla="*/ 1091 w 1431"/>
                <a:gd name="T95" fmla="*/ 1323 h 1443"/>
                <a:gd name="T96" fmla="*/ 1186 w 1431"/>
                <a:gd name="T97" fmla="*/ 1094 h 1443"/>
                <a:gd name="T98" fmla="*/ 1216 w 1431"/>
                <a:gd name="T99" fmla="*/ 1108 h 1443"/>
                <a:gd name="T100" fmla="*/ 1127 w 1431"/>
                <a:gd name="T101" fmla="*/ 1292 h 1443"/>
                <a:gd name="T102" fmla="*/ 1321 w 1431"/>
                <a:gd name="T103" fmla="*/ 1213 h 1443"/>
                <a:gd name="T104" fmla="*/ 1230 w 1431"/>
                <a:gd name="T105" fmla="*/ 1395 h 1443"/>
                <a:gd name="T106" fmla="*/ 1427 w 1431"/>
                <a:gd name="T107" fmla="*/ 1319 h 1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31" h="1443">
                  <a:moveTo>
                    <a:pt x="210" y="309"/>
                  </a:moveTo>
                  <a:cubicBezTo>
                    <a:pt x="203" y="316"/>
                    <a:pt x="195" y="321"/>
                    <a:pt x="188" y="326"/>
                  </a:cubicBezTo>
                  <a:cubicBezTo>
                    <a:pt x="180" y="330"/>
                    <a:pt x="172" y="333"/>
                    <a:pt x="164" y="334"/>
                  </a:cubicBezTo>
                  <a:cubicBezTo>
                    <a:pt x="155" y="336"/>
                    <a:pt x="147" y="336"/>
                    <a:pt x="139" y="335"/>
                  </a:cubicBezTo>
                  <a:cubicBezTo>
                    <a:pt x="131" y="334"/>
                    <a:pt x="122" y="332"/>
                    <a:pt x="114" y="329"/>
                  </a:cubicBezTo>
                  <a:cubicBezTo>
                    <a:pt x="106" y="325"/>
                    <a:pt x="98" y="321"/>
                    <a:pt x="90" y="315"/>
                  </a:cubicBezTo>
                  <a:cubicBezTo>
                    <a:pt x="82" y="310"/>
                    <a:pt x="74" y="303"/>
                    <a:pt x="65" y="294"/>
                  </a:cubicBezTo>
                  <a:lnTo>
                    <a:pt x="5" y="235"/>
                  </a:lnTo>
                  <a:cubicBezTo>
                    <a:pt x="2" y="232"/>
                    <a:pt x="1" y="229"/>
                    <a:pt x="0" y="224"/>
                  </a:cubicBezTo>
                  <a:cubicBezTo>
                    <a:pt x="0" y="220"/>
                    <a:pt x="2" y="216"/>
                    <a:pt x="6" y="211"/>
                  </a:cubicBezTo>
                  <a:lnTo>
                    <a:pt x="210" y="7"/>
                  </a:lnTo>
                  <a:cubicBezTo>
                    <a:pt x="215" y="2"/>
                    <a:pt x="219" y="0"/>
                    <a:pt x="223" y="1"/>
                  </a:cubicBezTo>
                  <a:cubicBezTo>
                    <a:pt x="228" y="2"/>
                    <a:pt x="231" y="3"/>
                    <a:pt x="234" y="6"/>
                  </a:cubicBezTo>
                  <a:lnTo>
                    <a:pt x="286" y="58"/>
                  </a:lnTo>
                  <a:cubicBezTo>
                    <a:pt x="300" y="72"/>
                    <a:pt x="309" y="84"/>
                    <a:pt x="316" y="95"/>
                  </a:cubicBezTo>
                  <a:cubicBezTo>
                    <a:pt x="322" y="107"/>
                    <a:pt x="325" y="118"/>
                    <a:pt x="326" y="129"/>
                  </a:cubicBezTo>
                  <a:cubicBezTo>
                    <a:pt x="327" y="139"/>
                    <a:pt x="325" y="150"/>
                    <a:pt x="321" y="160"/>
                  </a:cubicBezTo>
                  <a:cubicBezTo>
                    <a:pt x="317" y="170"/>
                    <a:pt x="310" y="180"/>
                    <a:pt x="301" y="189"/>
                  </a:cubicBezTo>
                  <a:cubicBezTo>
                    <a:pt x="296" y="194"/>
                    <a:pt x="290" y="199"/>
                    <a:pt x="284" y="202"/>
                  </a:cubicBezTo>
                  <a:cubicBezTo>
                    <a:pt x="277" y="206"/>
                    <a:pt x="271" y="209"/>
                    <a:pt x="264" y="210"/>
                  </a:cubicBezTo>
                  <a:cubicBezTo>
                    <a:pt x="257" y="212"/>
                    <a:pt x="250" y="213"/>
                    <a:pt x="243" y="212"/>
                  </a:cubicBezTo>
                  <a:cubicBezTo>
                    <a:pt x="236" y="211"/>
                    <a:pt x="229" y="210"/>
                    <a:pt x="222" y="207"/>
                  </a:cubicBezTo>
                  <a:cubicBezTo>
                    <a:pt x="227" y="214"/>
                    <a:pt x="231" y="222"/>
                    <a:pt x="233" y="231"/>
                  </a:cubicBezTo>
                  <a:cubicBezTo>
                    <a:pt x="235" y="239"/>
                    <a:pt x="236" y="248"/>
                    <a:pt x="235" y="257"/>
                  </a:cubicBezTo>
                  <a:cubicBezTo>
                    <a:pt x="235" y="266"/>
                    <a:pt x="232" y="275"/>
                    <a:pt x="228" y="284"/>
                  </a:cubicBezTo>
                  <a:cubicBezTo>
                    <a:pt x="224" y="292"/>
                    <a:pt x="218" y="301"/>
                    <a:pt x="210" y="309"/>
                  </a:cubicBezTo>
                  <a:close/>
                  <a:moveTo>
                    <a:pt x="267" y="160"/>
                  </a:moveTo>
                  <a:cubicBezTo>
                    <a:pt x="272" y="155"/>
                    <a:pt x="277" y="149"/>
                    <a:pt x="280" y="143"/>
                  </a:cubicBezTo>
                  <a:cubicBezTo>
                    <a:pt x="282" y="137"/>
                    <a:pt x="284" y="131"/>
                    <a:pt x="284" y="124"/>
                  </a:cubicBezTo>
                  <a:cubicBezTo>
                    <a:pt x="284" y="118"/>
                    <a:pt x="282" y="111"/>
                    <a:pt x="278" y="104"/>
                  </a:cubicBezTo>
                  <a:cubicBezTo>
                    <a:pt x="274" y="98"/>
                    <a:pt x="268" y="90"/>
                    <a:pt x="259" y="81"/>
                  </a:cubicBezTo>
                  <a:lnTo>
                    <a:pt x="228" y="50"/>
                  </a:lnTo>
                  <a:lnTo>
                    <a:pt x="154" y="124"/>
                  </a:lnTo>
                  <a:lnTo>
                    <a:pt x="189" y="158"/>
                  </a:lnTo>
                  <a:cubicBezTo>
                    <a:pt x="196" y="166"/>
                    <a:pt x="204" y="171"/>
                    <a:pt x="211" y="174"/>
                  </a:cubicBezTo>
                  <a:cubicBezTo>
                    <a:pt x="218" y="177"/>
                    <a:pt x="224" y="178"/>
                    <a:pt x="231" y="178"/>
                  </a:cubicBezTo>
                  <a:cubicBezTo>
                    <a:pt x="238" y="178"/>
                    <a:pt x="244" y="176"/>
                    <a:pt x="250" y="173"/>
                  </a:cubicBezTo>
                  <a:cubicBezTo>
                    <a:pt x="256" y="169"/>
                    <a:pt x="262" y="165"/>
                    <a:pt x="267" y="160"/>
                  </a:cubicBezTo>
                  <a:close/>
                  <a:moveTo>
                    <a:pt x="176" y="278"/>
                  </a:moveTo>
                  <a:cubicBezTo>
                    <a:pt x="183" y="272"/>
                    <a:pt x="188" y="264"/>
                    <a:pt x="191" y="257"/>
                  </a:cubicBezTo>
                  <a:cubicBezTo>
                    <a:pt x="194" y="250"/>
                    <a:pt x="195" y="242"/>
                    <a:pt x="195" y="234"/>
                  </a:cubicBezTo>
                  <a:cubicBezTo>
                    <a:pt x="194" y="227"/>
                    <a:pt x="192" y="219"/>
                    <a:pt x="187" y="211"/>
                  </a:cubicBezTo>
                  <a:cubicBezTo>
                    <a:pt x="183" y="203"/>
                    <a:pt x="176" y="194"/>
                    <a:pt x="166" y="184"/>
                  </a:cubicBezTo>
                  <a:lnTo>
                    <a:pt x="130" y="148"/>
                  </a:lnTo>
                  <a:lnTo>
                    <a:pt x="49" y="229"/>
                  </a:lnTo>
                  <a:lnTo>
                    <a:pt x="93" y="273"/>
                  </a:lnTo>
                  <a:cubicBezTo>
                    <a:pt x="100" y="280"/>
                    <a:pt x="107" y="285"/>
                    <a:pt x="114" y="288"/>
                  </a:cubicBezTo>
                  <a:cubicBezTo>
                    <a:pt x="121" y="292"/>
                    <a:pt x="128" y="294"/>
                    <a:pt x="135" y="295"/>
                  </a:cubicBezTo>
                  <a:cubicBezTo>
                    <a:pt x="142" y="295"/>
                    <a:pt x="149" y="294"/>
                    <a:pt x="156" y="292"/>
                  </a:cubicBezTo>
                  <a:cubicBezTo>
                    <a:pt x="163" y="289"/>
                    <a:pt x="170" y="285"/>
                    <a:pt x="176" y="278"/>
                  </a:cubicBezTo>
                  <a:close/>
                  <a:moveTo>
                    <a:pt x="429" y="352"/>
                  </a:moveTo>
                  <a:cubicBezTo>
                    <a:pt x="426" y="355"/>
                    <a:pt x="424" y="357"/>
                    <a:pt x="422" y="359"/>
                  </a:cubicBezTo>
                  <a:cubicBezTo>
                    <a:pt x="420" y="360"/>
                    <a:pt x="419" y="361"/>
                    <a:pt x="417" y="362"/>
                  </a:cubicBezTo>
                  <a:cubicBezTo>
                    <a:pt x="416" y="363"/>
                    <a:pt x="415" y="363"/>
                    <a:pt x="414" y="363"/>
                  </a:cubicBezTo>
                  <a:cubicBezTo>
                    <a:pt x="413" y="363"/>
                    <a:pt x="412" y="363"/>
                    <a:pt x="411" y="362"/>
                  </a:cubicBezTo>
                  <a:cubicBezTo>
                    <a:pt x="410" y="361"/>
                    <a:pt x="409" y="359"/>
                    <a:pt x="408" y="357"/>
                  </a:cubicBezTo>
                  <a:cubicBezTo>
                    <a:pt x="407" y="355"/>
                    <a:pt x="406" y="353"/>
                    <a:pt x="405" y="351"/>
                  </a:cubicBezTo>
                  <a:cubicBezTo>
                    <a:pt x="404" y="349"/>
                    <a:pt x="402" y="347"/>
                    <a:pt x="401" y="344"/>
                  </a:cubicBezTo>
                  <a:cubicBezTo>
                    <a:pt x="399" y="341"/>
                    <a:pt x="397" y="339"/>
                    <a:pt x="395" y="336"/>
                  </a:cubicBezTo>
                  <a:cubicBezTo>
                    <a:pt x="392" y="333"/>
                    <a:pt x="388" y="331"/>
                    <a:pt x="384" y="329"/>
                  </a:cubicBezTo>
                  <a:cubicBezTo>
                    <a:pt x="380" y="328"/>
                    <a:pt x="375" y="327"/>
                    <a:pt x="369" y="326"/>
                  </a:cubicBezTo>
                  <a:cubicBezTo>
                    <a:pt x="364" y="326"/>
                    <a:pt x="357" y="326"/>
                    <a:pt x="349" y="327"/>
                  </a:cubicBezTo>
                  <a:cubicBezTo>
                    <a:pt x="341" y="328"/>
                    <a:pt x="332" y="330"/>
                    <a:pt x="321" y="332"/>
                  </a:cubicBezTo>
                  <a:lnTo>
                    <a:pt x="216" y="437"/>
                  </a:lnTo>
                  <a:cubicBezTo>
                    <a:pt x="215" y="438"/>
                    <a:pt x="214" y="439"/>
                    <a:pt x="213" y="439"/>
                  </a:cubicBezTo>
                  <a:cubicBezTo>
                    <a:pt x="212" y="439"/>
                    <a:pt x="211" y="439"/>
                    <a:pt x="209" y="438"/>
                  </a:cubicBezTo>
                  <a:cubicBezTo>
                    <a:pt x="208" y="438"/>
                    <a:pt x="206" y="436"/>
                    <a:pt x="204" y="435"/>
                  </a:cubicBezTo>
                  <a:cubicBezTo>
                    <a:pt x="202" y="433"/>
                    <a:pt x="199" y="431"/>
                    <a:pt x="196" y="428"/>
                  </a:cubicBezTo>
                  <a:cubicBezTo>
                    <a:pt x="193" y="425"/>
                    <a:pt x="191" y="423"/>
                    <a:pt x="190" y="420"/>
                  </a:cubicBezTo>
                  <a:cubicBezTo>
                    <a:pt x="188" y="418"/>
                    <a:pt x="187" y="417"/>
                    <a:pt x="186" y="415"/>
                  </a:cubicBezTo>
                  <a:cubicBezTo>
                    <a:pt x="185" y="413"/>
                    <a:pt x="185" y="412"/>
                    <a:pt x="185" y="411"/>
                  </a:cubicBezTo>
                  <a:cubicBezTo>
                    <a:pt x="186" y="410"/>
                    <a:pt x="186" y="409"/>
                    <a:pt x="187" y="408"/>
                  </a:cubicBezTo>
                  <a:lnTo>
                    <a:pt x="346" y="249"/>
                  </a:lnTo>
                  <a:cubicBezTo>
                    <a:pt x="347" y="248"/>
                    <a:pt x="348" y="247"/>
                    <a:pt x="349" y="247"/>
                  </a:cubicBezTo>
                  <a:cubicBezTo>
                    <a:pt x="350" y="247"/>
                    <a:pt x="352" y="247"/>
                    <a:pt x="353" y="247"/>
                  </a:cubicBezTo>
                  <a:cubicBezTo>
                    <a:pt x="355" y="248"/>
                    <a:pt x="356" y="249"/>
                    <a:pt x="358" y="250"/>
                  </a:cubicBezTo>
                  <a:cubicBezTo>
                    <a:pt x="360" y="252"/>
                    <a:pt x="362" y="254"/>
                    <a:pt x="365" y="257"/>
                  </a:cubicBezTo>
                  <a:cubicBezTo>
                    <a:pt x="368" y="259"/>
                    <a:pt x="370" y="261"/>
                    <a:pt x="371" y="263"/>
                  </a:cubicBezTo>
                  <a:cubicBezTo>
                    <a:pt x="373" y="265"/>
                    <a:pt x="374" y="267"/>
                    <a:pt x="374" y="268"/>
                  </a:cubicBezTo>
                  <a:cubicBezTo>
                    <a:pt x="375" y="270"/>
                    <a:pt x="375" y="271"/>
                    <a:pt x="374" y="272"/>
                  </a:cubicBezTo>
                  <a:cubicBezTo>
                    <a:pt x="374" y="273"/>
                    <a:pt x="374" y="274"/>
                    <a:pt x="373" y="275"/>
                  </a:cubicBezTo>
                  <a:lnTo>
                    <a:pt x="350" y="298"/>
                  </a:lnTo>
                  <a:cubicBezTo>
                    <a:pt x="360" y="296"/>
                    <a:pt x="370" y="295"/>
                    <a:pt x="377" y="295"/>
                  </a:cubicBezTo>
                  <a:cubicBezTo>
                    <a:pt x="385" y="295"/>
                    <a:pt x="392" y="295"/>
                    <a:pt x="398" y="296"/>
                  </a:cubicBezTo>
                  <a:cubicBezTo>
                    <a:pt x="403" y="298"/>
                    <a:pt x="408" y="299"/>
                    <a:pt x="413" y="302"/>
                  </a:cubicBezTo>
                  <a:cubicBezTo>
                    <a:pt x="417" y="304"/>
                    <a:pt x="421" y="307"/>
                    <a:pt x="424" y="311"/>
                  </a:cubicBezTo>
                  <a:cubicBezTo>
                    <a:pt x="426" y="312"/>
                    <a:pt x="427" y="314"/>
                    <a:pt x="429" y="316"/>
                  </a:cubicBezTo>
                  <a:cubicBezTo>
                    <a:pt x="431" y="318"/>
                    <a:pt x="433" y="321"/>
                    <a:pt x="434" y="323"/>
                  </a:cubicBezTo>
                  <a:cubicBezTo>
                    <a:pt x="436" y="326"/>
                    <a:pt x="437" y="328"/>
                    <a:pt x="438" y="331"/>
                  </a:cubicBezTo>
                  <a:cubicBezTo>
                    <a:pt x="439" y="333"/>
                    <a:pt x="440" y="335"/>
                    <a:pt x="440" y="336"/>
                  </a:cubicBezTo>
                  <a:cubicBezTo>
                    <a:pt x="440" y="337"/>
                    <a:pt x="440" y="338"/>
                    <a:pt x="440" y="339"/>
                  </a:cubicBezTo>
                  <a:cubicBezTo>
                    <a:pt x="440" y="340"/>
                    <a:pt x="439" y="341"/>
                    <a:pt x="439" y="342"/>
                  </a:cubicBezTo>
                  <a:cubicBezTo>
                    <a:pt x="438" y="343"/>
                    <a:pt x="437" y="344"/>
                    <a:pt x="435" y="346"/>
                  </a:cubicBezTo>
                  <a:cubicBezTo>
                    <a:pt x="434" y="347"/>
                    <a:pt x="432" y="350"/>
                    <a:pt x="429" y="352"/>
                  </a:cubicBezTo>
                  <a:close/>
                  <a:moveTo>
                    <a:pt x="552" y="610"/>
                  </a:moveTo>
                  <a:cubicBezTo>
                    <a:pt x="539" y="623"/>
                    <a:pt x="526" y="634"/>
                    <a:pt x="511" y="641"/>
                  </a:cubicBezTo>
                  <a:cubicBezTo>
                    <a:pt x="497" y="648"/>
                    <a:pt x="483" y="653"/>
                    <a:pt x="468" y="654"/>
                  </a:cubicBezTo>
                  <a:cubicBezTo>
                    <a:pt x="453" y="655"/>
                    <a:pt x="439" y="653"/>
                    <a:pt x="424" y="647"/>
                  </a:cubicBezTo>
                  <a:cubicBezTo>
                    <a:pt x="409" y="641"/>
                    <a:pt x="395" y="632"/>
                    <a:pt x="382" y="618"/>
                  </a:cubicBezTo>
                  <a:cubicBezTo>
                    <a:pt x="369" y="605"/>
                    <a:pt x="359" y="592"/>
                    <a:pt x="353" y="578"/>
                  </a:cubicBezTo>
                  <a:cubicBezTo>
                    <a:pt x="348" y="564"/>
                    <a:pt x="345" y="551"/>
                    <a:pt x="346" y="537"/>
                  </a:cubicBezTo>
                  <a:cubicBezTo>
                    <a:pt x="347" y="523"/>
                    <a:pt x="351" y="509"/>
                    <a:pt x="359" y="495"/>
                  </a:cubicBezTo>
                  <a:cubicBezTo>
                    <a:pt x="366" y="481"/>
                    <a:pt x="377" y="468"/>
                    <a:pt x="390" y="454"/>
                  </a:cubicBezTo>
                  <a:cubicBezTo>
                    <a:pt x="403" y="441"/>
                    <a:pt x="417" y="431"/>
                    <a:pt x="431" y="424"/>
                  </a:cubicBezTo>
                  <a:cubicBezTo>
                    <a:pt x="445" y="416"/>
                    <a:pt x="460" y="412"/>
                    <a:pt x="474" y="411"/>
                  </a:cubicBezTo>
                  <a:cubicBezTo>
                    <a:pt x="489" y="410"/>
                    <a:pt x="503" y="412"/>
                    <a:pt x="518" y="418"/>
                  </a:cubicBezTo>
                  <a:cubicBezTo>
                    <a:pt x="532" y="423"/>
                    <a:pt x="547" y="433"/>
                    <a:pt x="560" y="447"/>
                  </a:cubicBezTo>
                  <a:cubicBezTo>
                    <a:pt x="573" y="460"/>
                    <a:pt x="583" y="473"/>
                    <a:pt x="588" y="487"/>
                  </a:cubicBezTo>
                  <a:cubicBezTo>
                    <a:pt x="594" y="500"/>
                    <a:pt x="597" y="514"/>
                    <a:pt x="596" y="528"/>
                  </a:cubicBezTo>
                  <a:cubicBezTo>
                    <a:pt x="595" y="542"/>
                    <a:pt x="591" y="556"/>
                    <a:pt x="583" y="570"/>
                  </a:cubicBezTo>
                  <a:cubicBezTo>
                    <a:pt x="576" y="583"/>
                    <a:pt x="566" y="597"/>
                    <a:pt x="552" y="610"/>
                  </a:cubicBezTo>
                  <a:close/>
                  <a:moveTo>
                    <a:pt x="520" y="582"/>
                  </a:moveTo>
                  <a:cubicBezTo>
                    <a:pt x="529" y="573"/>
                    <a:pt x="536" y="565"/>
                    <a:pt x="542" y="555"/>
                  </a:cubicBezTo>
                  <a:cubicBezTo>
                    <a:pt x="548" y="546"/>
                    <a:pt x="552" y="537"/>
                    <a:pt x="554" y="527"/>
                  </a:cubicBezTo>
                  <a:cubicBezTo>
                    <a:pt x="556" y="518"/>
                    <a:pt x="556" y="508"/>
                    <a:pt x="553" y="498"/>
                  </a:cubicBezTo>
                  <a:cubicBezTo>
                    <a:pt x="550" y="489"/>
                    <a:pt x="544" y="479"/>
                    <a:pt x="535" y="470"/>
                  </a:cubicBezTo>
                  <a:cubicBezTo>
                    <a:pt x="526" y="461"/>
                    <a:pt x="517" y="455"/>
                    <a:pt x="508" y="452"/>
                  </a:cubicBezTo>
                  <a:cubicBezTo>
                    <a:pt x="498" y="449"/>
                    <a:pt x="489" y="448"/>
                    <a:pt x="479" y="450"/>
                  </a:cubicBezTo>
                  <a:cubicBezTo>
                    <a:pt x="469" y="451"/>
                    <a:pt x="460" y="455"/>
                    <a:pt x="450" y="461"/>
                  </a:cubicBezTo>
                  <a:cubicBezTo>
                    <a:pt x="441" y="466"/>
                    <a:pt x="431" y="474"/>
                    <a:pt x="422" y="483"/>
                  </a:cubicBezTo>
                  <a:cubicBezTo>
                    <a:pt x="413" y="491"/>
                    <a:pt x="406" y="500"/>
                    <a:pt x="400" y="510"/>
                  </a:cubicBezTo>
                  <a:cubicBezTo>
                    <a:pt x="394" y="519"/>
                    <a:pt x="390" y="528"/>
                    <a:pt x="388" y="538"/>
                  </a:cubicBezTo>
                  <a:cubicBezTo>
                    <a:pt x="386" y="547"/>
                    <a:pt x="386" y="557"/>
                    <a:pt x="389" y="566"/>
                  </a:cubicBezTo>
                  <a:cubicBezTo>
                    <a:pt x="392" y="576"/>
                    <a:pt x="399" y="586"/>
                    <a:pt x="408" y="595"/>
                  </a:cubicBezTo>
                  <a:cubicBezTo>
                    <a:pt x="417" y="604"/>
                    <a:pt x="425" y="610"/>
                    <a:pt x="435" y="613"/>
                  </a:cubicBezTo>
                  <a:cubicBezTo>
                    <a:pt x="444" y="616"/>
                    <a:pt x="454" y="617"/>
                    <a:pt x="463" y="615"/>
                  </a:cubicBezTo>
                  <a:cubicBezTo>
                    <a:pt x="473" y="614"/>
                    <a:pt x="482" y="610"/>
                    <a:pt x="492" y="604"/>
                  </a:cubicBezTo>
                  <a:cubicBezTo>
                    <a:pt x="502" y="599"/>
                    <a:pt x="511" y="591"/>
                    <a:pt x="520" y="582"/>
                  </a:cubicBezTo>
                  <a:close/>
                  <a:moveTo>
                    <a:pt x="643" y="815"/>
                  </a:moveTo>
                  <a:cubicBezTo>
                    <a:pt x="641" y="817"/>
                    <a:pt x="639" y="819"/>
                    <a:pt x="637" y="820"/>
                  </a:cubicBezTo>
                  <a:cubicBezTo>
                    <a:pt x="636" y="821"/>
                    <a:pt x="634" y="822"/>
                    <a:pt x="633" y="823"/>
                  </a:cubicBezTo>
                  <a:cubicBezTo>
                    <a:pt x="632" y="824"/>
                    <a:pt x="630" y="824"/>
                    <a:pt x="629" y="825"/>
                  </a:cubicBezTo>
                  <a:cubicBezTo>
                    <a:pt x="628" y="825"/>
                    <a:pt x="626" y="825"/>
                    <a:pt x="623" y="825"/>
                  </a:cubicBezTo>
                  <a:cubicBezTo>
                    <a:pt x="620" y="825"/>
                    <a:pt x="616" y="824"/>
                    <a:pt x="610" y="823"/>
                  </a:cubicBezTo>
                  <a:cubicBezTo>
                    <a:pt x="604" y="822"/>
                    <a:pt x="598" y="820"/>
                    <a:pt x="592" y="817"/>
                  </a:cubicBezTo>
                  <a:cubicBezTo>
                    <a:pt x="586" y="814"/>
                    <a:pt x="580" y="811"/>
                    <a:pt x="574" y="807"/>
                  </a:cubicBezTo>
                  <a:cubicBezTo>
                    <a:pt x="567" y="803"/>
                    <a:pt x="562" y="798"/>
                    <a:pt x="556" y="792"/>
                  </a:cubicBezTo>
                  <a:cubicBezTo>
                    <a:pt x="545" y="781"/>
                    <a:pt x="536" y="769"/>
                    <a:pt x="531" y="756"/>
                  </a:cubicBezTo>
                  <a:cubicBezTo>
                    <a:pt x="526" y="744"/>
                    <a:pt x="524" y="731"/>
                    <a:pt x="526" y="717"/>
                  </a:cubicBezTo>
                  <a:cubicBezTo>
                    <a:pt x="527" y="704"/>
                    <a:pt x="531" y="691"/>
                    <a:pt x="539" y="677"/>
                  </a:cubicBezTo>
                  <a:cubicBezTo>
                    <a:pt x="546" y="663"/>
                    <a:pt x="557" y="650"/>
                    <a:pt x="570" y="636"/>
                  </a:cubicBezTo>
                  <a:cubicBezTo>
                    <a:pt x="586" y="620"/>
                    <a:pt x="602" y="609"/>
                    <a:pt x="617" y="601"/>
                  </a:cubicBezTo>
                  <a:cubicBezTo>
                    <a:pt x="632" y="594"/>
                    <a:pt x="646" y="590"/>
                    <a:pt x="660" y="589"/>
                  </a:cubicBezTo>
                  <a:cubicBezTo>
                    <a:pt x="674" y="589"/>
                    <a:pt x="687" y="591"/>
                    <a:pt x="700" y="597"/>
                  </a:cubicBezTo>
                  <a:cubicBezTo>
                    <a:pt x="712" y="602"/>
                    <a:pt x="724" y="610"/>
                    <a:pt x="734" y="621"/>
                  </a:cubicBezTo>
                  <a:cubicBezTo>
                    <a:pt x="739" y="626"/>
                    <a:pt x="744" y="631"/>
                    <a:pt x="747" y="637"/>
                  </a:cubicBezTo>
                  <a:cubicBezTo>
                    <a:pt x="751" y="643"/>
                    <a:pt x="754" y="648"/>
                    <a:pt x="757" y="654"/>
                  </a:cubicBezTo>
                  <a:cubicBezTo>
                    <a:pt x="759" y="660"/>
                    <a:pt x="761" y="665"/>
                    <a:pt x="762" y="670"/>
                  </a:cubicBezTo>
                  <a:cubicBezTo>
                    <a:pt x="763" y="675"/>
                    <a:pt x="764" y="679"/>
                    <a:pt x="764" y="682"/>
                  </a:cubicBezTo>
                  <a:cubicBezTo>
                    <a:pt x="764" y="685"/>
                    <a:pt x="764" y="687"/>
                    <a:pt x="763" y="688"/>
                  </a:cubicBezTo>
                  <a:cubicBezTo>
                    <a:pt x="763" y="690"/>
                    <a:pt x="763" y="691"/>
                    <a:pt x="762" y="692"/>
                  </a:cubicBezTo>
                  <a:cubicBezTo>
                    <a:pt x="761" y="694"/>
                    <a:pt x="760" y="695"/>
                    <a:pt x="759" y="697"/>
                  </a:cubicBezTo>
                  <a:cubicBezTo>
                    <a:pt x="757" y="698"/>
                    <a:pt x="756" y="700"/>
                    <a:pt x="754" y="702"/>
                  </a:cubicBezTo>
                  <a:cubicBezTo>
                    <a:pt x="749" y="707"/>
                    <a:pt x="745" y="710"/>
                    <a:pt x="742" y="710"/>
                  </a:cubicBezTo>
                  <a:cubicBezTo>
                    <a:pt x="740" y="711"/>
                    <a:pt x="737" y="711"/>
                    <a:pt x="736" y="709"/>
                  </a:cubicBezTo>
                  <a:cubicBezTo>
                    <a:pt x="734" y="708"/>
                    <a:pt x="733" y="705"/>
                    <a:pt x="733" y="700"/>
                  </a:cubicBezTo>
                  <a:cubicBezTo>
                    <a:pt x="732" y="696"/>
                    <a:pt x="731" y="691"/>
                    <a:pt x="730" y="685"/>
                  </a:cubicBezTo>
                  <a:cubicBezTo>
                    <a:pt x="729" y="679"/>
                    <a:pt x="727" y="673"/>
                    <a:pt x="724" y="666"/>
                  </a:cubicBezTo>
                  <a:cubicBezTo>
                    <a:pt x="721" y="659"/>
                    <a:pt x="716" y="652"/>
                    <a:pt x="709" y="645"/>
                  </a:cubicBezTo>
                  <a:cubicBezTo>
                    <a:pt x="695" y="631"/>
                    <a:pt x="679" y="626"/>
                    <a:pt x="661" y="629"/>
                  </a:cubicBezTo>
                  <a:cubicBezTo>
                    <a:pt x="642" y="632"/>
                    <a:pt x="623" y="644"/>
                    <a:pt x="602" y="665"/>
                  </a:cubicBezTo>
                  <a:cubicBezTo>
                    <a:pt x="592" y="675"/>
                    <a:pt x="584" y="685"/>
                    <a:pt x="578" y="695"/>
                  </a:cubicBezTo>
                  <a:cubicBezTo>
                    <a:pt x="573" y="704"/>
                    <a:pt x="569" y="714"/>
                    <a:pt x="568" y="723"/>
                  </a:cubicBezTo>
                  <a:cubicBezTo>
                    <a:pt x="566" y="732"/>
                    <a:pt x="567" y="740"/>
                    <a:pt x="570" y="748"/>
                  </a:cubicBezTo>
                  <a:cubicBezTo>
                    <a:pt x="573" y="756"/>
                    <a:pt x="578" y="764"/>
                    <a:pt x="585" y="771"/>
                  </a:cubicBezTo>
                  <a:cubicBezTo>
                    <a:pt x="592" y="777"/>
                    <a:pt x="599" y="782"/>
                    <a:pt x="606" y="785"/>
                  </a:cubicBezTo>
                  <a:cubicBezTo>
                    <a:pt x="613" y="788"/>
                    <a:pt x="620" y="790"/>
                    <a:pt x="626" y="791"/>
                  </a:cubicBezTo>
                  <a:cubicBezTo>
                    <a:pt x="632" y="793"/>
                    <a:pt x="638" y="793"/>
                    <a:pt x="642" y="794"/>
                  </a:cubicBezTo>
                  <a:cubicBezTo>
                    <a:pt x="647" y="794"/>
                    <a:pt x="650" y="795"/>
                    <a:pt x="651" y="797"/>
                  </a:cubicBezTo>
                  <a:cubicBezTo>
                    <a:pt x="652" y="797"/>
                    <a:pt x="653" y="798"/>
                    <a:pt x="653" y="799"/>
                  </a:cubicBezTo>
                  <a:cubicBezTo>
                    <a:pt x="653" y="801"/>
                    <a:pt x="653" y="802"/>
                    <a:pt x="652" y="803"/>
                  </a:cubicBezTo>
                  <a:cubicBezTo>
                    <a:pt x="651" y="805"/>
                    <a:pt x="650" y="807"/>
                    <a:pt x="648" y="809"/>
                  </a:cubicBezTo>
                  <a:cubicBezTo>
                    <a:pt x="647" y="810"/>
                    <a:pt x="645" y="813"/>
                    <a:pt x="643" y="815"/>
                  </a:cubicBezTo>
                  <a:close/>
                  <a:moveTo>
                    <a:pt x="799" y="1020"/>
                  </a:moveTo>
                  <a:cubicBezTo>
                    <a:pt x="798" y="1021"/>
                    <a:pt x="797" y="1022"/>
                    <a:pt x="796" y="1022"/>
                  </a:cubicBezTo>
                  <a:cubicBezTo>
                    <a:pt x="795" y="1022"/>
                    <a:pt x="794" y="1022"/>
                    <a:pt x="792" y="1021"/>
                  </a:cubicBezTo>
                  <a:cubicBezTo>
                    <a:pt x="791" y="1021"/>
                    <a:pt x="789" y="1019"/>
                    <a:pt x="787" y="1018"/>
                  </a:cubicBezTo>
                  <a:cubicBezTo>
                    <a:pt x="785" y="1016"/>
                    <a:pt x="782" y="1014"/>
                    <a:pt x="779" y="1011"/>
                  </a:cubicBezTo>
                  <a:cubicBezTo>
                    <a:pt x="776" y="1008"/>
                    <a:pt x="774" y="1006"/>
                    <a:pt x="773" y="1003"/>
                  </a:cubicBezTo>
                  <a:cubicBezTo>
                    <a:pt x="771" y="1001"/>
                    <a:pt x="770" y="1000"/>
                    <a:pt x="769" y="998"/>
                  </a:cubicBezTo>
                  <a:cubicBezTo>
                    <a:pt x="769" y="996"/>
                    <a:pt x="768" y="995"/>
                    <a:pt x="769" y="994"/>
                  </a:cubicBezTo>
                  <a:cubicBezTo>
                    <a:pt x="769" y="993"/>
                    <a:pt x="769" y="992"/>
                    <a:pt x="770" y="991"/>
                  </a:cubicBezTo>
                  <a:lnTo>
                    <a:pt x="863" y="898"/>
                  </a:lnTo>
                  <a:cubicBezTo>
                    <a:pt x="872" y="889"/>
                    <a:pt x="879" y="881"/>
                    <a:pt x="883" y="874"/>
                  </a:cubicBezTo>
                  <a:cubicBezTo>
                    <a:pt x="887" y="867"/>
                    <a:pt x="890" y="860"/>
                    <a:pt x="891" y="853"/>
                  </a:cubicBezTo>
                  <a:cubicBezTo>
                    <a:pt x="893" y="847"/>
                    <a:pt x="892" y="840"/>
                    <a:pt x="890" y="834"/>
                  </a:cubicBezTo>
                  <a:cubicBezTo>
                    <a:pt x="888" y="827"/>
                    <a:pt x="884" y="821"/>
                    <a:pt x="878" y="815"/>
                  </a:cubicBezTo>
                  <a:cubicBezTo>
                    <a:pt x="871" y="808"/>
                    <a:pt x="861" y="803"/>
                    <a:pt x="849" y="801"/>
                  </a:cubicBezTo>
                  <a:cubicBezTo>
                    <a:pt x="836" y="799"/>
                    <a:pt x="821" y="799"/>
                    <a:pt x="803" y="801"/>
                  </a:cubicBezTo>
                  <a:lnTo>
                    <a:pt x="692" y="912"/>
                  </a:lnTo>
                  <a:cubicBezTo>
                    <a:pt x="691" y="913"/>
                    <a:pt x="690" y="914"/>
                    <a:pt x="688" y="914"/>
                  </a:cubicBezTo>
                  <a:cubicBezTo>
                    <a:pt x="687" y="914"/>
                    <a:pt x="686" y="914"/>
                    <a:pt x="685" y="913"/>
                  </a:cubicBezTo>
                  <a:cubicBezTo>
                    <a:pt x="683" y="913"/>
                    <a:pt x="681" y="912"/>
                    <a:pt x="679" y="910"/>
                  </a:cubicBezTo>
                  <a:cubicBezTo>
                    <a:pt x="677" y="908"/>
                    <a:pt x="674" y="906"/>
                    <a:pt x="671" y="903"/>
                  </a:cubicBezTo>
                  <a:cubicBezTo>
                    <a:pt x="669" y="900"/>
                    <a:pt x="666" y="898"/>
                    <a:pt x="665" y="896"/>
                  </a:cubicBezTo>
                  <a:cubicBezTo>
                    <a:pt x="663" y="894"/>
                    <a:pt x="662" y="892"/>
                    <a:pt x="661" y="890"/>
                  </a:cubicBezTo>
                  <a:cubicBezTo>
                    <a:pt x="661" y="888"/>
                    <a:pt x="660" y="887"/>
                    <a:pt x="661" y="886"/>
                  </a:cubicBezTo>
                  <a:cubicBezTo>
                    <a:pt x="661" y="885"/>
                    <a:pt x="661" y="884"/>
                    <a:pt x="662" y="883"/>
                  </a:cubicBezTo>
                  <a:lnTo>
                    <a:pt x="899" y="647"/>
                  </a:lnTo>
                  <a:cubicBezTo>
                    <a:pt x="900" y="646"/>
                    <a:pt x="901" y="645"/>
                    <a:pt x="902" y="645"/>
                  </a:cubicBezTo>
                  <a:cubicBezTo>
                    <a:pt x="903" y="645"/>
                    <a:pt x="904" y="645"/>
                    <a:pt x="906" y="646"/>
                  </a:cubicBezTo>
                  <a:cubicBezTo>
                    <a:pt x="907" y="646"/>
                    <a:pt x="909" y="647"/>
                    <a:pt x="911" y="649"/>
                  </a:cubicBezTo>
                  <a:cubicBezTo>
                    <a:pt x="913" y="651"/>
                    <a:pt x="916" y="653"/>
                    <a:pt x="919" y="656"/>
                  </a:cubicBezTo>
                  <a:cubicBezTo>
                    <a:pt x="922" y="659"/>
                    <a:pt x="924" y="661"/>
                    <a:pt x="926" y="663"/>
                  </a:cubicBezTo>
                  <a:cubicBezTo>
                    <a:pt x="927" y="665"/>
                    <a:pt x="928" y="667"/>
                    <a:pt x="929" y="669"/>
                  </a:cubicBezTo>
                  <a:cubicBezTo>
                    <a:pt x="930" y="670"/>
                    <a:pt x="930" y="672"/>
                    <a:pt x="930" y="673"/>
                  </a:cubicBezTo>
                  <a:cubicBezTo>
                    <a:pt x="929" y="674"/>
                    <a:pt x="929" y="675"/>
                    <a:pt x="928" y="676"/>
                  </a:cubicBezTo>
                  <a:lnTo>
                    <a:pt x="832" y="771"/>
                  </a:lnTo>
                  <a:cubicBezTo>
                    <a:pt x="850" y="771"/>
                    <a:pt x="865" y="773"/>
                    <a:pt x="877" y="777"/>
                  </a:cubicBezTo>
                  <a:cubicBezTo>
                    <a:pt x="890" y="781"/>
                    <a:pt x="901" y="788"/>
                    <a:pt x="910" y="796"/>
                  </a:cubicBezTo>
                  <a:cubicBezTo>
                    <a:pt x="920" y="807"/>
                    <a:pt x="927" y="817"/>
                    <a:pt x="931" y="828"/>
                  </a:cubicBezTo>
                  <a:cubicBezTo>
                    <a:pt x="935" y="839"/>
                    <a:pt x="936" y="850"/>
                    <a:pt x="934" y="860"/>
                  </a:cubicBezTo>
                  <a:cubicBezTo>
                    <a:pt x="933" y="871"/>
                    <a:pt x="929" y="881"/>
                    <a:pt x="923" y="891"/>
                  </a:cubicBezTo>
                  <a:cubicBezTo>
                    <a:pt x="917" y="901"/>
                    <a:pt x="908" y="912"/>
                    <a:pt x="896" y="923"/>
                  </a:cubicBezTo>
                  <a:lnTo>
                    <a:pt x="799" y="1020"/>
                  </a:lnTo>
                  <a:close/>
                  <a:moveTo>
                    <a:pt x="1084" y="1142"/>
                  </a:moveTo>
                  <a:cubicBezTo>
                    <a:pt x="1071" y="1155"/>
                    <a:pt x="1057" y="1165"/>
                    <a:pt x="1043" y="1173"/>
                  </a:cubicBezTo>
                  <a:cubicBezTo>
                    <a:pt x="1029" y="1180"/>
                    <a:pt x="1014" y="1185"/>
                    <a:pt x="1000" y="1186"/>
                  </a:cubicBezTo>
                  <a:cubicBezTo>
                    <a:pt x="985" y="1187"/>
                    <a:pt x="970" y="1184"/>
                    <a:pt x="956" y="1179"/>
                  </a:cubicBezTo>
                  <a:cubicBezTo>
                    <a:pt x="941" y="1173"/>
                    <a:pt x="927" y="1163"/>
                    <a:pt x="914" y="1150"/>
                  </a:cubicBezTo>
                  <a:cubicBezTo>
                    <a:pt x="901" y="1137"/>
                    <a:pt x="891" y="1123"/>
                    <a:pt x="885" y="1110"/>
                  </a:cubicBezTo>
                  <a:cubicBezTo>
                    <a:pt x="879" y="1096"/>
                    <a:pt x="877" y="1082"/>
                    <a:pt x="878" y="1069"/>
                  </a:cubicBezTo>
                  <a:cubicBezTo>
                    <a:pt x="879" y="1055"/>
                    <a:pt x="883" y="1041"/>
                    <a:pt x="890" y="1027"/>
                  </a:cubicBezTo>
                  <a:cubicBezTo>
                    <a:pt x="898" y="1013"/>
                    <a:pt x="908" y="1000"/>
                    <a:pt x="922" y="986"/>
                  </a:cubicBezTo>
                  <a:cubicBezTo>
                    <a:pt x="935" y="973"/>
                    <a:pt x="948" y="963"/>
                    <a:pt x="963" y="955"/>
                  </a:cubicBezTo>
                  <a:cubicBezTo>
                    <a:pt x="977" y="948"/>
                    <a:pt x="991" y="944"/>
                    <a:pt x="1006" y="942"/>
                  </a:cubicBezTo>
                  <a:cubicBezTo>
                    <a:pt x="1021" y="941"/>
                    <a:pt x="1035" y="944"/>
                    <a:pt x="1050" y="949"/>
                  </a:cubicBezTo>
                  <a:cubicBezTo>
                    <a:pt x="1064" y="955"/>
                    <a:pt x="1078" y="965"/>
                    <a:pt x="1092" y="978"/>
                  </a:cubicBezTo>
                  <a:cubicBezTo>
                    <a:pt x="1105" y="991"/>
                    <a:pt x="1114" y="1005"/>
                    <a:pt x="1120" y="1018"/>
                  </a:cubicBezTo>
                  <a:cubicBezTo>
                    <a:pt x="1126" y="1032"/>
                    <a:pt x="1128" y="1046"/>
                    <a:pt x="1128" y="1060"/>
                  </a:cubicBezTo>
                  <a:cubicBezTo>
                    <a:pt x="1127" y="1074"/>
                    <a:pt x="1122" y="1087"/>
                    <a:pt x="1115" y="1101"/>
                  </a:cubicBezTo>
                  <a:cubicBezTo>
                    <a:pt x="1108" y="1115"/>
                    <a:pt x="1097" y="1129"/>
                    <a:pt x="1084" y="1142"/>
                  </a:cubicBezTo>
                  <a:close/>
                  <a:moveTo>
                    <a:pt x="1052" y="1114"/>
                  </a:moveTo>
                  <a:cubicBezTo>
                    <a:pt x="1060" y="1105"/>
                    <a:pt x="1068" y="1096"/>
                    <a:pt x="1074" y="1087"/>
                  </a:cubicBezTo>
                  <a:cubicBezTo>
                    <a:pt x="1080" y="1078"/>
                    <a:pt x="1084" y="1068"/>
                    <a:pt x="1086" y="1059"/>
                  </a:cubicBezTo>
                  <a:cubicBezTo>
                    <a:pt x="1088" y="1049"/>
                    <a:pt x="1088" y="1040"/>
                    <a:pt x="1085" y="1030"/>
                  </a:cubicBezTo>
                  <a:cubicBezTo>
                    <a:pt x="1082" y="1021"/>
                    <a:pt x="1076" y="1011"/>
                    <a:pt x="1066" y="1002"/>
                  </a:cubicBezTo>
                  <a:cubicBezTo>
                    <a:pt x="1058" y="993"/>
                    <a:pt x="1049" y="987"/>
                    <a:pt x="1039" y="984"/>
                  </a:cubicBezTo>
                  <a:cubicBezTo>
                    <a:pt x="1030" y="981"/>
                    <a:pt x="1020" y="980"/>
                    <a:pt x="1011" y="981"/>
                  </a:cubicBezTo>
                  <a:cubicBezTo>
                    <a:pt x="1001" y="983"/>
                    <a:pt x="992" y="987"/>
                    <a:pt x="982" y="992"/>
                  </a:cubicBezTo>
                  <a:cubicBezTo>
                    <a:pt x="972" y="998"/>
                    <a:pt x="963" y="1005"/>
                    <a:pt x="954" y="1014"/>
                  </a:cubicBezTo>
                  <a:cubicBezTo>
                    <a:pt x="945" y="1023"/>
                    <a:pt x="938" y="1032"/>
                    <a:pt x="932" y="1041"/>
                  </a:cubicBezTo>
                  <a:cubicBezTo>
                    <a:pt x="926" y="1051"/>
                    <a:pt x="922" y="1060"/>
                    <a:pt x="920" y="1070"/>
                  </a:cubicBezTo>
                  <a:cubicBezTo>
                    <a:pt x="918" y="1079"/>
                    <a:pt x="918" y="1089"/>
                    <a:pt x="921" y="1098"/>
                  </a:cubicBezTo>
                  <a:cubicBezTo>
                    <a:pt x="924" y="1108"/>
                    <a:pt x="930" y="1117"/>
                    <a:pt x="940" y="1127"/>
                  </a:cubicBezTo>
                  <a:cubicBezTo>
                    <a:pt x="948" y="1135"/>
                    <a:pt x="957" y="1141"/>
                    <a:pt x="967" y="1144"/>
                  </a:cubicBezTo>
                  <a:cubicBezTo>
                    <a:pt x="976" y="1148"/>
                    <a:pt x="985" y="1149"/>
                    <a:pt x="995" y="1147"/>
                  </a:cubicBezTo>
                  <a:cubicBezTo>
                    <a:pt x="1005" y="1146"/>
                    <a:pt x="1014" y="1142"/>
                    <a:pt x="1024" y="1136"/>
                  </a:cubicBezTo>
                  <a:cubicBezTo>
                    <a:pt x="1033" y="1130"/>
                    <a:pt x="1043" y="1123"/>
                    <a:pt x="1052" y="1114"/>
                  </a:cubicBezTo>
                  <a:close/>
                  <a:moveTo>
                    <a:pt x="1175" y="921"/>
                  </a:moveTo>
                  <a:cubicBezTo>
                    <a:pt x="1177" y="921"/>
                    <a:pt x="1178" y="921"/>
                    <a:pt x="1180" y="921"/>
                  </a:cubicBezTo>
                  <a:cubicBezTo>
                    <a:pt x="1182" y="921"/>
                    <a:pt x="1184" y="921"/>
                    <a:pt x="1186" y="922"/>
                  </a:cubicBezTo>
                  <a:cubicBezTo>
                    <a:pt x="1187" y="923"/>
                    <a:pt x="1189" y="924"/>
                    <a:pt x="1192" y="926"/>
                  </a:cubicBezTo>
                  <a:cubicBezTo>
                    <a:pt x="1194" y="928"/>
                    <a:pt x="1196" y="930"/>
                    <a:pt x="1199" y="933"/>
                  </a:cubicBezTo>
                  <a:cubicBezTo>
                    <a:pt x="1203" y="936"/>
                    <a:pt x="1205" y="939"/>
                    <a:pt x="1207" y="942"/>
                  </a:cubicBezTo>
                  <a:cubicBezTo>
                    <a:pt x="1208" y="944"/>
                    <a:pt x="1209" y="946"/>
                    <a:pt x="1209" y="948"/>
                  </a:cubicBezTo>
                  <a:cubicBezTo>
                    <a:pt x="1209" y="949"/>
                    <a:pt x="1209" y="951"/>
                    <a:pt x="1208" y="952"/>
                  </a:cubicBezTo>
                  <a:cubicBezTo>
                    <a:pt x="1207" y="952"/>
                    <a:pt x="1205" y="953"/>
                    <a:pt x="1203" y="953"/>
                  </a:cubicBezTo>
                  <a:lnTo>
                    <a:pt x="1130" y="962"/>
                  </a:lnTo>
                  <a:cubicBezTo>
                    <a:pt x="1128" y="963"/>
                    <a:pt x="1126" y="963"/>
                    <a:pt x="1124" y="963"/>
                  </a:cubicBezTo>
                  <a:cubicBezTo>
                    <a:pt x="1123" y="963"/>
                    <a:pt x="1122" y="962"/>
                    <a:pt x="1120" y="962"/>
                  </a:cubicBezTo>
                  <a:cubicBezTo>
                    <a:pt x="1119" y="961"/>
                    <a:pt x="1117" y="960"/>
                    <a:pt x="1115" y="959"/>
                  </a:cubicBezTo>
                  <a:cubicBezTo>
                    <a:pt x="1114" y="957"/>
                    <a:pt x="1111" y="955"/>
                    <a:pt x="1109" y="953"/>
                  </a:cubicBezTo>
                  <a:cubicBezTo>
                    <a:pt x="1107" y="950"/>
                    <a:pt x="1105" y="948"/>
                    <a:pt x="1103" y="946"/>
                  </a:cubicBezTo>
                  <a:cubicBezTo>
                    <a:pt x="1102" y="944"/>
                    <a:pt x="1102" y="943"/>
                    <a:pt x="1102" y="942"/>
                  </a:cubicBezTo>
                  <a:cubicBezTo>
                    <a:pt x="1102" y="940"/>
                    <a:pt x="1102" y="939"/>
                    <a:pt x="1103" y="939"/>
                  </a:cubicBezTo>
                  <a:cubicBezTo>
                    <a:pt x="1104" y="938"/>
                    <a:pt x="1106" y="937"/>
                    <a:pt x="1108" y="937"/>
                  </a:cubicBezTo>
                  <a:lnTo>
                    <a:pt x="1175" y="921"/>
                  </a:lnTo>
                  <a:close/>
                  <a:moveTo>
                    <a:pt x="1429" y="1331"/>
                  </a:moveTo>
                  <a:cubicBezTo>
                    <a:pt x="1428" y="1332"/>
                    <a:pt x="1427" y="1333"/>
                    <a:pt x="1426" y="1334"/>
                  </a:cubicBezTo>
                  <a:cubicBezTo>
                    <a:pt x="1424" y="1334"/>
                    <a:pt x="1422" y="1336"/>
                    <a:pt x="1420" y="1337"/>
                  </a:cubicBezTo>
                  <a:lnTo>
                    <a:pt x="1222" y="1441"/>
                  </a:lnTo>
                  <a:cubicBezTo>
                    <a:pt x="1220" y="1442"/>
                    <a:pt x="1219" y="1442"/>
                    <a:pt x="1217" y="1443"/>
                  </a:cubicBezTo>
                  <a:cubicBezTo>
                    <a:pt x="1216" y="1443"/>
                    <a:pt x="1214" y="1442"/>
                    <a:pt x="1212" y="1441"/>
                  </a:cubicBezTo>
                  <a:cubicBezTo>
                    <a:pt x="1210" y="1440"/>
                    <a:pt x="1208" y="1439"/>
                    <a:pt x="1206" y="1437"/>
                  </a:cubicBezTo>
                  <a:cubicBezTo>
                    <a:pt x="1203" y="1435"/>
                    <a:pt x="1200" y="1432"/>
                    <a:pt x="1196" y="1428"/>
                  </a:cubicBezTo>
                  <a:cubicBezTo>
                    <a:pt x="1193" y="1424"/>
                    <a:pt x="1190" y="1421"/>
                    <a:pt x="1188" y="1419"/>
                  </a:cubicBezTo>
                  <a:cubicBezTo>
                    <a:pt x="1185" y="1416"/>
                    <a:pt x="1184" y="1414"/>
                    <a:pt x="1183" y="1412"/>
                  </a:cubicBezTo>
                  <a:cubicBezTo>
                    <a:pt x="1182" y="1410"/>
                    <a:pt x="1181" y="1408"/>
                    <a:pt x="1181" y="1406"/>
                  </a:cubicBezTo>
                  <a:cubicBezTo>
                    <a:pt x="1182" y="1405"/>
                    <a:pt x="1182" y="1403"/>
                    <a:pt x="1183" y="1402"/>
                  </a:cubicBezTo>
                  <a:lnTo>
                    <a:pt x="1265" y="1253"/>
                  </a:lnTo>
                  <a:lnTo>
                    <a:pt x="1266" y="1251"/>
                  </a:lnTo>
                  <a:lnTo>
                    <a:pt x="1264" y="1252"/>
                  </a:lnTo>
                  <a:lnTo>
                    <a:pt x="1118" y="1337"/>
                  </a:lnTo>
                  <a:cubicBezTo>
                    <a:pt x="1116" y="1338"/>
                    <a:pt x="1115" y="1338"/>
                    <a:pt x="1113" y="1338"/>
                  </a:cubicBezTo>
                  <a:cubicBezTo>
                    <a:pt x="1111" y="1338"/>
                    <a:pt x="1110" y="1338"/>
                    <a:pt x="1108" y="1337"/>
                  </a:cubicBezTo>
                  <a:cubicBezTo>
                    <a:pt x="1106" y="1336"/>
                    <a:pt x="1103" y="1334"/>
                    <a:pt x="1101" y="1332"/>
                  </a:cubicBezTo>
                  <a:cubicBezTo>
                    <a:pt x="1098" y="1330"/>
                    <a:pt x="1095" y="1327"/>
                    <a:pt x="1091" y="1323"/>
                  </a:cubicBezTo>
                  <a:cubicBezTo>
                    <a:pt x="1088" y="1319"/>
                    <a:pt x="1085" y="1316"/>
                    <a:pt x="1083" y="1314"/>
                  </a:cubicBezTo>
                  <a:cubicBezTo>
                    <a:pt x="1081" y="1311"/>
                    <a:pt x="1079" y="1309"/>
                    <a:pt x="1078" y="1307"/>
                  </a:cubicBezTo>
                  <a:cubicBezTo>
                    <a:pt x="1077" y="1305"/>
                    <a:pt x="1077" y="1303"/>
                    <a:pt x="1077" y="1302"/>
                  </a:cubicBezTo>
                  <a:cubicBezTo>
                    <a:pt x="1077" y="1300"/>
                    <a:pt x="1078" y="1299"/>
                    <a:pt x="1078" y="1297"/>
                  </a:cubicBezTo>
                  <a:lnTo>
                    <a:pt x="1183" y="1100"/>
                  </a:lnTo>
                  <a:cubicBezTo>
                    <a:pt x="1184" y="1097"/>
                    <a:pt x="1185" y="1095"/>
                    <a:pt x="1186" y="1094"/>
                  </a:cubicBezTo>
                  <a:cubicBezTo>
                    <a:pt x="1187" y="1093"/>
                    <a:pt x="1188" y="1091"/>
                    <a:pt x="1189" y="1091"/>
                  </a:cubicBezTo>
                  <a:cubicBezTo>
                    <a:pt x="1190" y="1090"/>
                    <a:pt x="1191" y="1089"/>
                    <a:pt x="1192" y="1089"/>
                  </a:cubicBezTo>
                  <a:cubicBezTo>
                    <a:pt x="1193" y="1089"/>
                    <a:pt x="1195" y="1089"/>
                    <a:pt x="1196" y="1090"/>
                  </a:cubicBezTo>
                  <a:cubicBezTo>
                    <a:pt x="1198" y="1090"/>
                    <a:pt x="1199" y="1092"/>
                    <a:pt x="1201" y="1093"/>
                  </a:cubicBezTo>
                  <a:cubicBezTo>
                    <a:pt x="1203" y="1095"/>
                    <a:pt x="1206" y="1097"/>
                    <a:pt x="1208" y="1100"/>
                  </a:cubicBezTo>
                  <a:cubicBezTo>
                    <a:pt x="1212" y="1103"/>
                    <a:pt x="1214" y="1106"/>
                    <a:pt x="1216" y="1108"/>
                  </a:cubicBezTo>
                  <a:cubicBezTo>
                    <a:pt x="1218" y="1110"/>
                    <a:pt x="1219" y="1112"/>
                    <a:pt x="1220" y="1114"/>
                  </a:cubicBezTo>
                  <a:cubicBezTo>
                    <a:pt x="1221" y="1115"/>
                    <a:pt x="1221" y="1117"/>
                    <a:pt x="1220" y="1118"/>
                  </a:cubicBezTo>
                  <a:cubicBezTo>
                    <a:pt x="1220" y="1119"/>
                    <a:pt x="1220" y="1120"/>
                    <a:pt x="1219" y="1122"/>
                  </a:cubicBezTo>
                  <a:lnTo>
                    <a:pt x="1126" y="1291"/>
                  </a:lnTo>
                  <a:lnTo>
                    <a:pt x="1125" y="1293"/>
                  </a:lnTo>
                  <a:lnTo>
                    <a:pt x="1127" y="1292"/>
                  </a:lnTo>
                  <a:lnTo>
                    <a:pt x="1293" y="1196"/>
                  </a:lnTo>
                  <a:cubicBezTo>
                    <a:pt x="1294" y="1195"/>
                    <a:pt x="1296" y="1195"/>
                    <a:pt x="1297" y="1194"/>
                  </a:cubicBezTo>
                  <a:cubicBezTo>
                    <a:pt x="1298" y="1194"/>
                    <a:pt x="1300" y="1194"/>
                    <a:pt x="1301" y="1195"/>
                  </a:cubicBezTo>
                  <a:cubicBezTo>
                    <a:pt x="1303" y="1196"/>
                    <a:pt x="1304" y="1197"/>
                    <a:pt x="1306" y="1198"/>
                  </a:cubicBezTo>
                  <a:cubicBezTo>
                    <a:pt x="1308" y="1200"/>
                    <a:pt x="1311" y="1202"/>
                    <a:pt x="1314" y="1205"/>
                  </a:cubicBezTo>
                  <a:cubicBezTo>
                    <a:pt x="1317" y="1208"/>
                    <a:pt x="1319" y="1211"/>
                    <a:pt x="1321" y="1213"/>
                  </a:cubicBezTo>
                  <a:cubicBezTo>
                    <a:pt x="1322" y="1215"/>
                    <a:pt x="1323" y="1216"/>
                    <a:pt x="1324" y="1218"/>
                  </a:cubicBezTo>
                  <a:cubicBezTo>
                    <a:pt x="1325" y="1219"/>
                    <a:pt x="1325" y="1221"/>
                    <a:pt x="1325" y="1222"/>
                  </a:cubicBezTo>
                  <a:cubicBezTo>
                    <a:pt x="1324" y="1223"/>
                    <a:pt x="1324" y="1224"/>
                    <a:pt x="1323" y="1225"/>
                  </a:cubicBezTo>
                  <a:lnTo>
                    <a:pt x="1230" y="1395"/>
                  </a:lnTo>
                  <a:lnTo>
                    <a:pt x="1228" y="1397"/>
                  </a:lnTo>
                  <a:lnTo>
                    <a:pt x="1230" y="1395"/>
                  </a:lnTo>
                  <a:lnTo>
                    <a:pt x="1399" y="1302"/>
                  </a:lnTo>
                  <a:cubicBezTo>
                    <a:pt x="1401" y="1301"/>
                    <a:pt x="1402" y="1301"/>
                    <a:pt x="1403" y="1300"/>
                  </a:cubicBezTo>
                  <a:cubicBezTo>
                    <a:pt x="1404" y="1300"/>
                    <a:pt x="1406" y="1300"/>
                    <a:pt x="1407" y="1301"/>
                  </a:cubicBezTo>
                  <a:cubicBezTo>
                    <a:pt x="1409" y="1302"/>
                    <a:pt x="1411" y="1303"/>
                    <a:pt x="1413" y="1305"/>
                  </a:cubicBezTo>
                  <a:cubicBezTo>
                    <a:pt x="1415" y="1307"/>
                    <a:pt x="1418" y="1309"/>
                    <a:pt x="1421" y="1312"/>
                  </a:cubicBezTo>
                  <a:cubicBezTo>
                    <a:pt x="1423" y="1315"/>
                    <a:pt x="1426" y="1317"/>
                    <a:pt x="1427" y="1319"/>
                  </a:cubicBezTo>
                  <a:cubicBezTo>
                    <a:pt x="1429" y="1321"/>
                    <a:pt x="1430" y="1323"/>
                    <a:pt x="1430" y="1324"/>
                  </a:cubicBezTo>
                  <a:cubicBezTo>
                    <a:pt x="1431" y="1326"/>
                    <a:pt x="1431" y="1327"/>
                    <a:pt x="1431" y="1328"/>
                  </a:cubicBezTo>
                  <a:cubicBezTo>
                    <a:pt x="1431" y="1329"/>
                    <a:pt x="1430" y="1330"/>
                    <a:pt x="1429" y="1331"/>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404" name="Freeform 151"/>
            <p:cNvSpPr>
              <a:spLocks noEditPoints="1"/>
            </p:cNvSpPr>
            <p:nvPr/>
          </p:nvSpPr>
          <p:spPr bwMode="auto">
            <a:xfrm>
              <a:off x="1485" y="1453"/>
              <a:ext cx="105" cy="112"/>
            </a:xfrm>
            <a:custGeom>
              <a:avLst/>
              <a:gdLst>
                <a:gd name="T0" fmla="*/ 299 w 992"/>
                <a:gd name="T1" fmla="*/ 189 h 1063"/>
                <a:gd name="T2" fmla="*/ 30 w 992"/>
                <a:gd name="T3" fmla="*/ 323 h 1063"/>
                <a:gd name="T4" fmla="*/ 5 w 992"/>
                <a:gd name="T5" fmla="*/ 304 h 1063"/>
                <a:gd name="T6" fmla="*/ 201 w 992"/>
                <a:gd name="T7" fmla="*/ 93 h 1063"/>
                <a:gd name="T8" fmla="*/ 138 w 992"/>
                <a:gd name="T9" fmla="*/ 16 h 1063"/>
                <a:gd name="T10" fmla="*/ 159 w 992"/>
                <a:gd name="T11" fmla="*/ 1 h 1063"/>
                <a:gd name="T12" fmla="*/ 323 w 992"/>
                <a:gd name="T13" fmla="*/ 169 h 1063"/>
                <a:gd name="T14" fmla="*/ 326 w 992"/>
                <a:gd name="T15" fmla="*/ 524 h 1063"/>
                <a:gd name="T16" fmla="*/ 168 w 992"/>
                <a:gd name="T17" fmla="*/ 461 h 1063"/>
                <a:gd name="T18" fmla="*/ 245 w 992"/>
                <a:gd name="T19" fmla="*/ 306 h 1063"/>
                <a:gd name="T20" fmla="*/ 403 w 992"/>
                <a:gd name="T21" fmla="*/ 369 h 1063"/>
                <a:gd name="T22" fmla="*/ 334 w 992"/>
                <a:gd name="T23" fmla="*/ 465 h 1063"/>
                <a:gd name="T24" fmla="*/ 349 w 992"/>
                <a:gd name="T25" fmla="*/ 353 h 1063"/>
                <a:gd name="T26" fmla="*/ 236 w 992"/>
                <a:gd name="T27" fmla="*/ 365 h 1063"/>
                <a:gd name="T28" fmla="*/ 222 w 992"/>
                <a:gd name="T29" fmla="*/ 478 h 1063"/>
                <a:gd name="T30" fmla="*/ 334 w 992"/>
                <a:gd name="T31" fmla="*/ 465 h 1063"/>
                <a:gd name="T32" fmla="*/ 545 w 992"/>
                <a:gd name="T33" fmla="*/ 562 h 1063"/>
                <a:gd name="T34" fmla="*/ 532 w 992"/>
                <a:gd name="T35" fmla="*/ 543 h 1063"/>
                <a:gd name="T36" fmla="*/ 480 w 992"/>
                <a:gd name="T37" fmla="*/ 527 h 1063"/>
                <a:gd name="T38" fmla="*/ 340 w 992"/>
                <a:gd name="T39" fmla="*/ 638 h 1063"/>
                <a:gd name="T40" fmla="*/ 317 w 992"/>
                <a:gd name="T41" fmla="*/ 614 h 1063"/>
                <a:gd name="T42" fmla="*/ 480 w 992"/>
                <a:gd name="T43" fmla="*/ 446 h 1063"/>
                <a:gd name="T44" fmla="*/ 502 w 992"/>
                <a:gd name="T45" fmla="*/ 463 h 1063"/>
                <a:gd name="T46" fmla="*/ 481 w 992"/>
                <a:gd name="T47" fmla="*/ 498 h 1063"/>
                <a:gd name="T48" fmla="*/ 555 w 992"/>
                <a:gd name="T49" fmla="*/ 510 h 1063"/>
                <a:gd name="T50" fmla="*/ 571 w 992"/>
                <a:gd name="T51" fmla="*/ 535 h 1063"/>
                <a:gd name="T52" fmla="*/ 560 w 992"/>
                <a:gd name="T53" fmla="*/ 552 h 1063"/>
                <a:gd name="T54" fmla="*/ 578 w 992"/>
                <a:gd name="T55" fmla="*/ 878 h 1063"/>
                <a:gd name="T56" fmla="*/ 562 w 992"/>
                <a:gd name="T57" fmla="*/ 856 h 1063"/>
                <a:gd name="T58" fmla="*/ 502 w 992"/>
                <a:gd name="T59" fmla="*/ 807 h 1063"/>
                <a:gd name="T60" fmla="*/ 516 w 992"/>
                <a:gd name="T61" fmla="*/ 680 h 1063"/>
                <a:gd name="T62" fmla="*/ 625 w 992"/>
                <a:gd name="T63" fmla="*/ 586 h 1063"/>
                <a:gd name="T64" fmla="*/ 643 w 992"/>
                <a:gd name="T65" fmla="*/ 609 h 1063"/>
                <a:gd name="T66" fmla="*/ 520 w 992"/>
                <a:gd name="T67" fmla="*/ 750 h 1063"/>
                <a:gd name="T68" fmla="*/ 609 w 992"/>
                <a:gd name="T69" fmla="*/ 802 h 1063"/>
                <a:gd name="T70" fmla="*/ 733 w 992"/>
                <a:gd name="T71" fmla="*/ 693 h 1063"/>
                <a:gd name="T72" fmla="*/ 751 w 992"/>
                <a:gd name="T73" fmla="*/ 717 h 1063"/>
                <a:gd name="T74" fmla="*/ 769 w 992"/>
                <a:gd name="T75" fmla="*/ 1063 h 1063"/>
                <a:gd name="T76" fmla="*/ 745 w 992"/>
                <a:gd name="T77" fmla="*/ 1045 h 1063"/>
                <a:gd name="T78" fmla="*/ 836 w 992"/>
                <a:gd name="T79" fmla="*/ 939 h 1063"/>
                <a:gd name="T80" fmla="*/ 851 w 992"/>
                <a:gd name="T81" fmla="*/ 856 h 1063"/>
                <a:gd name="T82" fmla="*/ 661 w 992"/>
                <a:gd name="T83" fmla="*/ 955 h 1063"/>
                <a:gd name="T84" fmla="*/ 637 w 992"/>
                <a:gd name="T85" fmla="*/ 937 h 1063"/>
                <a:gd name="T86" fmla="*/ 794 w 992"/>
                <a:gd name="T87" fmla="*/ 765 h 1063"/>
                <a:gd name="T88" fmla="*/ 813 w 992"/>
                <a:gd name="T89" fmla="*/ 773 h 1063"/>
                <a:gd name="T90" fmla="*/ 820 w 992"/>
                <a:gd name="T91" fmla="*/ 791 h 1063"/>
                <a:gd name="T92" fmla="*/ 904 w 992"/>
                <a:gd name="T93" fmla="*/ 869 h 1063"/>
                <a:gd name="T94" fmla="*/ 772 w 992"/>
                <a:gd name="T95" fmla="*/ 1061 h 1063"/>
                <a:gd name="T96" fmla="*/ 974 w 992"/>
                <a:gd name="T97" fmla="*/ 777 h 1063"/>
                <a:gd name="T98" fmla="*/ 990 w 992"/>
                <a:gd name="T99" fmla="*/ 803 h 1063"/>
                <a:gd name="T100" fmla="*/ 903 w 992"/>
                <a:gd name="T101" fmla="*/ 813 h 1063"/>
                <a:gd name="T102" fmla="*/ 884 w 992"/>
                <a:gd name="T103" fmla="*/ 793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92" h="1063">
                  <a:moveTo>
                    <a:pt x="314" y="181"/>
                  </a:moveTo>
                  <a:cubicBezTo>
                    <a:pt x="312" y="183"/>
                    <a:pt x="310" y="185"/>
                    <a:pt x="308" y="186"/>
                  </a:cubicBezTo>
                  <a:cubicBezTo>
                    <a:pt x="306" y="188"/>
                    <a:pt x="304" y="189"/>
                    <a:pt x="303" y="189"/>
                  </a:cubicBezTo>
                  <a:cubicBezTo>
                    <a:pt x="301" y="190"/>
                    <a:pt x="300" y="190"/>
                    <a:pt x="299" y="189"/>
                  </a:cubicBezTo>
                  <a:cubicBezTo>
                    <a:pt x="297" y="189"/>
                    <a:pt x="296" y="188"/>
                    <a:pt x="295" y="187"/>
                  </a:cubicBezTo>
                  <a:lnTo>
                    <a:pt x="231" y="123"/>
                  </a:lnTo>
                  <a:lnTo>
                    <a:pt x="33" y="321"/>
                  </a:lnTo>
                  <a:cubicBezTo>
                    <a:pt x="32" y="322"/>
                    <a:pt x="31" y="323"/>
                    <a:pt x="30" y="323"/>
                  </a:cubicBezTo>
                  <a:cubicBezTo>
                    <a:pt x="28" y="323"/>
                    <a:pt x="27" y="323"/>
                    <a:pt x="25" y="322"/>
                  </a:cubicBezTo>
                  <a:cubicBezTo>
                    <a:pt x="24" y="322"/>
                    <a:pt x="22" y="320"/>
                    <a:pt x="20" y="319"/>
                  </a:cubicBezTo>
                  <a:cubicBezTo>
                    <a:pt x="17" y="317"/>
                    <a:pt x="15" y="315"/>
                    <a:pt x="12" y="312"/>
                  </a:cubicBezTo>
                  <a:cubicBezTo>
                    <a:pt x="9" y="309"/>
                    <a:pt x="7" y="307"/>
                    <a:pt x="5" y="304"/>
                  </a:cubicBezTo>
                  <a:cubicBezTo>
                    <a:pt x="3" y="302"/>
                    <a:pt x="2" y="300"/>
                    <a:pt x="1" y="298"/>
                  </a:cubicBezTo>
                  <a:cubicBezTo>
                    <a:pt x="1" y="297"/>
                    <a:pt x="0" y="295"/>
                    <a:pt x="1" y="294"/>
                  </a:cubicBezTo>
                  <a:cubicBezTo>
                    <a:pt x="1" y="293"/>
                    <a:pt x="1" y="292"/>
                    <a:pt x="2" y="291"/>
                  </a:cubicBezTo>
                  <a:lnTo>
                    <a:pt x="201" y="93"/>
                  </a:lnTo>
                  <a:lnTo>
                    <a:pt x="136" y="28"/>
                  </a:lnTo>
                  <a:cubicBezTo>
                    <a:pt x="135" y="27"/>
                    <a:pt x="135" y="26"/>
                    <a:pt x="134" y="25"/>
                  </a:cubicBezTo>
                  <a:cubicBezTo>
                    <a:pt x="134" y="24"/>
                    <a:pt x="134" y="23"/>
                    <a:pt x="135" y="21"/>
                  </a:cubicBezTo>
                  <a:cubicBezTo>
                    <a:pt x="135" y="20"/>
                    <a:pt x="136" y="18"/>
                    <a:pt x="138" y="16"/>
                  </a:cubicBezTo>
                  <a:cubicBezTo>
                    <a:pt x="139" y="14"/>
                    <a:pt x="141" y="12"/>
                    <a:pt x="143" y="10"/>
                  </a:cubicBezTo>
                  <a:cubicBezTo>
                    <a:pt x="145" y="7"/>
                    <a:pt x="147" y="6"/>
                    <a:pt x="149" y="4"/>
                  </a:cubicBezTo>
                  <a:cubicBezTo>
                    <a:pt x="151" y="3"/>
                    <a:pt x="153" y="2"/>
                    <a:pt x="155" y="1"/>
                  </a:cubicBezTo>
                  <a:cubicBezTo>
                    <a:pt x="156" y="1"/>
                    <a:pt x="158" y="0"/>
                    <a:pt x="159" y="1"/>
                  </a:cubicBezTo>
                  <a:cubicBezTo>
                    <a:pt x="160" y="1"/>
                    <a:pt x="161" y="2"/>
                    <a:pt x="162" y="3"/>
                  </a:cubicBezTo>
                  <a:lnTo>
                    <a:pt x="321" y="162"/>
                  </a:lnTo>
                  <a:cubicBezTo>
                    <a:pt x="322" y="163"/>
                    <a:pt x="323" y="164"/>
                    <a:pt x="323" y="165"/>
                  </a:cubicBezTo>
                  <a:cubicBezTo>
                    <a:pt x="323" y="166"/>
                    <a:pt x="323" y="168"/>
                    <a:pt x="323" y="169"/>
                  </a:cubicBezTo>
                  <a:cubicBezTo>
                    <a:pt x="322" y="171"/>
                    <a:pt x="321" y="173"/>
                    <a:pt x="320" y="174"/>
                  </a:cubicBezTo>
                  <a:cubicBezTo>
                    <a:pt x="318" y="176"/>
                    <a:pt x="316" y="179"/>
                    <a:pt x="314" y="181"/>
                  </a:cubicBezTo>
                  <a:close/>
                  <a:moveTo>
                    <a:pt x="366" y="493"/>
                  </a:moveTo>
                  <a:cubicBezTo>
                    <a:pt x="354" y="506"/>
                    <a:pt x="340" y="516"/>
                    <a:pt x="326" y="524"/>
                  </a:cubicBezTo>
                  <a:cubicBezTo>
                    <a:pt x="311" y="531"/>
                    <a:pt x="297" y="535"/>
                    <a:pt x="282" y="537"/>
                  </a:cubicBezTo>
                  <a:cubicBezTo>
                    <a:pt x="267" y="538"/>
                    <a:pt x="253" y="535"/>
                    <a:pt x="238" y="530"/>
                  </a:cubicBezTo>
                  <a:cubicBezTo>
                    <a:pt x="224" y="524"/>
                    <a:pt x="210" y="514"/>
                    <a:pt x="196" y="501"/>
                  </a:cubicBezTo>
                  <a:cubicBezTo>
                    <a:pt x="183" y="488"/>
                    <a:pt x="174" y="474"/>
                    <a:pt x="168" y="461"/>
                  </a:cubicBezTo>
                  <a:cubicBezTo>
                    <a:pt x="162" y="447"/>
                    <a:pt x="159" y="433"/>
                    <a:pt x="160" y="419"/>
                  </a:cubicBezTo>
                  <a:cubicBezTo>
                    <a:pt x="161" y="406"/>
                    <a:pt x="166" y="392"/>
                    <a:pt x="173" y="378"/>
                  </a:cubicBezTo>
                  <a:cubicBezTo>
                    <a:pt x="180" y="364"/>
                    <a:pt x="191" y="350"/>
                    <a:pt x="204" y="337"/>
                  </a:cubicBezTo>
                  <a:cubicBezTo>
                    <a:pt x="217" y="324"/>
                    <a:pt x="231" y="314"/>
                    <a:pt x="245" y="306"/>
                  </a:cubicBezTo>
                  <a:cubicBezTo>
                    <a:pt x="259" y="299"/>
                    <a:pt x="274" y="294"/>
                    <a:pt x="288" y="293"/>
                  </a:cubicBezTo>
                  <a:cubicBezTo>
                    <a:pt x="303" y="292"/>
                    <a:pt x="318" y="295"/>
                    <a:pt x="332" y="300"/>
                  </a:cubicBezTo>
                  <a:cubicBezTo>
                    <a:pt x="347" y="306"/>
                    <a:pt x="361" y="316"/>
                    <a:pt x="374" y="329"/>
                  </a:cubicBezTo>
                  <a:cubicBezTo>
                    <a:pt x="387" y="342"/>
                    <a:pt x="397" y="356"/>
                    <a:pt x="403" y="369"/>
                  </a:cubicBezTo>
                  <a:cubicBezTo>
                    <a:pt x="408" y="383"/>
                    <a:pt x="411" y="397"/>
                    <a:pt x="410" y="411"/>
                  </a:cubicBezTo>
                  <a:cubicBezTo>
                    <a:pt x="409" y="424"/>
                    <a:pt x="405" y="438"/>
                    <a:pt x="398" y="452"/>
                  </a:cubicBezTo>
                  <a:cubicBezTo>
                    <a:pt x="390" y="466"/>
                    <a:pt x="380" y="480"/>
                    <a:pt x="366" y="493"/>
                  </a:cubicBezTo>
                  <a:close/>
                  <a:moveTo>
                    <a:pt x="334" y="465"/>
                  </a:moveTo>
                  <a:cubicBezTo>
                    <a:pt x="343" y="456"/>
                    <a:pt x="350" y="447"/>
                    <a:pt x="356" y="438"/>
                  </a:cubicBezTo>
                  <a:cubicBezTo>
                    <a:pt x="362" y="429"/>
                    <a:pt x="366" y="419"/>
                    <a:pt x="369" y="410"/>
                  </a:cubicBezTo>
                  <a:cubicBezTo>
                    <a:pt x="371" y="400"/>
                    <a:pt x="370" y="391"/>
                    <a:pt x="367" y="381"/>
                  </a:cubicBezTo>
                  <a:cubicBezTo>
                    <a:pt x="364" y="371"/>
                    <a:pt x="358" y="362"/>
                    <a:pt x="349" y="353"/>
                  </a:cubicBezTo>
                  <a:cubicBezTo>
                    <a:pt x="340" y="344"/>
                    <a:pt x="331" y="338"/>
                    <a:pt x="322" y="335"/>
                  </a:cubicBezTo>
                  <a:cubicBezTo>
                    <a:pt x="312" y="332"/>
                    <a:pt x="303" y="331"/>
                    <a:pt x="293" y="332"/>
                  </a:cubicBezTo>
                  <a:cubicBezTo>
                    <a:pt x="284" y="334"/>
                    <a:pt x="274" y="337"/>
                    <a:pt x="264" y="343"/>
                  </a:cubicBezTo>
                  <a:cubicBezTo>
                    <a:pt x="255" y="349"/>
                    <a:pt x="245" y="356"/>
                    <a:pt x="236" y="365"/>
                  </a:cubicBezTo>
                  <a:cubicBezTo>
                    <a:pt x="228" y="374"/>
                    <a:pt x="220" y="383"/>
                    <a:pt x="214" y="392"/>
                  </a:cubicBezTo>
                  <a:cubicBezTo>
                    <a:pt x="208" y="402"/>
                    <a:pt x="204" y="411"/>
                    <a:pt x="202" y="420"/>
                  </a:cubicBezTo>
                  <a:cubicBezTo>
                    <a:pt x="200" y="430"/>
                    <a:pt x="201" y="439"/>
                    <a:pt x="204" y="449"/>
                  </a:cubicBezTo>
                  <a:cubicBezTo>
                    <a:pt x="207" y="459"/>
                    <a:pt x="213" y="468"/>
                    <a:pt x="222" y="478"/>
                  </a:cubicBezTo>
                  <a:cubicBezTo>
                    <a:pt x="231" y="486"/>
                    <a:pt x="240" y="492"/>
                    <a:pt x="249" y="495"/>
                  </a:cubicBezTo>
                  <a:cubicBezTo>
                    <a:pt x="258" y="499"/>
                    <a:pt x="268" y="499"/>
                    <a:pt x="277" y="498"/>
                  </a:cubicBezTo>
                  <a:cubicBezTo>
                    <a:pt x="287" y="496"/>
                    <a:pt x="297" y="493"/>
                    <a:pt x="306" y="487"/>
                  </a:cubicBezTo>
                  <a:cubicBezTo>
                    <a:pt x="316" y="481"/>
                    <a:pt x="325" y="474"/>
                    <a:pt x="334" y="465"/>
                  </a:cubicBezTo>
                  <a:close/>
                  <a:moveTo>
                    <a:pt x="560" y="552"/>
                  </a:moveTo>
                  <a:cubicBezTo>
                    <a:pt x="557" y="554"/>
                    <a:pt x="555" y="556"/>
                    <a:pt x="553" y="558"/>
                  </a:cubicBezTo>
                  <a:cubicBezTo>
                    <a:pt x="551" y="560"/>
                    <a:pt x="550" y="561"/>
                    <a:pt x="548" y="561"/>
                  </a:cubicBezTo>
                  <a:cubicBezTo>
                    <a:pt x="547" y="562"/>
                    <a:pt x="546" y="562"/>
                    <a:pt x="545" y="562"/>
                  </a:cubicBezTo>
                  <a:cubicBezTo>
                    <a:pt x="544" y="562"/>
                    <a:pt x="543" y="562"/>
                    <a:pt x="542" y="561"/>
                  </a:cubicBezTo>
                  <a:cubicBezTo>
                    <a:pt x="541" y="560"/>
                    <a:pt x="540" y="559"/>
                    <a:pt x="539" y="557"/>
                  </a:cubicBezTo>
                  <a:cubicBezTo>
                    <a:pt x="538" y="555"/>
                    <a:pt x="537" y="553"/>
                    <a:pt x="536" y="551"/>
                  </a:cubicBezTo>
                  <a:cubicBezTo>
                    <a:pt x="535" y="548"/>
                    <a:pt x="533" y="546"/>
                    <a:pt x="532" y="543"/>
                  </a:cubicBezTo>
                  <a:cubicBezTo>
                    <a:pt x="530" y="541"/>
                    <a:pt x="528" y="538"/>
                    <a:pt x="526" y="536"/>
                  </a:cubicBezTo>
                  <a:cubicBezTo>
                    <a:pt x="523" y="533"/>
                    <a:pt x="519" y="530"/>
                    <a:pt x="515" y="529"/>
                  </a:cubicBezTo>
                  <a:cubicBezTo>
                    <a:pt x="511" y="527"/>
                    <a:pt x="506" y="526"/>
                    <a:pt x="500" y="526"/>
                  </a:cubicBezTo>
                  <a:cubicBezTo>
                    <a:pt x="495" y="525"/>
                    <a:pt x="488" y="526"/>
                    <a:pt x="480" y="527"/>
                  </a:cubicBezTo>
                  <a:cubicBezTo>
                    <a:pt x="472" y="528"/>
                    <a:pt x="463" y="529"/>
                    <a:pt x="452" y="532"/>
                  </a:cubicBezTo>
                  <a:lnTo>
                    <a:pt x="347" y="637"/>
                  </a:lnTo>
                  <a:cubicBezTo>
                    <a:pt x="346" y="637"/>
                    <a:pt x="345" y="638"/>
                    <a:pt x="344" y="638"/>
                  </a:cubicBezTo>
                  <a:cubicBezTo>
                    <a:pt x="343" y="638"/>
                    <a:pt x="342" y="638"/>
                    <a:pt x="340" y="638"/>
                  </a:cubicBezTo>
                  <a:cubicBezTo>
                    <a:pt x="339" y="637"/>
                    <a:pt x="337" y="636"/>
                    <a:pt x="335" y="634"/>
                  </a:cubicBezTo>
                  <a:cubicBezTo>
                    <a:pt x="333" y="633"/>
                    <a:pt x="330" y="630"/>
                    <a:pt x="327" y="627"/>
                  </a:cubicBezTo>
                  <a:cubicBezTo>
                    <a:pt x="324" y="624"/>
                    <a:pt x="322" y="622"/>
                    <a:pt x="321" y="620"/>
                  </a:cubicBezTo>
                  <a:cubicBezTo>
                    <a:pt x="319" y="618"/>
                    <a:pt x="318" y="616"/>
                    <a:pt x="317" y="614"/>
                  </a:cubicBezTo>
                  <a:cubicBezTo>
                    <a:pt x="316" y="613"/>
                    <a:pt x="316" y="611"/>
                    <a:pt x="316" y="610"/>
                  </a:cubicBezTo>
                  <a:cubicBezTo>
                    <a:pt x="317" y="609"/>
                    <a:pt x="317" y="608"/>
                    <a:pt x="318" y="607"/>
                  </a:cubicBezTo>
                  <a:lnTo>
                    <a:pt x="477" y="448"/>
                  </a:lnTo>
                  <a:cubicBezTo>
                    <a:pt x="478" y="447"/>
                    <a:pt x="479" y="447"/>
                    <a:pt x="480" y="446"/>
                  </a:cubicBezTo>
                  <a:cubicBezTo>
                    <a:pt x="481" y="446"/>
                    <a:pt x="483" y="446"/>
                    <a:pt x="484" y="447"/>
                  </a:cubicBezTo>
                  <a:cubicBezTo>
                    <a:pt x="486" y="447"/>
                    <a:pt x="487" y="448"/>
                    <a:pt x="489" y="450"/>
                  </a:cubicBezTo>
                  <a:cubicBezTo>
                    <a:pt x="491" y="451"/>
                    <a:pt x="493" y="453"/>
                    <a:pt x="496" y="456"/>
                  </a:cubicBezTo>
                  <a:cubicBezTo>
                    <a:pt x="499" y="459"/>
                    <a:pt x="501" y="461"/>
                    <a:pt x="502" y="463"/>
                  </a:cubicBezTo>
                  <a:cubicBezTo>
                    <a:pt x="504" y="465"/>
                    <a:pt x="505" y="466"/>
                    <a:pt x="505" y="468"/>
                  </a:cubicBezTo>
                  <a:cubicBezTo>
                    <a:pt x="506" y="469"/>
                    <a:pt x="506" y="471"/>
                    <a:pt x="505" y="472"/>
                  </a:cubicBezTo>
                  <a:cubicBezTo>
                    <a:pt x="505" y="473"/>
                    <a:pt x="505" y="474"/>
                    <a:pt x="504" y="475"/>
                  </a:cubicBezTo>
                  <a:lnTo>
                    <a:pt x="481" y="498"/>
                  </a:lnTo>
                  <a:cubicBezTo>
                    <a:pt x="491" y="496"/>
                    <a:pt x="501" y="495"/>
                    <a:pt x="508" y="494"/>
                  </a:cubicBezTo>
                  <a:cubicBezTo>
                    <a:pt x="516" y="494"/>
                    <a:pt x="523" y="495"/>
                    <a:pt x="529" y="496"/>
                  </a:cubicBezTo>
                  <a:cubicBezTo>
                    <a:pt x="534" y="497"/>
                    <a:pt x="539" y="499"/>
                    <a:pt x="544" y="501"/>
                  </a:cubicBezTo>
                  <a:cubicBezTo>
                    <a:pt x="548" y="504"/>
                    <a:pt x="552" y="507"/>
                    <a:pt x="555" y="510"/>
                  </a:cubicBezTo>
                  <a:cubicBezTo>
                    <a:pt x="557" y="512"/>
                    <a:pt x="558" y="513"/>
                    <a:pt x="560" y="516"/>
                  </a:cubicBezTo>
                  <a:cubicBezTo>
                    <a:pt x="562" y="518"/>
                    <a:pt x="564" y="520"/>
                    <a:pt x="565" y="523"/>
                  </a:cubicBezTo>
                  <a:cubicBezTo>
                    <a:pt x="567" y="525"/>
                    <a:pt x="568" y="528"/>
                    <a:pt x="569" y="530"/>
                  </a:cubicBezTo>
                  <a:cubicBezTo>
                    <a:pt x="570" y="532"/>
                    <a:pt x="571" y="534"/>
                    <a:pt x="571" y="535"/>
                  </a:cubicBezTo>
                  <a:cubicBezTo>
                    <a:pt x="571" y="537"/>
                    <a:pt x="571" y="538"/>
                    <a:pt x="571" y="538"/>
                  </a:cubicBezTo>
                  <a:cubicBezTo>
                    <a:pt x="571" y="539"/>
                    <a:pt x="570" y="540"/>
                    <a:pt x="570" y="541"/>
                  </a:cubicBezTo>
                  <a:cubicBezTo>
                    <a:pt x="569" y="542"/>
                    <a:pt x="568" y="543"/>
                    <a:pt x="566" y="545"/>
                  </a:cubicBezTo>
                  <a:cubicBezTo>
                    <a:pt x="565" y="547"/>
                    <a:pt x="563" y="549"/>
                    <a:pt x="560" y="552"/>
                  </a:cubicBezTo>
                  <a:close/>
                  <a:moveTo>
                    <a:pt x="590" y="879"/>
                  </a:moveTo>
                  <a:cubicBezTo>
                    <a:pt x="589" y="880"/>
                    <a:pt x="588" y="881"/>
                    <a:pt x="587" y="881"/>
                  </a:cubicBezTo>
                  <a:cubicBezTo>
                    <a:pt x="586" y="881"/>
                    <a:pt x="585" y="881"/>
                    <a:pt x="583" y="881"/>
                  </a:cubicBezTo>
                  <a:cubicBezTo>
                    <a:pt x="582" y="880"/>
                    <a:pt x="580" y="879"/>
                    <a:pt x="578" y="878"/>
                  </a:cubicBezTo>
                  <a:cubicBezTo>
                    <a:pt x="576" y="876"/>
                    <a:pt x="574" y="874"/>
                    <a:pt x="572" y="872"/>
                  </a:cubicBezTo>
                  <a:cubicBezTo>
                    <a:pt x="569" y="869"/>
                    <a:pt x="567" y="867"/>
                    <a:pt x="565" y="865"/>
                  </a:cubicBezTo>
                  <a:cubicBezTo>
                    <a:pt x="564" y="863"/>
                    <a:pt x="563" y="861"/>
                    <a:pt x="562" y="860"/>
                  </a:cubicBezTo>
                  <a:cubicBezTo>
                    <a:pt x="562" y="858"/>
                    <a:pt x="562" y="857"/>
                    <a:pt x="562" y="856"/>
                  </a:cubicBezTo>
                  <a:cubicBezTo>
                    <a:pt x="562" y="855"/>
                    <a:pt x="563" y="854"/>
                    <a:pt x="564" y="853"/>
                  </a:cubicBezTo>
                  <a:lnTo>
                    <a:pt x="585" y="832"/>
                  </a:lnTo>
                  <a:cubicBezTo>
                    <a:pt x="566" y="833"/>
                    <a:pt x="549" y="831"/>
                    <a:pt x="536" y="827"/>
                  </a:cubicBezTo>
                  <a:cubicBezTo>
                    <a:pt x="523" y="823"/>
                    <a:pt x="511" y="816"/>
                    <a:pt x="502" y="807"/>
                  </a:cubicBezTo>
                  <a:cubicBezTo>
                    <a:pt x="492" y="796"/>
                    <a:pt x="484" y="786"/>
                    <a:pt x="481" y="775"/>
                  </a:cubicBezTo>
                  <a:cubicBezTo>
                    <a:pt x="477" y="764"/>
                    <a:pt x="476" y="753"/>
                    <a:pt x="478" y="743"/>
                  </a:cubicBezTo>
                  <a:cubicBezTo>
                    <a:pt x="479" y="732"/>
                    <a:pt x="483" y="722"/>
                    <a:pt x="489" y="712"/>
                  </a:cubicBezTo>
                  <a:cubicBezTo>
                    <a:pt x="495" y="702"/>
                    <a:pt x="504" y="691"/>
                    <a:pt x="516" y="680"/>
                  </a:cubicBezTo>
                  <a:lnTo>
                    <a:pt x="612" y="583"/>
                  </a:lnTo>
                  <a:cubicBezTo>
                    <a:pt x="613" y="582"/>
                    <a:pt x="614" y="582"/>
                    <a:pt x="615" y="581"/>
                  </a:cubicBezTo>
                  <a:cubicBezTo>
                    <a:pt x="616" y="581"/>
                    <a:pt x="618" y="581"/>
                    <a:pt x="619" y="582"/>
                  </a:cubicBezTo>
                  <a:cubicBezTo>
                    <a:pt x="621" y="583"/>
                    <a:pt x="623" y="584"/>
                    <a:pt x="625" y="586"/>
                  </a:cubicBezTo>
                  <a:cubicBezTo>
                    <a:pt x="627" y="587"/>
                    <a:pt x="630" y="589"/>
                    <a:pt x="632" y="592"/>
                  </a:cubicBezTo>
                  <a:cubicBezTo>
                    <a:pt x="635" y="595"/>
                    <a:pt x="637" y="598"/>
                    <a:pt x="639" y="600"/>
                  </a:cubicBezTo>
                  <a:cubicBezTo>
                    <a:pt x="641" y="602"/>
                    <a:pt x="642" y="604"/>
                    <a:pt x="643" y="605"/>
                  </a:cubicBezTo>
                  <a:cubicBezTo>
                    <a:pt x="643" y="607"/>
                    <a:pt x="643" y="608"/>
                    <a:pt x="643" y="609"/>
                  </a:cubicBezTo>
                  <a:cubicBezTo>
                    <a:pt x="643" y="610"/>
                    <a:pt x="643" y="612"/>
                    <a:pt x="642" y="612"/>
                  </a:cubicBezTo>
                  <a:lnTo>
                    <a:pt x="549" y="705"/>
                  </a:lnTo>
                  <a:cubicBezTo>
                    <a:pt x="540" y="714"/>
                    <a:pt x="533" y="723"/>
                    <a:pt x="529" y="729"/>
                  </a:cubicBezTo>
                  <a:cubicBezTo>
                    <a:pt x="524" y="736"/>
                    <a:pt x="522" y="743"/>
                    <a:pt x="520" y="750"/>
                  </a:cubicBezTo>
                  <a:cubicBezTo>
                    <a:pt x="519" y="757"/>
                    <a:pt x="520" y="763"/>
                    <a:pt x="522" y="770"/>
                  </a:cubicBezTo>
                  <a:cubicBezTo>
                    <a:pt x="524" y="776"/>
                    <a:pt x="528" y="782"/>
                    <a:pt x="533" y="788"/>
                  </a:cubicBezTo>
                  <a:cubicBezTo>
                    <a:pt x="541" y="795"/>
                    <a:pt x="551" y="800"/>
                    <a:pt x="563" y="802"/>
                  </a:cubicBezTo>
                  <a:cubicBezTo>
                    <a:pt x="575" y="804"/>
                    <a:pt x="591" y="804"/>
                    <a:pt x="609" y="802"/>
                  </a:cubicBezTo>
                  <a:lnTo>
                    <a:pt x="720" y="691"/>
                  </a:lnTo>
                  <a:cubicBezTo>
                    <a:pt x="721" y="690"/>
                    <a:pt x="722" y="689"/>
                    <a:pt x="723" y="689"/>
                  </a:cubicBezTo>
                  <a:cubicBezTo>
                    <a:pt x="724" y="689"/>
                    <a:pt x="726" y="689"/>
                    <a:pt x="727" y="690"/>
                  </a:cubicBezTo>
                  <a:cubicBezTo>
                    <a:pt x="729" y="690"/>
                    <a:pt x="731" y="692"/>
                    <a:pt x="733" y="693"/>
                  </a:cubicBezTo>
                  <a:cubicBezTo>
                    <a:pt x="735" y="695"/>
                    <a:pt x="737" y="697"/>
                    <a:pt x="740" y="700"/>
                  </a:cubicBezTo>
                  <a:cubicBezTo>
                    <a:pt x="743" y="703"/>
                    <a:pt x="745" y="705"/>
                    <a:pt x="747" y="707"/>
                  </a:cubicBezTo>
                  <a:cubicBezTo>
                    <a:pt x="749" y="710"/>
                    <a:pt x="750" y="711"/>
                    <a:pt x="750" y="713"/>
                  </a:cubicBezTo>
                  <a:cubicBezTo>
                    <a:pt x="751" y="715"/>
                    <a:pt x="751" y="716"/>
                    <a:pt x="751" y="717"/>
                  </a:cubicBezTo>
                  <a:cubicBezTo>
                    <a:pt x="751" y="718"/>
                    <a:pt x="750" y="719"/>
                    <a:pt x="749" y="720"/>
                  </a:cubicBezTo>
                  <a:lnTo>
                    <a:pt x="590" y="879"/>
                  </a:lnTo>
                  <a:close/>
                  <a:moveTo>
                    <a:pt x="772" y="1061"/>
                  </a:moveTo>
                  <a:cubicBezTo>
                    <a:pt x="771" y="1062"/>
                    <a:pt x="770" y="1063"/>
                    <a:pt x="769" y="1063"/>
                  </a:cubicBezTo>
                  <a:cubicBezTo>
                    <a:pt x="768" y="1063"/>
                    <a:pt x="766" y="1063"/>
                    <a:pt x="765" y="1062"/>
                  </a:cubicBezTo>
                  <a:cubicBezTo>
                    <a:pt x="763" y="1062"/>
                    <a:pt x="762" y="1060"/>
                    <a:pt x="759" y="1059"/>
                  </a:cubicBezTo>
                  <a:cubicBezTo>
                    <a:pt x="757" y="1057"/>
                    <a:pt x="755" y="1055"/>
                    <a:pt x="752" y="1052"/>
                  </a:cubicBezTo>
                  <a:cubicBezTo>
                    <a:pt x="749" y="1049"/>
                    <a:pt x="747" y="1047"/>
                    <a:pt x="745" y="1045"/>
                  </a:cubicBezTo>
                  <a:cubicBezTo>
                    <a:pt x="744" y="1042"/>
                    <a:pt x="742" y="1041"/>
                    <a:pt x="742" y="1039"/>
                  </a:cubicBezTo>
                  <a:cubicBezTo>
                    <a:pt x="741" y="1037"/>
                    <a:pt x="741" y="1036"/>
                    <a:pt x="741" y="1035"/>
                  </a:cubicBezTo>
                  <a:cubicBezTo>
                    <a:pt x="741" y="1034"/>
                    <a:pt x="742" y="1033"/>
                    <a:pt x="743" y="1032"/>
                  </a:cubicBezTo>
                  <a:lnTo>
                    <a:pt x="836" y="939"/>
                  </a:lnTo>
                  <a:cubicBezTo>
                    <a:pt x="845" y="930"/>
                    <a:pt x="852" y="922"/>
                    <a:pt x="856" y="915"/>
                  </a:cubicBezTo>
                  <a:cubicBezTo>
                    <a:pt x="860" y="908"/>
                    <a:pt x="863" y="901"/>
                    <a:pt x="864" y="894"/>
                  </a:cubicBezTo>
                  <a:cubicBezTo>
                    <a:pt x="865" y="888"/>
                    <a:pt x="865" y="881"/>
                    <a:pt x="863" y="875"/>
                  </a:cubicBezTo>
                  <a:cubicBezTo>
                    <a:pt x="860" y="868"/>
                    <a:pt x="857" y="862"/>
                    <a:pt x="851" y="856"/>
                  </a:cubicBezTo>
                  <a:cubicBezTo>
                    <a:pt x="844" y="849"/>
                    <a:pt x="834" y="844"/>
                    <a:pt x="821" y="842"/>
                  </a:cubicBezTo>
                  <a:cubicBezTo>
                    <a:pt x="809" y="840"/>
                    <a:pt x="793" y="840"/>
                    <a:pt x="775" y="842"/>
                  </a:cubicBezTo>
                  <a:lnTo>
                    <a:pt x="664" y="953"/>
                  </a:lnTo>
                  <a:cubicBezTo>
                    <a:pt x="663" y="954"/>
                    <a:pt x="662" y="955"/>
                    <a:pt x="661" y="955"/>
                  </a:cubicBezTo>
                  <a:cubicBezTo>
                    <a:pt x="660" y="955"/>
                    <a:pt x="659" y="955"/>
                    <a:pt x="657" y="954"/>
                  </a:cubicBezTo>
                  <a:cubicBezTo>
                    <a:pt x="656" y="954"/>
                    <a:pt x="654" y="953"/>
                    <a:pt x="652" y="951"/>
                  </a:cubicBezTo>
                  <a:cubicBezTo>
                    <a:pt x="650" y="949"/>
                    <a:pt x="647" y="947"/>
                    <a:pt x="644" y="944"/>
                  </a:cubicBezTo>
                  <a:cubicBezTo>
                    <a:pt x="641" y="941"/>
                    <a:pt x="639" y="939"/>
                    <a:pt x="637" y="937"/>
                  </a:cubicBezTo>
                  <a:cubicBezTo>
                    <a:pt x="636" y="935"/>
                    <a:pt x="635" y="933"/>
                    <a:pt x="634" y="931"/>
                  </a:cubicBezTo>
                  <a:cubicBezTo>
                    <a:pt x="633" y="930"/>
                    <a:pt x="633" y="928"/>
                    <a:pt x="633" y="927"/>
                  </a:cubicBezTo>
                  <a:cubicBezTo>
                    <a:pt x="633" y="926"/>
                    <a:pt x="634" y="925"/>
                    <a:pt x="635" y="924"/>
                  </a:cubicBezTo>
                  <a:lnTo>
                    <a:pt x="794" y="765"/>
                  </a:lnTo>
                  <a:cubicBezTo>
                    <a:pt x="795" y="764"/>
                    <a:pt x="796" y="763"/>
                    <a:pt x="797" y="763"/>
                  </a:cubicBezTo>
                  <a:cubicBezTo>
                    <a:pt x="798" y="763"/>
                    <a:pt x="799" y="763"/>
                    <a:pt x="801" y="764"/>
                  </a:cubicBezTo>
                  <a:cubicBezTo>
                    <a:pt x="803" y="764"/>
                    <a:pt x="804" y="765"/>
                    <a:pt x="806" y="767"/>
                  </a:cubicBezTo>
                  <a:cubicBezTo>
                    <a:pt x="808" y="768"/>
                    <a:pt x="810" y="770"/>
                    <a:pt x="813" y="773"/>
                  </a:cubicBezTo>
                  <a:cubicBezTo>
                    <a:pt x="815" y="775"/>
                    <a:pt x="818" y="778"/>
                    <a:pt x="819" y="780"/>
                  </a:cubicBezTo>
                  <a:cubicBezTo>
                    <a:pt x="821" y="781"/>
                    <a:pt x="822" y="783"/>
                    <a:pt x="822" y="785"/>
                  </a:cubicBezTo>
                  <a:cubicBezTo>
                    <a:pt x="822" y="786"/>
                    <a:pt x="822" y="787"/>
                    <a:pt x="822" y="788"/>
                  </a:cubicBezTo>
                  <a:cubicBezTo>
                    <a:pt x="822" y="789"/>
                    <a:pt x="821" y="790"/>
                    <a:pt x="820" y="791"/>
                  </a:cubicBezTo>
                  <a:lnTo>
                    <a:pt x="799" y="812"/>
                  </a:lnTo>
                  <a:cubicBezTo>
                    <a:pt x="818" y="811"/>
                    <a:pt x="835" y="813"/>
                    <a:pt x="848" y="817"/>
                  </a:cubicBezTo>
                  <a:cubicBezTo>
                    <a:pt x="862" y="821"/>
                    <a:pt x="873" y="828"/>
                    <a:pt x="882" y="837"/>
                  </a:cubicBezTo>
                  <a:cubicBezTo>
                    <a:pt x="893" y="848"/>
                    <a:pt x="900" y="858"/>
                    <a:pt x="904" y="869"/>
                  </a:cubicBezTo>
                  <a:cubicBezTo>
                    <a:pt x="907" y="880"/>
                    <a:pt x="908" y="891"/>
                    <a:pt x="907" y="901"/>
                  </a:cubicBezTo>
                  <a:cubicBezTo>
                    <a:pt x="905" y="912"/>
                    <a:pt x="901" y="922"/>
                    <a:pt x="895" y="932"/>
                  </a:cubicBezTo>
                  <a:cubicBezTo>
                    <a:pt x="889" y="942"/>
                    <a:pt x="880" y="953"/>
                    <a:pt x="869" y="964"/>
                  </a:cubicBezTo>
                  <a:lnTo>
                    <a:pt x="772" y="1061"/>
                  </a:lnTo>
                  <a:close/>
                  <a:moveTo>
                    <a:pt x="957" y="773"/>
                  </a:moveTo>
                  <a:cubicBezTo>
                    <a:pt x="959" y="772"/>
                    <a:pt x="961" y="772"/>
                    <a:pt x="963" y="772"/>
                  </a:cubicBezTo>
                  <a:cubicBezTo>
                    <a:pt x="965" y="772"/>
                    <a:pt x="967" y="773"/>
                    <a:pt x="968" y="773"/>
                  </a:cubicBezTo>
                  <a:cubicBezTo>
                    <a:pt x="970" y="774"/>
                    <a:pt x="972" y="776"/>
                    <a:pt x="974" y="777"/>
                  </a:cubicBezTo>
                  <a:cubicBezTo>
                    <a:pt x="977" y="779"/>
                    <a:pt x="979" y="781"/>
                    <a:pt x="982" y="784"/>
                  </a:cubicBezTo>
                  <a:cubicBezTo>
                    <a:pt x="985" y="788"/>
                    <a:pt x="988" y="790"/>
                    <a:pt x="989" y="793"/>
                  </a:cubicBezTo>
                  <a:cubicBezTo>
                    <a:pt x="991" y="795"/>
                    <a:pt x="992" y="797"/>
                    <a:pt x="992" y="799"/>
                  </a:cubicBezTo>
                  <a:cubicBezTo>
                    <a:pt x="992" y="801"/>
                    <a:pt x="992" y="802"/>
                    <a:pt x="990" y="803"/>
                  </a:cubicBezTo>
                  <a:cubicBezTo>
                    <a:pt x="989" y="804"/>
                    <a:pt x="988" y="804"/>
                    <a:pt x="986" y="804"/>
                  </a:cubicBezTo>
                  <a:lnTo>
                    <a:pt x="913" y="813"/>
                  </a:lnTo>
                  <a:cubicBezTo>
                    <a:pt x="910" y="814"/>
                    <a:pt x="909" y="814"/>
                    <a:pt x="907" y="814"/>
                  </a:cubicBezTo>
                  <a:cubicBezTo>
                    <a:pt x="906" y="814"/>
                    <a:pt x="904" y="813"/>
                    <a:pt x="903" y="813"/>
                  </a:cubicBezTo>
                  <a:cubicBezTo>
                    <a:pt x="901" y="812"/>
                    <a:pt x="900" y="811"/>
                    <a:pt x="898" y="810"/>
                  </a:cubicBezTo>
                  <a:cubicBezTo>
                    <a:pt x="896" y="808"/>
                    <a:pt x="894" y="806"/>
                    <a:pt x="892" y="804"/>
                  </a:cubicBezTo>
                  <a:cubicBezTo>
                    <a:pt x="889" y="801"/>
                    <a:pt x="887" y="799"/>
                    <a:pt x="886" y="797"/>
                  </a:cubicBezTo>
                  <a:cubicBezTo>
                    <a:pt x="885" y="795"/>
                    <a:pt x="884" y="794"/>
                    <a:pt x="884" y="793"/>
                  </a:cubicBezTo>
                  <a:cubicBezTo>
                    <a:pt x="884" y="791"/>
                    <a:pt x="885" y="790"/>
                    <a:pt x="886" y="790"/>
                  </a:cubicBezTo>
                  <a:cubicBezTo>
                    <a:pt x="887" y="789"/>
                    <a:pt x="889" y="788"/>
                    <a:pt x="891" y="788"/>
                  </a:cubicBezTo>
                  <a:lnTo>
                    <a:pt x="957" y="773"/>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405" name="Freeform 152"/>
            <p:cNvSpPr>
              <a:spLocks noEditPoints="1"/>
            </p:cNvSpPr>
            <p:nvPr/>
          </p:nvSpPr>
          <p:spPr bwMode="auto">
            <a:xfrm>
              <a:off x="1586" y="1555"/>
              <a:ext cx="168" cy="174"/>
            </a:xfrm>
            <a:custGeom>
              <a:avLst/>
              <a:gdLst>
                <a:gd name="T0" fmla="*/ 141 w 1590"/>
                <a:gd name="T1" fmla="*/ 435 h 1649"/>
                <a:gd name="T2" fmla="*/ 44 w 1590"/>
                <a:gd name="T3" fmla="*/ 324 h 1649"/>
                <a:gd name="T4" fmla="*/ 1 w 1590"/>
                <a:gd name="T5" fmla="*/ 293 h 1649"/>
                <a:gd name="T6" fmla="*/ 169 w 1590"/>
                <a:gd name="T7" fmla="*/ 3 h 1649"/>
                <a:gd name="T8" fmla="*/ 49 w 1590"/>
                <a:gd name="T9" fmla="*/ 278 h 1649"/>
                <a:gd name="T10" fmla="*/ 313 w 1590"/>
                <a:gd name="T11" fmla="*/ 147 h 1649"/>
                <a:gd name="T12" fmla="*/ 185 w 1590"/>
                <a:gd name="T13" fmla="*/ 414 h 1649"/>
                <a:gd name="T14" fmla="*/ 457 w 1590"/>
                <a:gd name="T15" fmla="*/ 291 h 1649"/>
                <a:gd name="T16" fmla="*/ 388 w 1590"/>
                <a:gd name="T17" fmla="*/ 629 h 1649"/>
                <a:gd name="T18" fmla="*/ 269 w 1590"/>
                <a:gd name="T19" fmla="*/ 551 h 1649"/>
                <a:gd name="T20" fmla="*/ 291 w 1590"/>
                <a:gd name="T21" fmla="*/ 515 h 1649"/>
                <a:gd name="T22" fmla="*/ 339 w 1590"/>
                <a:gd name="T23" fmla="*/ 589 h 1649"/>
                <a:gd name="T24" fmla="*/ 383 w 1590"/>
                <a:gd name="T25" fmla="*/ 534 h 1649"/>
                <a:gd name="T26" fmla="*/ 403 w 1590"/>
                <a:gd name="T27" fmla="*/ 412 h 1649"/>
                <a:gd name="T28" fmla="*/ 513 w 1590"/>
                <a:gd name="T29" fmla="*/ 477 h 1649"/>
                <a:gd name="T30" fmla="*/ 501 w 1590"/>
                <a:gd name="T31" fmla="*/ 508 h 1649"/>
                <a:gd name="T32" fmla="*/ 477 w 1590"/>
                <a:gd name="T33" fmla="*/ 476 h 1649"/>
                <a:gd name="T34" fmla="*/ 403 w 1590"/>
                <a:gd name="T35" fmla="*/ 468 h 1649"/>
                <a:gd name="T36" fmla="*/ 428 w 1590"/>
                <a:gd name="T37" fmla="*/ 590 h 1649"/>
                <a:gd name="T38" fmla="*/ 537 w 1590"/>
                <a:gd name="T39" fmla="*/ 802 h 1649"/>
                <a:gd name="T40" fmla="*/ 439 w 1590"/>
                <a:gd name="T41" fmla="*/ 695 h 1649"/>
                <a:gd name="T42" fmla="*/ 648 w 1590"/>
                <a:gd name="T43" fmla="*/ 598 h 1649"/>
                <a:gd name="T44" fmla="*/ 676 w 1590"/>
                <a:gd name="T45" fmla="*/ 670 h 1649"/>
                <a:gd name="T46" fmla="*/ 644 w 1590"/>
                <a:gd name="T47" fmla="*/ 662 h 1649"/>
                <a:gd name="T48" fmla="*/ 482 w 1590"/>
                <a:gd name="T49" fmla="*/ 700 h 1649"/>
                <a:gd name="T50" fmla="*/ 565 w 1590"/>
                <a:gd name="T51" fmla="*/ 774 h 1649"/>
                <a:gd name="T52" fmla="*/ 710 w 1590"/>
                <a:gd name="T53" fmla="*/ 999 h 1649"/>
                <a:gd name="T54" fmla="*/ 682 w 1590"/>
                <a:gd name="T55" fmla="*/ 971 h 1649"/>
                <a:gd name="T56" fmla="*/ 792 w 1590"/>
                <a:gd name="T57" fmla="*/ 793 h 1649"/>
                <a:gd name="T58" fmla="*/ 593 w 1590"/>
                <a:gd name="T59" fmla="*/ 887 h 1649"/>
                <a:gd name="T60" fmla="*/ 812 w 1590"/>
                <a:gd name="T61" fmla="*/ 624 h 1649"/>
                <a:gd name="T62" fmla="*/ 843 w 1590"/>
                <a:gd name="T63" fmla="*/ 646 h 1649"/>
                <a:gd name="T64" fmla="*/ 845 w 1590"/>
                <a:gd name="T65" fmla="*/ 806 h 1649"/>
                <a:gd name="T66" fmla="*/ 946 w 1590"/>
                <a:gd name="T67" fmla="*/ 1139 h 1649"/>
                <a:gd name="T68" fmla="*/ 793 w 1590"/>
                <a:gd name="T69" fmla="*/ 993 h 1649"/>
                <a:gd name="T70" fmla="*/ 1023 w 1590"/>
                <a:gd name="T71" fmla="*/ 984 h 1649"/>
                <a:gd name="T72" fmla="*/ 989 w 1590"/>
                <a:gd name="T73" fmla="*/ 1025 h 1649"/>
                <a:gd name="T74" fmla="*/ 856 w 1590"/>
                <a:gd name="T75" fmla="*/ 980 h 1649"/>
                <a:gd name="T76" fmla="*/ 898 w 1590"/>
                <a:gd name="T77" fmla="*/ 1113 h 1649"/>
                <a:gd name="T78" fmla="*/ 1074 w 1590"/>
                <a:gd name="T79" fmla="*/ 1368 h 1649"/>
                <a:gd name="T80" fmla="*/ 1081 w 1590"/>
                <a:gd name="T81" fmla="*/ 1323 h 1649"/>
                <a:gd name="T82" fmla="*/ 1017 w 1590"/>
                <a:gd name="T83" fmla="*/ 1146 h 1649"/>
                <a:gd name="T84" fmla="*/ 1200 w 1590"/>
                <a:gd name="T85" fmla="*/ 1198 h 1649"/>
                <a:gd name="T86" fmla="*/ 1319 w 1590"/>
                <a:gd name="T87" fmla="*/ 1122 h 1649"/>
                <a:gd name="T88" fmla="*/ 1168 w 1590"/>
                <a:gd name="T89" fmla="*/ 1184 h 1649"/>
                <a:gd name="T90" fmla="*/ 1029 w 1590"/>
                <a:gd name="T91" fmla="*/ 1198 h 1649"/>
                <a:gd name="T92" fmla="*/ 1077 w 1590"/>
                <a:gd name="T93" fmla="*/ 1294 h 1649"/>
                <a:gd name="T94" fmla="*/ 1266 w 1590"/>
                <a:gd name="T95" fmla="*/ 1561 h 1649"/>
                <a:gd name="T96" fmla="*/ 1343 w 1590"/>
                <a:gd name="T97" fmla="*/ 1441 h 1649"/>
                <a:gd name="T98" fmla="*/ 1282 w 1590"/>
                <a:gd name="T99" fmla="*/ 1344 h 1649"/>
                <a:gd name="T100" fmla="*/ 1144 w 1590"/>
                <a:gd name="T101" fmla="*/ 1439 h 1649"/>
                <a:gd name="T102" fmla="*/ 1308 w 1590"/>
                <a:gd name="T103" fmla="*/ 1265 h 1649"/>
                <a:gd name="T104" fmla="*/ 1327 w 1590"/>
                <a:gd name="T105" fmla="*/ 1293 h 1649"/>
                <a:gd name="T106" fmla="*/ 1402 w 1590"/>
                <a:gd name="T107" fmla="*/ 1434 h 1649"/>
                <a:gd name="T108" fmla="*/ 1351 w 1590"/>
                <a:gd name="T109" fmla="*/ 1645 h 1649"/>
                <a:gd name="T110" fmla="*/ 1493 w 1590"/>
                <a:gd name="T111" fmla="*/ 1459 h 1649"/>
                <a:gd name="T112" fmla="*/ 1524 w 1590"/>
                <a:gd name="T113" fmla="*/ 1481 h 1649"/>
                <a:gd name="T114" fmla="*/ 1544 w 1590"/>
                <a:gd name="T115" fmla="*/ 1438 h 1649"/>
                <a:gd name="T116" fmla="*/ 1580 w 1590"/>
                <a:gd name="T117" fmla="*/ 1438 h 1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90" h="1649">
                  <a:moveTo>
                    <a:pt x="179" y="458"/>
                  </a:moveTo>
                  <a:cubicBezTo>
                    <a:pt x="177" y="459"/>
                    <a:pt x="175" y="460"/>
                    <a:pt x="173" y="460"/>
                  </a:cubicBezTo>
                  <a:cubicBezTo>
                    <a:pt x="171" y="460"/>
                    <a:pt x="169" y="460"/>
                    <a:pt x="166" y="458"/>
                  </a:cubicBezTo>
                  <a:cubicBezTo>
                    <a:pt x="164" y="457"/>
                    <a:pt x="162" y="456"/>
                    <a:pt x="159" y="454"/>
                  </a:cubicBezTo>
                  <a:cubicBezTo>
                    <a:pt x="157" y="451"/>
                    <a:pt x="153" y="448"/>
                    <a:pt x="150" y="445"/>
                  </a:cubicBezTo>
                  <a:cubicBezTo>
                    <a:pt x="146" y="441"/>
                    <a:pt x="143" y="438"/>
                    <a:pt x="141" y="435"/>
                  </a:cubicBezTo>
                  <a:cubicBezTo>
                    <a:pt x="139" y="433"/>
                    <a:pt x="137" y="430"/>
                    <a:pt x="136" y="428"/>
                  </a:cubicBezTo>
                  <a:cubicBezTo>
                    <a:pt x="135" y="426"/>
                    <a:pt x="134" y="424"/>
                    <a:pt x="134" y="422"/>
                  </a:cubicBezTo>
                  <a:cubicBezTo>
                    <a:pt x="135" y="420"/>
                    <a:pt x="135" y="418"/>
                    <a:pt x="136" y="416"/>
                  </a:cubicBezTo>
                  <a:lnTo>
                    <a:pt x="261" y="195"/>
                  </a:lnTo>
                  <a:lnTo>
                    <a:pt x="261" y="195"/>
                  </a:lnTo>
                  <a:lnTo>
                    <a:pt x="44" y="324"/>
                  </a:lnTo>
                  <a:cubicBezTo>
                    <a:pt x="42" y="325"/>
                    <a:pt x="40" y="326"/>
                    <a:pt x="38" y="326"/>
                  </a:cubicBezTo>
                  <a:cubicBezTo>
                    <a:pt x="36" y="326"/>
                    <a:pt x="34" y="325"/>
                    <a:pt x="32" y="324"/>
                  </a:cubicBezTo>
                  <a:cubicBezTo>
                    <a:pt x="30" y="323"/>
                    <a:pt x="28" y="322"/>
                    <a:pt x="25" y="320"/>
                  </a:cubicBezTo>
                  <a:cubicBezTo>
                    <a:pt x="23" y="318"/>
                    <a:pt x="19" y="315"/>
                    <a:pt x="16" y="311"/>
                  </a:cubicBezTo>
                  <a:cubicBezTo>
                    <a:pt x="12" y="307"/>
                    <a:pt x="9" y="304"/>
                    <a:pt x="6" y="301"/>
                  </a:cubicBezTo>
                  <a:cubicBezTo>
                    <a:pt x="4" y="298"/>
                    <a:pt x="2" y="295"/>
                    <a:pt x="1" y="293"/>
                  </a:cubicBezTo>
                  <a:cubicBezTo>
                    <a:pt x="0" y="291"/>
                    <a:pt x="0" y="289"/>
                    <a:pt x="0" y="287"/>
                  </a:cubicBezTo>
                  <a:cubicBezTo>
                    <a:pt x="0" y="285"/>
                    <a:pt x="0" y="283"/>
                    <a:pt x="2" y="281"/>
                  </a:cubicBezTo>
                  <a:lnTo>
                    <a:pt x="153" y="10"/>
                  </a:lnTo>
                  <a:cubicBezTo>
                    <a:pt x="155" y="6"/>
                    <a:pt x="156" y="4"/>
                    <a:pt x="158" y="2"/>
                  </a:cubicBezTo>
                  <a:cubicBezTo>
                    <a:pt x="159" y="0"/>
                    <a:pt x="161" y="0"/>
                    <a:pt x="163" y="0"/>
                  </a:cubicBezTo>
                  <a:cubicBezTo>
                    <a:pt x="165" y="0"/>
                    <a:pt x="167" y="1"/>
                    <a:pt x="169" y="3"/>
                  </a:cubicBezTo>
                  <a:cubicBezTo>
                    <a:pt x="172" y="5"/>
                    <a:pt x="175" y="8"/>
                    <a:pt x="179" y="12"/>
                  </a:cubicBezTo>
                  <a:cubicBezTo>
                    <a:pt x="182" y="16"/>
                    <a:pt x="185" y="18"/>
                    <a:pt x="187" y="21"/>
                  </a:cubicBezTo>
                  <a:cubicBezTo>
                    <a:pt x="189" y="23"/>
                    <a:pt x="190" y="25"/>
                    <a:pt x="191" y="27"/>
                  </a:cubicBezTo>
                  <a:cubicBezTo>
                    <a:pt x="191" y="28"/>
                    <a:pt x="192" y="30"/>
                    <a:pt x="191" y="31"/>
                  </a:cubicBezTo>
                  <a:cubicBezTo>
                    <a:pt x="191" y="32"/>
                    <a:pt x="190" y="33"/>
                    <a:pt x="189" y="35"/>
                  </a:cubicBezTo>
                  <a:lnTo>
                    <a:pt x="49" y="278"/>
                  </a:lnTo>
                  <a:lnTo>
                    <a:pt x="49" y="278"/>
                  </a:lnTo>
                  <a:lnTo>
                    <a:pt x="289" y="136"/>
                  </a:lnTo>
                  <a:cubicBezTo>
                    <a:pt x="291" y="135"/>
                    <a:pt x="292" y="134"/>
                    <a:pt x="294" y="134"/>
                  </a:cubicBezTo>
                  <a:cubicBezTo>
                    <a:pt x="295" y="133"/>
                    <a:pt x="297" y="134"/>
                    <a:pt x="298" y="134"/>
                  </a:cubicBezTo>
                  <a:cubicBezTo>
                    <a:pt x="300" y="135"/>
                    <a:pt x="302" y="136"/>
                    <a:pt x="304" y="138"/>
                  </a:cubicBezTo>
                  <a:cubicBezTo>
                    <a:pt x="307" y="140"/>
                    <a:pt x="310" y="143"/>
                    <a:pt x="313" y="147"/>
                  </a:cubicBezTo>
                  <a:cubicBezTo>
                    <a:pt x="317" y="150"/>
                    <a:pt x="319" y="153"/>
                    <a:pt x="321" y="155"/>
                  </a:cubicBezTo>
                  <a:cubicBezTo>
                    <a:pt x="322" y="157"/>
                    <a:pt x="324" y="159"/>
                    <a:pt x="324" y="161"/>
                  </a:cubicBezTo>
                  <a:cubicBezTo>
                    <a:pt x="325" y="162"/>
                    <a:pt x="325" y="164"/>
                    <a:pt x="325" y="165"/>
                  </a:cubicBezTo>
                  <a:cubicBezTo>
                    <a:pt x="325" y="167"/>
                    <a:pt x="324" y="168"/>
                    <a:pt x="323" y="170"/>
                  </a:cubicBezTo>
                  <a:lnTo>
                    <a:pt x="184" y="413"/>
                  </a:lnTo>
                  <a:lnTo>
                    <a:pt x="185" y="414"/>
                  </a:lnTo>
                  <a:lnTo>
                    <a:pt x="426" y="273"/>
                  </a:lnTo>
                  <a:cubicBezTo>
                    <a:pt x="428" y="272"/>
                    <a:pt x="429" y="271"/>
                    <a:pt x="431" y="271"/>
                  </a:cubicBezTo>
                  <a:cubicBezTo>
                    <a:pt x="432" y="270"/>
                    <a:pt x="433" y="270"/>
                    <a:pt x="435" y="271"/>
                  </a:cubicBezTo>
                  <a:cubicBezTo>
                    <a:pt x="436" y="272"/>
                    <a:pt x="438" y="273"/>
                    <a:pt x="441" y="275"/>
                  </a:cubicBezTo>
                  <a:cubicBezTo>
                    <a:pt x="443" y="276"/>
                    <a:pt x="446" y="279"/>
                    <a:pt x="449" y="282"/>
                  </a:cubicBezTo>
                  <a:cubicBezTo>
                    <a:pt x="453" y="286"/>
                    <a:pt x="455" y="289"/>
                    <a:pt x="457" y="291"/>
                  </a:cubicBezTo>
                  <a:cubicBezTo>
                    <a:pt x="459" y="294"/>
                    <a:pt x="460" y="296"/>
                    <a:pt x="460" y="298"/>
                  </a:cubicBezTo>
                  <a:cubicBezTo>
                    <a:pt x="460" y="299"/>
                    <a:pt x="459" y="301"/>
                    <a:pt x="458" y="302"/>
                  </a:cubicBezTo>
                  <a:cubicBezTo>
                    <a:pt x="456" y="304"/>
                    <a:pt x="454" y="306"/>
                    <a:pt x="450" y="308"/>
                  </a:cubicBezTo>
                  <a:lnTo>
                    <a:pt x="179" y="458"/>
                  </a:lnTo>
                  <a:close/>
                  <a:moveTo>
                    <a:pt x="414" y="611"/>
                  </a:moveTo>
                  <a:cubicBezTo>
                    <a:pt x="406" y="620"/>
                    <a:pt x="397" y="625"/>
                    <a:pt x="388" y="629"/>
                  </a:cubicBezTo>
                  <a:cubicBezTo>
                    <a:pt x="378" y="632"/>
                    <a:pt x="369" y="633"/>
                    <a:pt x="359" y="632"/>
                  </a:cubicBezTo>
                  <a:cubicBezTo>
                    <a:pt x="349" y="631"/>
                    <a:pt x="339" y="628"/>
                    <a:pt x="329" y="622"/>
                  </a:cubicBezTo>
                  <a:cubicBezTo>
                    <a:pt x="319" y="617"/>
                    <a:pt x="310" y="609"/>
                    <a:pt x="301" y="600"/>
                  </a:cubicBezTo>
                  <a:cubicBezTo>
                    <a:pt x="295" y="595"/>
                    <a:pt x="290" y="589"/>
                    <a:pt x="286" y="583"/>
                  </a:cubicBezTo>
                  <a:cubicBezTo>
                    <a:pt x="281" y="577"/>
                    <a:pt x="278" y="571"/>
                    <a:pt x="275" y="566"/>
                  </a:cubicBezTo>
                  <a:cubicBezTo>
                    <a:pt x="273" y="560"/>
                    <a:pt x="270" y="555"/>
                    <a:pt x="269" y="551"/>
                  </a:cubicBezTo>
                  <a:cubicBezTo>
                    <a:pt x="268" y="547"/>
                    <a:pt x="267" y="543"/>
                    <a:pt x="267" y="541"/>
                  </a:cubicBezTo>
                  <a:cubicBezTo>
                    <a:pt x="267" y="538"/>
                    <a:pt x="268" y="536"/>
                    <a:pt x="269" y="533"/>
                  </a:cubicBezTo>
                  <a:cubicBezTo>
                    <a:pt x="271" y="530"/>
                    <a:pt x="273" y="527"/>
                    <a:pt x="277" y="523"/>
                  </a:cubicBezTo>
                  <a:cubicBezTo>
                    <a:pt x="279" y="521"/>
                    <a:pt x="281" y="519"/>
                    <a:pt x="283" y="518"/>
                  </a:cubicBezTo>
                  <a:cubicBezTo>
                    <a:pt x="285" y="517"/>
                    <a:pt x="286" y="516"/>
                    <a:pt x="287" y="515"/>
                  </a:cubicBezTo>
                  <a:cubicBezTo>
                    <a:pt x="289" y="515"/>
                    <a:pt x="290" y="515"/>
                    <a:pt x="291" y="515"/>
                  </a:cubicBezTo>
                  <a:cubicBezTo>
                    <a:pt x="292" y="515"/>
                    <a:pt x="293" y="516"/>
                    <a:pt x="294" y="516"/>
                  </a:cubicBezTo>
                  <a:cubicBezTo>
                    <a:pt x="295" y="518"/>
                    <a:pt x="296" y="520"/>
                    <a:pt x="297" y="525"/>
                  </a:cubicBezTo>
                  <a:cubicBezTo>
                    <a:pt x="298" y="529"/>
                    <a:pt x="299" y="533"/>
                    <a:pt x="301" y="539"/>
                  </a:cubicBezTo>
                  <a:cubicBezTo>
                    <a:pt x="303" y="545"/>
                    <a:pt x="306" y="551"/>
                    <a:pt x="309" y="557"/>
                  </a:cubicBezTo>
                  <a:cubicBezTo>
                    <a:pt x="313" y="564"/>
                    <a:pt x="318" y="571"/>
                    <a:pt x="324" y="577"/>
                  </a:cubicBezTo>
                  <a:cubicBezTo>
                    <a:pt x="329" y="582"/>
                    <a:pt x="334" y="586"/>
                    <a:pt x="339" y="589"/>
                  </a:cubicBezTo>
                  <a:cubicBezTo>
                    <a:pt x="344" y="592"/>
                    <a:pt x="350" y="594"/>
                    <a:pt x="355" y="595"/>
                  </a:cubicBezTo>
                  <a:cubicBezTo>
                    <a:pt x="360" y="596"/>
                    <a:pt x="364" y="595"/>
                    <a:pt x="369" y="594"/>
                  </a:cubicBezTo>
                  <a:cubicBezTo>
                    <a:pt x="374" y="592"/>
                    <a:pt x="379" y="589"/>
                    <a:pt x="383" y="585"/>
                  </a:cubicBezTo>
                  <a:cubicBezTo>
                    <a:pt x="387" y="580"/>
                    <a:pt x="390" y="576"/>
                    <a:pt x="391" y="570"/>
                  </a:cubicBezTo>
                  <a:cubicBezTo>
                    <a:pt x="392" y="565"/>
                    <a:pt x="391" y="559"/>
                    <a:pt x="390" y="553"/>
                  </a:cubicBezTo>
                  <a:cubicBezTo>
                    <a:pt x="388" y="547"/>
                    <a:pt x="386" y="541"/>
                    <a:pt x="383" y="534"/>
                  </a:cubicBezTo>
                  <a:cubicBezTo>
                    <a:pt x="380" y="527"/>
                    <a:pt x="377" y="521"/>
                    <a:pt x="374" y="514"/>
                  </a:cubicBezTo>
                  <a:cubicBezTo>
                    <a:pt x="371" y="507"/>
                    <a:pt x="369" y="499"/>
                    <a:pt x="367" y="492"/>
                  </a:cubicBezTo>
                  <a:cubicBezTo>
                    <a:pt x="364" y="485"/>
                    <a:pt x="363" y="477"/>
                    <a:pt x="363" y="470"/>
                  </a:cubicBezTo>
                  <a:cubicBezTo>
                    <a:pt x="363" y="463"/>
                    <a:pt x="364" y="455"/>
                    <a:pt x="367" y="448"/>
                  </a:cubicBezTo>
                  <a:cubicBezTo>
                    <a:pt x="370" y="441"/>
                    <a:pt x="375" y="433"/>
                    <a:pt x="382" y="426"/>
                  </a:cubicBezTo>
                  <a:cubicBezTo>
                    <a:pt x="388" y="420"/>
                    <a:pt x="395" y="415"/>
                    <a:pt x="403" y="412"/>
                  </a:cubicBezTo>
                  <a:cubicBezTo>
                    <a:pt x="412" y="409"/>
                    <a:pt x="420" y="407"/>
                    <a:pt x="429" y="408"/>
                  </a:cubicBezTo>
                  <a:cubicBezTo>
                    <a:pt x="438" y="408"/>
                    <a:pt x="448" y="411"/>
                    <a:pt x="458" y="416"/>
                  </a:cubicBezTo>
                  <a:cubicBezTo>
                    <a:pt x="468" y="420"/>
                    <a:pt x="477" y="427"/>
                    <a:pt x="487" y="437"/>
                  </a:cubicBezTo>
                  <a:cubicBezTo>
                    <a:pt x="491" y="441"/>
                    <a:pt x="495" y="446"/>
                    <a:pt x="499" y="451"/>
                  </a:cubicBezTo>
                  <a:cubicBezTo>
                    <a:pt x="502" y="456"/>
                    <a:pt x="505" y="460"/>
                    <a:pt x="508" y="465"/>
                  </a:cubicBezTo>
                  <a:cubicBezTo>
                    <a:pt x="510" y="469"/>
                    <a:pt x="512" y="473"/>
                    <a:pt x="513" y="477"/>
                  </a:cubicBezTo>
                  <a:cubicBezTo>
                    <a:pt x="514" y="481"/>
                    <a:pt x="515" y="484"/>
                    <a:pt x="515" y="486"/>
                  </a:cubicBezTo>
                  <a:cubicBezTo>
                    <a:pt x="515" y="488"/>
                    <a:pt x="515" y="490"/>
                    <a:pt x="515" y="491"/>
                  </a:cubicBezTo>
                  <a:cubicBezTo>
                    <a:pt x="515" y="492"/>
                    <a:pt x="514" y="493"/>
                    <a:pt x="514" y="494"/>
                  </a:cubicBezTo>
                  <a:cubicBezTo>
                    <a:pt x="513" y="495"/>
                    <a:pt x="512" y="496"/>
                    <a:pt x="511" y="498"/>
                  </a:cubicBezTo>
                  <a:cubicBezTo>
                    <a:pt x="510" y="499"/>
                    <a:pt x="508" y="501"/>
                    <a:pt x="506" y="503"/>
                  </a:cubicBezTo>
                  <a:cubicBezTo>
                    <a:pt x="504" y="505"/>
                    <a:pt x="502" y="507"/>
                    <a:pt x="501" y="508"/>
                  </a:cubicBezTo>
                  <a:cubicBezTo>
                    <a:pt x="499" y="509"/>
                    <a:pt x="498" y="510"/>
                    <a:pt x="496" y="511"/>
                  </a:cubicBezTo>
                  <a:cubicBezTo>
                    <a:pt x="495" y="511"/>
                    <a:pt x="494" y="511"/>
                    <a:pt x="493" y="511"/>
                  </a:cubicBezTo>
                  <a:cubicBezTo>
                    <a:pt x="492" y="511"/>
                    <a:pt x="491" y="511"/>
                    <a:pt x="490" y="510"/>
                  </a:cubicBezTo>
                  <a:cubicBezTo>
                    <a:pt x="489" y="509"/>
                    <a:pt x="488" y="507"/>
                    <a:pt x="488" y="503"/>
                  </a:cubicBezTo>
                  <a:cubicBezTo>
                    <a:pt x="487" y="500"/>
                    <a:pt x="486" y="496"/>
                    <a:pt x="484" y="491"/>
                  </a:cubicBezTo>
                  <a:cubicBezTo>
                    <a:pt x="482" y="487"/>
                    <a:pt x="480" y="482"/>
                    <a:pt x="477" y="476"/>
                  </a:cubicBezTo>
                  <a:cubicBezTo>
                    <a:pt x="474" y="470"/>
                    <a:pt x="470" y="465"/>
                    <a:pt x="464" y="459"/>
                  </a:cubicBezTo>
                  <a:cubicBezTo>
                    <a:pt x="459" y="454"/>
                    <a:pt x="454" y="451"/>
                    <a:pt x="449" y="448"/>
                  </a:cubicBezTo>
                  <a:cubicBezTo>
                    <a:pt x="444" y="445"/>
                    <a:pt x="440" y="444"/>
                    <a:pt x="435" y="443"/>
                  </a:cubicBezTo>
                  <a:cubicBezTo>
                    <a:pt x="431" y="443"/>
                    <a:pt x="426" y="444"/>
                    <a:pt x="422" y="445"/>
                  </a:cubicBezTo>
                  <a:cubicBezTo>
                    <a:pt x="418" y="447"/>
                    <a:pt x="415" y="449"/>
                    <a:pt x="411" y="453"/>
                  </a:cubicBezTo>
                  <a:cubicBezTo>
                    <a:pt x="407" y="457"/>
                    <a:pt x="404" y="462"/>
                    <a:pt x="403" y="468"/>
                  </a:cubicBezTo>
                  <a:cubicBezTo>
                    <a:pt x="403" y="473"/>
                    <a:pt x="403" y="479"/>
                    <a:pt x="404" y="485"/>
                  </a:cubicBezTo>
                  <a:cubicBezTo>
                    <a:pt x="406" y="491"/>
                    <a:pt x="408" y="498"/>
                    <a:pt x="411" y="504"/>
                  </a:cubicBezTo>
                  <a:cubicBezTo>
                    <a:pt x="414" y="511"/>
                    <a:pt x="417" y="518"/>
                    <a:pt x="420" y="525"/>
                  </a:cubicBezTo>
                  <a:cubicBezTo>
                    <a:pt x="423" y="532"/>
                    <a:pt x="425" y="539"/>
                    <a:pt x="428" y="547"/>
                  </a:cubicBezTo>
                  <a:cubicBezTo>
                    <a:pt x="430" y="554"/>
                    <a:pt x="432" y="561"/>
                    <a:pt x="432" y="569"/>
                  </a:cubicBezTo>
                  <a:cubicBezTo>
                    <a:pt x="432" y="576"/>
                    <a:pt x="431" y="583"/>
                    <a:pt x="428" y="590"/>
                  </a:cubicBezTo>
                  <a:cubicBezTo>
                    <a:pt x="426" y="598"/>
                    <a:pt x="421" y="605"/>
                    <a:pt x="414" y="611"/>
                  </a:cubicBezTo>
                  <a:close/>
                  <a:moveTo>
                    <a:pt x="556" y="792"/>
                  </a:moveTo>
                  <a:cubicBezTo>
                    <a:pt x="554" y="794"/>
                    <a:pt x="553" y="796"/>
                    <a:pt x="551" y="797"/>
                  </a:cubicBezTo>
                  <a:cubicBezTo>
                    <a:pt x="550" y="799"/>
                    <a:pt x="548" y="800"/>
                    <a:pt x="547" y="800"/>
                  </a:cubicBezTo>
                  <a:cubicBezTo>
                    <a:pt x="545" y="801"/>
                    <a:pt x="544" y="802"/>
                    <a:pt x="543" y="802"/>
                  </a:cubicBezTo>
                  <a:cubicBezTo>
                    <a:pt x="542" y="802"/>
                    <a:pt x="540" y="802"/>
                    <a:pt x="537" y="802"/>
                  </a:cubicBezTo>
                  <a:cubicBezTo>
                    <a:pt x="534" y="802"/>
                    <a:pt x="530" y="802"/>
                    <a:pt x="524" y="800"/>
                  </a:cubicBezTo>
                  <a:cubicBezTo>
                    <a:pt x="518" y="799"/>
                    <a:pt x="512" y="797"/>
                    <a:pt x="506" y="794"/>
                  </a:cubicBezTo>
                  <a:cubicBezTo>
                    <a:pt x="500" y="792"/>
                    <a:pt x="494" y="788"/>
                    <a:pt x="488" y="784"/>
                  </a:cubicBezTo>
                  <a:cubicBezTo>
                    <a:pt x="481" y="780"/>
                    <a:pt x="475" y="775"/>
                    <a:pt x="470" y="770"/>
                  </a:cubicBezTo>
                  <a:cubicBezTo>
                    <a:pt x="458" y="758"/>
                    <a:pt x="450" y="746"/>
                    <a:pt x="445" y="733"/>
                  </a:cubicBezTo>
                  <a:cubicBezTo>
                    <a:pt x="440" y="721"/>
                    <a:pt x="438" y="708"/>
                    <a:pt x="439" y="695"/>
                  </a:cubicBezTo>
                  <a:cubicBezTo>
                    <a:pt x="441" y="682"/>
                    <a:pt x="445" y="668"/>
                    <a:pt x="453" y="654"/>
                  </a:cubicBezTo>
                  <a:cubicBezTo>
                    <a:pt x="460" y="641"/>
                    <a:pt x="471" y="627"/>
                    <a:pt x="484" y="613"/>
                  </a:cubicBezTo>
                  <a:cubicBezTo>
                    <a:pt x="500" y="598"/>
                    <a:pt x="515" y="586"/>
                    <a:pt x="530" y="579"/>
                  </a:cubicBezTo>
                  <a:cubicBezTo>
                    <a:pt x="546" y="571"/>
                    <a:pt x="560" y="567"/>
                    <a:pt x="574" y="567"/>
                  </a:cubicBezTo>
                  <a:cubicBezTo>
                    <a:pt x="588" y="566"/>
                    <a:pt x="601" y="569"/>
                    <a:pt x="613" y="574"/>
                  </a:cubicBezTo>
                  <a:cubicBezTo>
                    <a:pt x="626" y="580"/>
                    <a:pt x="637" y="588"/>
                    <a:pt x="648" y="598"/>
                  </a:cubicBezTo>
                  <a:cubicBezTo>
                    <a:pt x="653" y="603"/>
                    <a:pt x="657" y="609"/>
                    <a:pt x="661" y="614"/>
                  </a:cubicBezTo>
                  <a:cubicBezTo>
                    <a:pt x="665" y="620"/>
                    <a:pt x="668" y="626"/>
                    <a:pt x="671" y="631"/>
                  </a:cubicBezTo>
                  <a:cubicBezTo>
                    <a:pt x="673" y="637"/>
                    <a:pt x="675" y="642"/>
                    <a:pt x="676" y="647"/>
                  </a:cubicBezTo>
                  <a:cubicBezTo>
                    <a:pt x="677" y="652"/>
                    <a:pt x="678" y="656"/>
                    <a:pt x="678" y="659"/>
                  </a:cubicBezTo>
                  <a:cubicBezTo>
                    <a:pt x="678" y="662"/>
                    <a:pt x="678" y="664"/>
                    <a:pt x="677" y="665"/>
                  </a:cubicBezTo>
                  <a:cubicBezTo>
                    <a:pt x="677" y="667"/>
                    <a:pt x="676" y="668"/>
                    <a:pt x="676" y="670"/>
                  </a:cubicBezTo>
                  <a:cubicBezTo>
                    <a:pt x="675" y="671"/>
                    <a:pt x="674" y="673"/>
                    <a:pt x="673" y="674"/>
                  </a:cubicBezTo>
                  <a:cubicBezTo>
                    <a:pt x="671" y="676"/>
                    <a:pt x="670" y="678"/>
                    <a:pt x="668" y="680"/>
                  </a:cubicBezTo>
                  <a:cubicBezTo>
                    <a:pt x="663" y="684"/>
                    <a:pt x="659" y="687"/>
                    <a:pt x="656" y="688"/>
                  </a:cubicBezTo>
                  <a:cubicBezTo>
                    <a:pt x="653" y="689"/>
                    <a:pt x="651" y="688"/>
                    <a:pt x="650" y="687"/>
                  </a:cubicBezTo>
                  <a:cubicBezTo>
                    <a:pt x="648" y="685"/>
                    <a:pt x="647" y="682"/>
                    <a:pt x="646" y="678"/>
                  </a:cubicBezTo>
                  <a:cubicBezTo>
                    <a:pt x="646" y="673"/>
                    <a:pt x="645" y="668"/>
                    <a:pt x="644" y="662"/>
                  </a:cubicBezTo>
                  <a:cubicBezTo>
                    <a:pt x="643" y="656"/>
                    <a:pt x="641" y="650"/>
                    <a:pt x="638" y="643"/>
                  </a:cubicBezTo>
                  <a:cubicBezTo>
                    <a:pt x="635" y="636"/>
                    <a:pt x="630" y="629"/>
                    <a:pt x="623" y="622"/>
                  </a:cubicBezTo>
                  <a:cubicBezTo>
                    <a:pt x="609" y="608"/>
                    <a:pt x="593" y="603"/>
                    <a:pt x="575" y="606"/>
                  </a:cubicBezTo>
                  <a:cubicBezTo>
                    <a:pt x="556" y="610"/>
                    <a:pt x="537" y="622"/>
                    <a:pt x="516" y="642"/>
                  </a:cubicBezTo>
                  <a:cubicBezTo>
                    <a:pt x="506" y="652"/>
                    <a:pt x="498" y="662"/>
                    <a:pt x="492" y="672"/>
                  </a:cubicBezTo>
                  <a:cubicBezTo>
                    <a:pt x="487" y="682"/>
                    <a:pt x="483" y="691"/>
                    <a:pt x="482" y="700"/>
                  </a:cubicBezTo>
                  <a:cubicBezTo>
                    <a:pt x="480" y="709"/>
                    <a:pt x="481" y="717"/>
                    <a:pt x="484" y="725"/>
                  </a:cubicBezTo>
                  <a:cubicBezTo>
                    <a:pt x="487" y="733"/>
                    <a:pt x="492" y="741"/>
                    <a:pt x="499" y="748"/>
                  </a:cubicBezTo>
                  <a:cubicBezTo>
                    <a:pt x="506" y="755"/>
                    <a:pt x="513" y="760"/>
                    <a:pt x="520" y="762"/>
                  </a:cubicBezTo>
                  <a:cubicBezTo>
                    <a:pt x="527" y="765"/>
                    <a:pt x="534" y="767"/>
                    <a:pt x="540" y="769"/>
                  </a:cubicBezTo>
                  <a:cubicBezTo>
                    <a:pt x="546" y="770"/>
                    <a:pt x="552" y="771"/>
                    <a:pt x="556" y="771"/>
                  </a:cubicBezTo>
                  <a:cubicBezTo>
                    <a:pt x="561" y="772"/>
                    <a:pt x="564" y="773"/>
                    <a:pt x="565" y="774"/>
                  </a:cubicBezTo>
                  <a:cubicBezTo>
                    <a:pt x="566" y="775"/>
                    <a:pt x="566" y="776"/>
                    <a:pt x="567" y="777"/>
                  </a:cubicBezTo>
                  <a:cubicBezTo>
                    <a:pt x="567" y="778"/>
                    <a:pt x="566" y="779"/>
                    <a:pt x="566" y="781"/>
                  </a:cubicBezTo>
                  <a:cubicBezTo>
                    <a:pt x="565" y="782"/>
                    <a:pt x="564" y="784"/>
                    <a:pt x="562" y="786"/>
                  </a:cubicBezTo>
                  <a:cubicBezTo>
                    <a:pt x="561" y="788"/>
                    <a:pt x="559" y="790"/>
                    <a:pt x="556" y="792"/>
                  </a:cubicBezTo>
                  <a:close/>
                  <a:moveTo>
                    <a:pt x="713" y="997"/>
                  </a:moveTo>
                  <a:cubicBezTo>
                    <a:pt x="712" y="998"/>
                    <a:pt x="711" y="999"/>
                    <a:pt x="710" y="999"/>
                  </a:cubicBezTo>
                  <a:cubicBezTo>
                    <a:pt x="709" y="999"/>
                    <a:pt x="708" y="999"/>
                    <a:pt x="706" y="998"/>
                  </a:cubicBezTo>
                  <a:cubicBezTo>
                    <a:pt x="705" y="998"/>
                    <a:pt x="703" y="997"/>
                    <a:pt x="701" y="995"/>
                  </a:cubicBezTo>
                  <a:cubicBezTo>
                    <a:pt x="699" y="993"/>
                    <a:pt x="696" y="991"/>
                    <a:pt x="693" y="988"/>
                  </a:cubicBezTo>
                  <a:cubicBezTo>
                    <a:pt x="690" y="985"/>
                    <a:pt x="688" y="983"/>
                    <a:pt x="686" y="981"/>
                  </a:cubicBezTo>
                  <a:cubicBezTo>
                    <a:pt x="685" y="979"/>
                    <a:pt x="684" y="977"/>
                    <a:pt x="683" y="975"/>
                  </a:cubicBezTo>
                  <a:cubicBezTo>
                    <a:pt x="682" y="974"/>
                    <a:pt x="682" y="972"/>
                    <a:pt x="682" y="971"/>
                  </a:cubicBezTo>
                  <a:cubicBezTo>
                    <a:pt x="683" y="970"/>
                    <a:pt x="683" y="969"/>
                    <a:pt x="684" y="968"/>
                  </a:cubicBezTo>
                  <a:lnTo>
                    <a:pt x="777" y="875"/>
                  </a:lnTo>
                  <a:cubicBezTo>
                    <a:pt x="786" y="866"/>
                    <a:pt x="793" y="858"/>
                    <a:pt x="797" y="851"/>
                  </a:cubicBezTo>
                  <a:cubicBezTo>
                    <a:pt x="801" y="844"/>
                    <a:pt x="804" y="837"/>
                    <a:pt x="805" y="831"/>
                  </a:cubicBezTo>
                  <a:cubicBezTo>
                    <a:pt x="807" y="824"/>
                    <a:pt x="806" y="817"/>
                    <a:pt x="804" y="811"/>
                  </a:cubicBezTo>
                  <a:cubicBezTo>
                    <a:pt x="802" y="804"/>
                    <a:pt x="798" y="798"/>
                    <a:pt x="792" y="793"/>
                  </a:cubicBezTo>
                  <a:cubicBezTo>
                    <a:pt x="785" y="785"/>
                    <a:pt x="775" y="781"/>
                    <a:pt x="762" y="779"/>
                  </a:cubicBezTo>
                  <a:cubicBezTo>
                    <a:pt x="750" y="776"/>
                    <a:pt x="735" y="776"/>
                    <a:pt x="717" y="778"/>
                  </a:cubicBezTo>
                  <a:lnTo>
                    <a:pt x="605" y="890"/>
                  </a:lnTo>
                  <a:cubicBezTo>
                    <a:pt x="605" y="890"/>
                    <a:pt x="603" y="891"/>
                    <a:pt x="602" y="891"/>
                  </a:cubicBezTo>
                  <a:cubicBezTo>
                    <a:pt x="601" y="891"/>
                    <a:pt x="600" y="891"/>
                    <a:pt x="598" y="891"/>
                  </a:cubicBezTo>
                  <a:cubicBezTo>
                    <a:pt x="597" y="890"/>
                    <a:pt x="595" y="889"/>
                    <a:pt x="593" y="887"/>
                  </a:cubicBezTo>
                  <a:cubicBezTo>
                    <a:pt x="591" y="886"/>
                    <a:pt x="588" y="883"/>
                    <a:pt x="585" y="880"/>
                  </a:cubicBezTo>
                  <a:cubicBezTo>
                    <a:pt x="582" y="878"/>
                    <a:pt x="580" y="875"/>
                    <a:pt x="579" y="873"/>
                  </a:cubicBezTo>
                  <a:cubicBezTo>
                    <a:pt x="577" y="871"/>
                    <a:pt x="576" y="869"/>
                    <a:pt x="575" y="867"/>
                  </a:cubicBezTo>
                  <a:cubicBezTo>
                    <a:pt x="574" y="866"/>
                    <a:pt x="574" y="864"/>
                    <a:pt x="575" y="863"/>
                  </a:cubicBezTo>
                  <a:cubicBezTo>
                    <a:pt x="575" y="862"/>
                    <a:pt x="575" y="861"/>
                    <a:pt x="576" y="860"/>
                  </a:cubicBezTo>
                  <a:lnTo>
                    <a:pt x="812" y="624"/>
                  </a:lnTo>
                  <a:cubicBezTo>
                    <a:pt x="813" y="623"/>
                    <a:pt x="814" y="623"/>
                    <a:pt x="816" y="622"/>
                  </a:cubicBezTo>
                  <a:cubicBezTo>
                    <a:pt x="817" y="622"/>
                    <a:pt x="818" y="622"/>
                    <a:pt x="820" y="623"/>
                  </a:cubicBezTo>
                  <a:cubicBezTo>
                    <a:pt x="821" y="624"/>
                    <a:pt x="823" y="625"/>
                    <a:pt x="825" y="626"/>
                  </a:cubicBezTo>
                  <a:cubicBezTo>
                    <a:pt x="827" y="628"/>
                    <a:pt x="830" y="630"/>
                    <a:pt x="833" y="633"/>
                  </a:cubicBezTo>
                  <a:cubicBezTo>
                    <a:pt x="836" y="636"/>
                    <a:pt x="838" y="639"/>
                    <a:pt x="840" y="641"/>
                  </a:cubicBezTo>
                  <a:cubicBezTo>
                    <a:pt x="841" y="643"/>
                    <a:pt x="842" y="645"/>
                    <a:pt x="843" y="646"/>
                  </a:cubicBezTo>
                  <a:cubicBezTo>
                    <a:pt x="843" y="648"/>
                    <a:pt x="844" y="649"/>
                    <a:pt x="843" y="650"/>
                  </a:cubicBezTo>
                  <a:cubicBezTo>
                    <a:pt x="843" y="651"/>
                    <a:pt x="843" y="652"/>
                    <a:pt x="842" y="653"/>
                  </a:cubicBezTo>
                  <a:lnTo>
                    <a:pt x="746" y="749"/>
                  </a:lnTo>
                  <a:cubicBezTo>
                    <a:pt x="764" y="748"/>
                    <a:pt x="779" y="750"/>
                    <a:pt x="791" y="754"/>
                  </a:cubicBezTo>
                  <a:cubicBezTo>
                    <a:pt x="804" y="758"/>
                    <a:pt x="815" y="765"/>
                    <a:pt x="823" y="773"/>
                  </a:cubicBezTo>
                  <a:cubicBezTo>
                    <a:pt x="834" y="784"/>
                    <a:pt x="841" y="795"/>
                    <a:pt x="845" y="806"/>
                  </a:cubicBezTo>
                  <a:cubicBezTo>
                    <a:pt x="848" y="816"/>
                    <a:pt x="850" y="827"/>
                    <a:pt x="848" y="838"/>
                  </a:cubicBezTo>
                  <a:cubicBezTo>
                    <a:pt x="846" y="848"/>
                    <a:pt x="843" y="858"/>
                    <a:pt x="836" y="868"/>
                  </a:cubicBezTo>
                  <a:cubicBezTo>
                    <a:pt x="830" y="878"/>
                    <a:pt x="822" y="889"/>
                    <a:pt x="810" y="901"/>
                  </a:cubicBezTo>
                  <a:lnTo>
                    <a:pt x="713" y="997"/>
                  </a:lnTo>
                  <a:close/>
                  <a:moveTo>
                    <a:pt x="987" y="1108"/>
                  </a:moveTo>
                  <a:cubicBezTo>
                    <a:pt x="974" y="1121"/>
                    <a:pt x="960" y="1131"/>
                    <a:pt x="946" y="1139"/>
                  </a:cubicBezTo>
                  <a:cubicBezTo>
                    <a:pt x="931" y="1146"/>
                    <a:pt x="917" y="1151"/>
                    <a:pt x="902" y="1152"/>
                  </a:cubicBezTo>
                  <a:cubicBezTo>
                    <a:pt x="887" y="1153"/>
                    <a:pt x="873" y="1150"/>
                    <a:pt x="858" y="1145"/>
                  </a:cubicBezTo>
                  <a:cubicBezTo>
                    <a:pt x="844" y="1139"/>
                    <a:pt x="830" y="1129"/>
                    <a:pt x="816" y="1116"/>
                  </a:cubicBezTo>
                  <a:cubicBezTo>
                    <a:pt x="803" y="1103"/>
                    <a:pt x="794" y="1089"/>
                    <a:pt x="788" y="1076"/>
                  </a:cubicBezTo>
                  <a:cubicBezTo>
                    <a:pt x="782" y="1062"/>
                    <a:pt x="780" y="1048"/>
                    <a:pt x="780" y="1035"/>
                  </a:cubicBezTo>
                  <a:cubicBezTo>
                    <a:pt x="781" y="1021"/>
                    <a:pt x="786" y="1007"/>
                    <a:pt x="793" y="993"/>
                  </a:cubicBezTo>
                  <a:cubicBezTo>
                    <a:pt x="800" y="979"/>
                    <a:pt x="811" y="966"/>
                    <a:pt x="824" y="952"/>
                  </a:cubicBezTo>
                  <a:cubicBezTo>
                    <a:pt x="837" y="939"/>
                    <a:pt x="851" y="929"/>
                    <a:pt x="865" y="921"/>
                  </a:cubicBezTo>
                  <a:cubicBezTo>
                    <a:pt x="879" y="914"/>
                    <a:pt x="894" y="909"/>
                    <a:pt x="909" y="908"/>
                  </a:cubicBezTo>
                  <a:cubicBezTo>
                    <a:pt x="923" y="907"/>
                    <a:pt x="938" y="910"/>
                    <a:pt x="952" y="915"/>
                  </a:cubicBezTo>
                  <a:cubicBezTo>
                    <a:pt x="967" y="921"/>
                    <a:pt x="981" y="931"/>
                    <a:pt x="994" y="944"/>
                  </a:cubicBezTo>
                  <a:cubicBezTo>
                    <a:pt x="1007" y="957"/>
                    <a:pt x="1017" y="971"/>
                    <a:pt x="1023" y="984"/>
                  </a:cubicBezTo>
                  <a:cubicBezTo>
                    <a:pt x="1029" y="998"/>
                    <a:pt x="1031" y="1012"/>
                    <a:pt x="1030" y="1026"/>
                  </a:cubicBezTo>
                  <a:cubicBezTo>
                    <a:pt x="1029" y="1040"/>
                    <a:pt x="1025" y="1053"/>
                    <a:pt x="1018" y="1067"/>
                  </a:cubicBezTo>
                  <a:cubicBezTo>
                    <a:pt x="1010" y="1081"/>
                    <a:pt x="1000" y="1095"/>
                    <a:pt x="987" y="1108"/>
                  </a:cubicBezTo>
                  <a:close/>
                  <a:moveTo>
                    <a:pt x="954" y="1080"/>
                  </a:moveTo>
                  <a:cubicBezTo>
                    <a:pt x="963" y="1071"/>
                    <a:pt x="970" y="1062"/>
                    <a:pt x="976" y="1053"/>
                  </a:cubicBezTo>
                  <a:cubicBezTo>
                    <a:pt x="982" y="1044"/>
                    <a:pt x="987" y="1034"/>
                    <a:pt x="989" y="1025"/>
                  </a:cubicBezTo>
                  <a:cubicBezTo>
                    <a:pt x="991" y="1015"/>
                    <a:pt x="990" y="1006"/>
                    <a:pt x="987" y="996"/>
                  </a:cubicBezTo>
                  <a:cubicBezTo>
                    <a:pt x="984" y="987"/>
                    <a:pt x="978" y="977"/>
                    <a:pt x="969" y="968"/>
                  </a:cubicBezTo>
                  <a:cubicBezTo>
                    <a:pt x="960" y="959"/>
                    <a:pt x="951" y="953"/>
                    <a:pt x="942" y="950"/>
                  </a:cubicBezTo>
                  <a:cubicBezTo>
                    <a:pt x="933" y="947"/>
                    <a:pt x="923" y="946"/>
                    <a:pt x="913" y="947"/>
                  </a:cubicBezTo>
                  <a:cubicBezTo>
                    <a:pt x="904" y="949"/>
                    <a:pt x="894" y="953"/>
                    <a:pt x="885" y="958"/>
                  </a:cubicBezTo>
                  <a:cubicBezTo>
                    <a:pt x="875" y="964"/>
                    <a:pt x="866" y="971"/>
                    <a:pt x="856" y="980"/>
                  </a:cubicBezTo>
                  <a:cubicBezTo>
                    <a:pt x="848" y="989"/>
                    <a:pt x="840" y="998"/>
                    <a:pt x="834" y="1007"/>
                  </a:cubicBezTo>
                  <a:cubicBezTo>
                    <a:pt x="828" y="1017"/>
                    <a:pt x="824" y="1026"/>
                    <a:pt x="822" y="1035"/>
                  </a:cubicBezTo>
                  <a:cubicBezTo>
                    <a:pt x="820" y="1045"/>
                    <a:pt x="821" y="1055"/>
                    <a:pt x="824" y="1064"/>
                  </a:cubicBezTo>
                  <a:cubicBezTo>
                    <a:pt x="827" y="1074"/>
                    <a:pt x="833" y="1083"/>
                    <a:pt x="842" y="1093"/>
                  </a:cubicBezTo>
                  <a:cubicBezTo>
                    <a:pt x="851" y="1101"/>
                    <a:pt x="860" y="1107"/>
                    <a:pt x="869" y="1110"/>
                  </a:cubicBezTo>
                  <a:cubicBezTo>
                    <a:pt x="879" y="1114"/>
                    <a:pt x="888" y="1115"/>
                    <a:pt x="898" y="1113"/>
                  </a:cubicBezTo>
                  <a:cubicBezTo>
                    <a:pt x="907" y="1112"/>
                    <a:pt x="917" y="1108"/>
                    <a:pt x="926" y="1102"/>
                  </a:cubicBezTo>
                  <a:cubicBezTo>
                    <a:pt x="936" y="1096"/>
                    <a:pt x="945" y="1089"/>
                    <a:pt x="954" y="1080"/>
                  </a:cubicBezTo>
                  <a:close/>
                  <a:moveTo>
                    <a:pt x="1086" y="1370"/>
                  </a:moveTo>
                  <a:cubicBezTo>
                    <a:pt x="1085" y="1371"/>
                    <a:pt x="1084" y="1372"/>
                    <a:pt x="1083" y="1372"/>
                  </a:cubicBezTo>
                  <a:cubicBezTo>
                    <a:pt x="1082" y="1372"/>
                    <a:pt x="1080" y="1372"/>
                    <a:pt x="1079" y="1371"/>
                  </a:cubicBezTo>
                  <a:cubicBezTo>
                    <a:pt x="1078" y="1371"/>
                    <a:pt x="1076" y="1370"/>
                    <a:pt x="1074" y="1368"/>
                  </a:cubicBezTo>
                  <a:cubicBezTo>
                    <a:pt x="1072" y="1367"/>
                    <a:pt x="1070" y="1365"/>
                    <a:pt x="1068" y="1363"/>
                  </a:cubicBezTo>
                  <a:cubicBezTo>
                    <a:pt x="1065" y="1360"/>
                    <a:pt x="1063" y="1358"/>
                    <a:pt x="1062" y="1356"/>
                  </a:cubicBezTo>
                  <a:cubicBezTo>
                    <a:pt x="1060" y="1354"/>
                    <a:pt x="1059" y="1353"/>
                    <a:pt x="1059" y="1351"/>
                  </a:cubicBezTo>
                  <a:cubicBezTo>
                    <a:pt x="1058" y="1350"/>
                    <a:pt x="1058" y="1348"/>
                    <a:pt x="1058" y="1347"/>
                  </a:cubicBezTo>
                  <a:cubicBezTo>
                    <a:pt x="1058" y="1346"/>
                    <a:pt x="1059" y="1345"/>
                    <a:pt x="1060" y="1344"/>
                  </a:cubicBezTo>
                  <a:lnTo>
                    <a:pt x="1081" y="1323"/>
                  </a:lnTo>
                  <a:cubicBezTo>
                    <a:pt x="1064" y="1324"/>
                    <a:pt x="1048" y="1322"/>
                    <a:pt x="1034" y="1318"/>
                  </a:cubicBezTo>
                  <a:cubicBezTo>
                    <a:pt x="1020" y="1314"/>
                    <a:pt x="1007" y="1307"/>
                    <a:pt x="996" y="1296"/>
                  </a:cubicBezTo>
                  <a:cubicBezTo>
                    <a:pt x="985" y="1284"/>
                    <a:pt x="977" y="1272"/>
                    <a:pt x="973" y="1259"/>
                  </a:cubicBezTo>
                  <a:cubicBezTo>
                    <a:pt x="970" y="1247"/>
                    <a:pt x="969" y="1234"/>
                    <a:pt x="972" y="1221"/>
                  </a:cubicBezTo>
                  <a:cubicBezTo>
                    <a:pt x="974" y="1208"/>
                    <a:pt x="980" y="1195"/>
                    <a:pt x="988" y="1183"/>
                  </a:cubicBezTo>
                  <a:cubicBezTo>
                    <a:pt x="996" y="1170"/>
                    <a:pt x="1006" y="1158"/>
                    <a:pt x="1017" y="1146"/>
                  </a:cubicBezTo>
                  <a:cubicBezTo>
                    <a:pt x="1031" y="1132"/>
                    <a:pt x="1045" y="1122"/>
                    <a:pt x="1059" y="1113"/>
                  </a:cubicBezTo>
                  <a:cubicBezTo>
                    <a:pt x="1073" y="1105"/>
                    <a:pt x="1086" y="1100"/>
                    <a:pt x="1100" y="1098"/>
                  </a:cubicBezTo>
                  <a:cubicBezTo>
                    <a:pt x="1113" y="1096"/>
                    <a:pt x="1127" y="1097"/>
                    <a:pt x="1139" y="1102"/>
                  </a:cubicBezTo>
                  <a:cubicBezTo>
                    <a:pt x="1152" y="1106"/>
                    <a:pt x="1164" y="1114"/>
                    <a:pt x="1175" y="1125"/>
                  </a:cubicBezTo>
                  <a:cubicBezTo>
                    <a:pt x="1185" y="1135"/>
                    <a:pt x="1191" y="1145"/>
                    <a:pt x="1195" y="1157"/>
                  </a:cubicBezTo>
                  <a:cubicBezTo>
                    <a:pt x="1198" y="1169"/>
                    <a:pt x="1200" y="1182"/>
                    <a:pt x="1200" y="1198"/>
                  </a:cubicBezTo>
                  <a:lnTo>
                    <a:pt x="1292" y="1105"/>
                  </a:lnTo>
                  <a:cubicBezTo>
                    <a:pt x="1293" y="1104"/>
                    <a:pt x="1294" y="1104"/>
                    <a:pt x="1295" y="1103"/>
                  </a:cubicBezTo>
                  <a:cubicBezTo>
                    <a:pt x="1296" y="1103"/>
                    <a:pt x="1298" y="1103"/>
                    <a:pt x="1299" y="1104"/>
                  </a:cubicBezTo>
                  <a:cubicBezTo>
                    <a:pt x="1301" y="1105"/>
                    <a:pt x="1303" y="1106"/>
                    <a:pt x="1305" y="1108"/>
                  </a:cubicBezTo>
                  <a:cubicBezTo>
                    <a:pt x="1307" y="1109"/>
                    <a:pt x="1309" y="1111"/>
                    <a:pt x="1312" y="1114"/>
                  </a:cubicBezTo>
                  <a:cubicBezTo>
                    <a:pt x="1315" y="1117"/>
                    <a:pt x="1317" y="1120"/>
                    <a:pt x="1319" y="1122"/>
                  </a:cubicBezTo>
                  <a:cubicBezTo>
                    <a:pt x="1321" y="1124"/>
                    <a:pt x="1322" y="1126"/>
                    <a:pt x="1322" y="1127"/>
                  </a:cubicBezTo>
                  <a:cubicBezTo>
                    <a:pt x="1323" y="1129"/>
                    <a:pt x="1323" y="1130"/>
                    <a:pt x="1323" y="1131"/>
                  </a:cubicBezTo>
                  <a:cubicBezTo>
                    <a:pt x="1323" y="1133"/>
                    <a:pt x="1322" y="1134"/>
                    <a:pt x="1321" y="1135"/>
                  </a:cubicBezTo>
                  <a:lnTo>
                    <a:pt x="1086" y="1370"/>
                  </a:lnTo>
                  <a:close/>
                  <a:moveTo>
                    <a:pt x="1168" y="1229"/>
                  </a:moveTo>
                  <a:cubicBezTo>
                    <a:pt x="1170" y="1211"/>
                    <a:pt x="1170" y="1196"/>
                    <a:pt x="1168" y="1184"/>
                  </a:cubicBezTo>
                  <a:cubicBezTo>
                    <a:pt x="1166" y="1171"/>
                    <a:pt x="1161" y="1161"/>
                    <a:pt x="1153" y="1153"/>
                  </a:cubicBezTo>
                  <a:cubicBezTo>
                    <a:pt x="1145" y="1145"/>
                    <a:pt x="1137" y="1141"/>
                    <a:pt x="1128" y="1139"/>
                  </a:cubicBezTo>
                  <a:cubicBezTo>
                    <a:pt x="1120" y="1138"/>
                    <a:pt x="1111" y="1138"/>
                    <a:pt x="1102" y="1140"/>
                  </a:cubicBezTo>
                  <a:cubicBezTo>
                    <a:pt x="1093" y="1143"/>
                    <a:pt x="1084" y="1147"/>
                    <a:pt x="1075" y="1153"/>
                  </a:cubicBezTo>
                  <a:cubicBezTo>
                    <a:pt x="1066" y="1159"/>
                    <a:pt x="1058" y="1166"/>
                    <a:pt x="1051" y="1173"/>
                  </a:cubicBezTo>
                  <a:cubicBezTo>
                    <a:pt x="1043" y="1181"/>
                    <a:pt x="1035" y="1190"/>
                    <a:pt x="1029" y="1198"/>
                  </a:cubicBezTo>
                  <a:cubicBezTo>
                    <a:pt x="1022" y="1207"/>
                    <a:pt x="1018" y="1216"/>
                    <a:pt x="1015" y="1225"/>
                  </a:cubicBezTo>
                  <a:cubicBezTo>
                    <a:pt x="1012" y="1234"/>
                    <a:pt x="1011" y="1243"/>
                    <a:pt x="1013" y="1252"/>
                  </a:cubicBezTo>
                  <a:cubicBezTo>
                    <a:pt x="1014" y="1261"/>
                    <a:pt x="1019" y="1269"/>
                    <a:pt x="1027" y="1276"/>
                  </a:cubicBezTo>
                  <a:cubicBezTo>
                    <a:pt x="1030" y="1280"/>
                    <a:pt x="1035" y="1283"/>
                    <a:pt x="1039" y="1286"/>
                  </a:cubicBezTo>
                  <a:cubicBezTo>
                    <a:pt x="1044" y="1289"/>
                    <a:pt x="1049" y="1290"/>
                    <a:pt x="1056" y="1292"/>
                  </a:cubicBezTo>
                  <a:cubicBezTo>
                    <a:pt x="1062" y="1293"/>
                    <a:pt x="1069" y="1294"/>
                    <a:pt x="1077" y="1294"/>
                  </a:cubicBezTo>
                  <a:cubicBezTo>
                    <a:pt x="1085" y="1294"/>
                    <a:pt x="1094" y="1294"/>
                    <a:pt x="1105" y="1292"/>
                  </a:cubicBezTo>
                  <a:lnTo>
                    <a:pt x="1168" y="1229"/>
                  </a:lnTo>
                  <a:close/>
                  <a:moveTo>
                    <a:pt x="1279" y="1563"/>
                  </a:moveTo>
                  <a:cubicBezTo>
                    <a:pt x="1278" y="1564"/>
                    <a:pt x="1277" y="1565"/>
                    <a:pt x="1276" y="1565"/>
                  </a:cubicBezTo>
                  <a:cubicBezTo>
                    <a:pt x="1275" y="1565"/>
                    <a:pt x="1273" y="1565"/>
                    <a:pt x="1272" y="1564"/>
                  </a:cubicBezTo>
                  <a:cubicBezTo>
                    <a:pt x="1270" y="1564"/>
                    <a:pt x="1269" y="1562"/>
                    <a:pt x="1266" y="1561"/>
                  </a:cubicBezTo>
                  <a:cubicBezTo>
                    <a:pt x="1264" y="1559"/>
                    <a:pt x="1262" y="1557"/>
                    <a:pt x="1259" y="1554"/>
                  </a:cubicBezTo>
                  <a:cubicBezTo>
                    <a:pt x="1256" y="1551"/>
                    <a:pt x="1254" y="1549"/>
                    <a:pt x="1252" y="1546"/>
                  </a:cubicBezTo>
                  <a:cubicBezTo>
                    <a:pt x="1250" y="1544"/>
                    <a:pt x="1249" y="1543"/>
                    <a:pt x="1249" y="1541"/>
                  </a:cubicBezTo>
                  <a:cubicBezTo>
                    <a:pt x="1248" y="1539"/>
                    <a:pt x="1248" y="1538"/>
                    <a:pt x="1248" y="1537"/>
                  </a:cubicBezTo>
                  <a:cubicBezTo>
                    <a:pt x="1248" y="1536"/>
                    <a:pt x="1249" y="1535"/>
                    <a:pt x="1250" y="1534"/>
                  </a:cubicBezTo>
                  <a:lnTo>
                    <a:pt x="1343" y="1441"/>
                  </a:lnTo>
                  <a:cubicBezTo>
                    <a:pt x="1352" y="1432"/>
                    <a:pt x="1359" y="1424"/>
                    <a:pt x="1363" y="1417"/>
                  </a:cubicBezTo>
                  <a:cubicBezTo>
                    <a:pt x="1367" y="1410"/>
                    <a:pt x="1370" y="1403"/>
                    <a:pt x="1371" y="1396"/>
                  </a:cubicBezTo>
                  <a:cubicBezTo>
                    <a:pt x="1372" y="1389"/>
                    <a:pt x="1372" y="1383"/>
                    <a:pt x="1370" y="1376"/>
                  </a:cubicBezTo>
                  <a:cubicBezTo>
                    <a:pt x="1367" y="1370"/>
                    <a:pt x="1363" y="1364"/>
                    <a:pt x="1358" y="1358"/>
                  </a:cubicBezTo>
                  <a:cubicBezTo>
                    <a:pt x="1351" y="1351"/>
                    <a:pt x="1341" y="1346"/>
                    <a:pt x="1328" y="1344"/>
                  </a:cubicBezTo>
                  <a:cubicBezTo>
                    <a:pt x="1316" y="1342"/>
                    <a:pt x="1300" y="1342"/>
                    <a:pt x="1282" y="1344"/>
                  </a:cubicBezTo>
                  <a:lnTo>
                    <a:pt x="1171" y="1455"/>
                  </a:lnTo>
                  <a:cubicBezTo>
                    <a:pt x="1170" y="1456"/>
                    <a:pt x="1169" y="1457"/>
                    <a:pt x="1168" y="1457"/>
                  </a:cubicBezTo>
                  <a:cubicBezTo>
                    <a:pt x="1167" y="1457"/>
                    <a:pt x="1166" y="1457"/>
                    <a:pt x="1164" y="1456"/>
                  </a:cubicBezTo>
                  <a:cubicBezTo>
                    <a:pt x="1163" y="1456"/>
                    <a:pt x="1161" y="1455"/>
                    <a:pt x="1159" y="1453"/>
                  </a:cubicBezTo>
                  <a:cubicBezTo>
                    <a:pt x="1156" y="1451"/>
                    <a:pt x="1154" y="1449"/>
                    <a:pt x="1151" y="1446"/>
                  </a:cubicBezTo>
                  <a:cubicBezTo>
                    <a:pt x="1148" y="1443"/>
                    <a:pt x="1146" y="1441"/>
                    <a:pt x="1144" y="1439"/>
                  </a:cubicBezTo>
                  <a:cubicBezTo>
                    <a:pt x="1143" y="1436"/>
                    <a:pt x="1141" y="1435"/>
                    <a:pt x="1141" y="1433"/>
                  </a:cubicBezTo>
                  <a:cubicBezTo>
                    <a:pt x="1140" y="1431"/>
                    <a:pt x="1140" y="1430"/>
                    <a:pt x="1140" y="1429"/>
                  </a:cubicBezTo>
                  <a:cubicBezTo>
                    <a:pt x="1140" y="1428"/>
                    <a:pt x="1141" y="1427"/>
                    <a:pt x="1142" y="1426"/>
                  </a:cubicBezTo>
                  <a:lnTo>
                    <a:pt x="1301" y="1267"/>
                  </a:lnTo>
                  <a:cubicBezTo>
                    <a:pt x="1302" y="1266"/>
                    <a:pt x="1303" y="1265"/>
                    <a:pt x="1304" y="1265"/>
                  </a:cubicBezTo>
                  <a:cubicBezTo>
                    <a:pt x="1305" y="1265"/>
                    <a:pt x="1306" y="1265"/>
                    <a:pt x="1308" y="1265"/>
                  </a:cubicBezTo>
                  <a:cubicBezTo>
                    <a:pt x="1309" y="1266"/>
                    <a:pt x="1311" y="1267"/>
                    <a:pt x="1313" y="1268"/>
                  </a:cubicBezTo>
                  <a:cubicBezTo>
                    <a:pt x="1315" y="1270"/>
                    <a:pt x="1317" y="1272"/>
                    <a:pt x="1320" y="1275"/>
                  </a:cubicBezTo>
                  <a:cubicBezTo>
                    <a:pt x="1322" y="1277"/>
                    <a:pt x="1324" y="1280"/>
                    <a:pt x="1326" y="1281"/>
                  </a:cubicBezTo>
                  <a:cubicBezTo>
                    <a:pt x="1328" y="1283"/>
                    <a:pt x="1328" y="1285"/>
                    <a:pt x="1329" y="1287"/>
                  </a:cubicBezTo>
                  <a:cubicBezTo>
                    <a:pt x="1329" y="1288"/>
                    <a:pt x="1329" y="1289"/>
                    <a:pt x="1329" y="1290"/>
                  </a:cubicBezTo>
                  <a:cubicBezTo>
                    <a:pt x="1329" y="1291"/>
                    <a:pt x="1328" y="1292"/>
                    <a:pt x="1327" y="1293"/>
                  </a:cubicBezTo>
                  <a:lnTo>
                    <a:pt x="1306" y="1314"/>
                  </a:lnTo>
                  <a:cubicBezTo>
                    <a:pt x="1325" y="1313"/>
                    <a:pt x="1342" y="1315"/>
                    <a:pt x="1355" y="1319"/>
                  </a:cubicBezTo>
                  <a:cubicBezTo>
                    <a:pt x="1369" y="1323"/>
                    <a:pt x="1380" y="1330"/>
                    <a:pt x="1389" y="1339"/>
                  </a:cubicBezTo>
                  <a:cubicBezTo>
                    <a:pt x="1400" y="1350"/>
                    <a:pt x="1407" y="1360"/>
                    <a:pt x="1410" y="1371"/>
                  </a:cubicBezTo>
                  <a:cubicBezTo>
                    <a:pt x="1414" y="1382"/>
                    <a:pt x="1415" y="1393"/>
                    <a:pt x="1414" y="1403"/>
                  </a:cubicBezTo>
                  <a:cubicBezTo>
                    <a:pt x="1412" y="1414"/>
                    <a:pt x="1408" y="1424"/>
                    <a:pt x="1402" y="1434"/>
                  </a:cubicBezTo>
                  <a:cubicBezTo>
                    <a:pt x="1396" y="1444"/>
                    <a:pt x="1387" y="1455"/>
                    <a:pt x="1376" y="1466"/>
                  </a:cubicBezTo>
                  <a:lnTo>
                    <a:pt x="1279" y="1563"/>
                  </a:lnTo>
                  <a:close/>
                  <a:moveTo>
                    <a:pt x="1363" y="1648"/>
                  </a:moveTo>
                  <a:cubicBezTo>
                    <a:pt x="1363" y="1649"/>
                    <a:pt x="1361" y="1649"/>
                    <a:pt x="1360" y="1649"/>
                  </a:cubicBezTo>
                  <a:cubicBezTo>
                    <a:pt x="1359" y="1649"/>
                    <a:pt x="1358" y="1649"/>
                    <a:pt x="1356" y="1649"/>
                  </a:cubicBezTo>
                  <a:cubicBezTo>
                    <a:pt x="1355" y="1648"/>
                    <a:pt x="1353" y="1647"/>
                    <a:pt x="1351" y="1645"/>
                  </a:cubicBezTo>
                  <a:cubicBezTo>
                    <a:pt x="1349" y="1644"/>
                    <a:pt x="1346" y="1641"/>
                    <a:pt x="1343" y="1638"/>
                  </a:cubicBezTo>
                  <a:cubicBezTo>
                    <a:pt x="1340" y="1636"/>
                    <a:pt x="1338" y="1633"/>
                    <a:pt x="1337" y="1631"/>
                  </a:cubicBezTo>
                  <a:cubicBezTo>
                    <a:pt x="1335" y="1629"/>
                    <a:pt x="1334" y="1627"/>
                    <a:pt x="1333" y="1625"/>
                  </a:cubicBezTo>
                  <a:cubicBezTo>
                    <a:pt x="1333" y="1624"/>
                    <a:pt x="1332" y="1622"/>
                    <a:pt x="1333" y="1621"/>
                  </a:cubicBezTo>
                  <a:cubicBezTo>
                    <a:pt x="1333" y="1620"/>
                    <a:pt x="1333" y="1619"/>
                    <a:pt x="1334" y="1618"/>
                  </a:cubicBezTo>
                  <a:lnTo>
                    <a:pt x="1493" y="1459"/>
                  </a:lnTo>
                  <a:cubicBezTo>
                    <a:pt x="1494" y="1458"/>
                    <a:pt x="1495" y="1458"/>
                    <a:pt x="1496" y="1458"/>
                  </a:cubicBezTo>
                  <a:cubicBezTo>
                    <a:pt x="1497" y="1457"/>
                    <a:pt x="1499" y="1458"/>
                    <a:pt x="1500" y="1458"/>
                  </a:cubicBezTo>
                  <a:cubicBezTo>
                    <a:pt x="1502" y="1459"/>
                    <a:pt x="1504" y="1460"/>
                    <a:pt x="1506" y="1462"/>
                  </a:cubicBezTo>
                  <a:cubicBezTo>
                    <a:pt x="1508" y="1463"/>
                    <a:pt x="1511" y="1465"/>
                    <a:pt x="1513" y="1468"/>
                  </a:cubicBezTo>
                  <a:cubicBezTo>
                    <a:pt x="1516" y="1471"/>
                    <a:pt x="1519" y="1474"/>
                    <a:pt x="1520" y="1476"/>
                  </a:cubicBezTo>
                  <a:cubicBezTo>
                    <a:pt x="1522" y="1478"/>
                    <a:pt x="1523" y="1480"/>
                    <a:pt x="1524" y="1481"/>
                  </a:cubicBezTo>
                  <a:cubicBezTo>
                    <a:pt x="1524" y="1483"/>
                    <a:pt x="1524" y="1484"/>
                    <a:pt x="1524" y="1485"/>
                  </a:cubicBezTo>
                  <a:cubicBezTo>
                    <a:pt x="1524" y="1487"/>
                    <a:pt x="1523" y="1488"/>
                    <a:pt x="1523" y="1488"/>
                  </a:cubicBezTo>
                  <a:lnTo>
                    <a:pt x="1363" y="1648"/>
                  </a:lnTo>
                  <a:close/>
                  <a:moveTo>
                    <a:pt x="1580" y="1438"/>
                  </a:moveTo>
                  <a:cubicBezTo>
                    <a:pt x="1573" y="1445"/>
                    <a:pt x="1567" y="1448"/>
                    <a:pt x="1562" y="1448"/>
                  </a:cubicBezTo>
                  <a:cubicBezTo>
                    <a:pt x="1557" y="1448"/>
                    <a:pt x="1551" y="1445"/>
                    <a:pt x="1544" y="1438"/>
                  </a:cubicBezTo>
                  <a:cubicBezTo>
                    <a:pt x="1537" y="1431"/>
                    <a:pt x="1533" y="1425"/>
                    <a:pt x="1533" y="1420"/>
                  </a:cubicBezTo>
                  <a:cubicBezTo>
                    <a:pt x="1533" y="1415"/>
                    <a:pt x="1537" y="1409"/>
                    <a:pt x="1543" y="1402"/>
                  </a:cubicBezTo>
                  <a:cubicBezTo>
                    <a:pt x="1550" y="1396"/>
                    <a:pt x="1556" y="1392"/>
                    <a:pt x="1561" y="1392"/>
                  </a:cubicBezTo>
                  <a:cubicBezTo>
                    <a:pt x="1566" y="1392"/>
                    <a:pt x="1572" y="1396"/>
                    <a:pt x="1579" y="1403"/>
                  </a:cubicBezTo>
                  <a:cubicBezTo>
                    <a:pt x="1586" y="1410"/>
                    <a:pt x="1589" y="1416"/>
                    <a:pt x="1590" y="1421"/>
                  </a:cubicBezTo>
                  <a:cubicBezTo>
                    <a:pt x="1590" y="1426"/>
                    <a:pt x="1586" y="1431"/>
                    <a:pt x="1580" y="1438"/>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406" name="Freeform 153"/>
            <p:cNvSpPr>
              <a:spLocks noEditPoints="1"/>
            </p:cNvSpPr>
            <p:nvPr/>
          </p:nvSpPr>
          <p:spPr bwMode="auto">
            <a:xfrm>
              <a:off x="1836" y="1454"/>
              <a:ext cx="284" cy="293"/>
            </a:xfrm>
            <a:custGeom>
              <a:avLst/>
              <a:gdLst>
                <a:gd name="T0" fmla="*/ 33 w 2689"/>
                <a:gd name="T1" fmla="*/ 252 h 2773"/>
                <a:gd name="T2" fmla="*/ 225 w 2689"/>
                <a:gd name="T3" fmla="*/ 0 h 2773"/>
                <a:gd name="T4" fmla="*/ 338 w 2689"/>
                <a:gd name="T5" fmla="*/ 113 h 2773"/>
                <a:gd name="T6" fmla="*/ 183 w 2689"/>
                <a:gd name="T7" fmla="*/ 167 h 2773"/>
                <a:gd name="T8" fmla="*/ 214 w 2689"/>
                <a:gd name="T9" fmla="*/ 404 h 2773"/>
                <a:gd name="T10" fmla="*/ 420 w 2689"/>
                <a:gd name="T11" fmla="*/ 477 h 2773"/>
                <a:gd name="T12" fmla="*/ 268 w 2689"/>
                <a:gd name="T13" fmla="*/ 377 h 2773"/>
                <a:gd name="T14" fmla="*/ 602 w 2689"/>
                <a:gd name="T15" fmla="*/ 546 h 2773"/>
                <a:gd name="T16" fmla="*/ 506 w 2689"/>
                <a:gd name="T17" fmla="*/ 516 h 2773"/>
                <a:gd name="T18" fmla="*/ 531 w 2689"/>
                <a:gd name="T19" fmla="*/ 433 h 2773"/>
                <a:gd name="T20" fmla="*/ 562 w 2689"/>
                <a:gd name="T21" fmla="*/ 479 h 2773"/>
                <a:gd name="T22" fmla="*/ 620 w 2689"/>
                <a:gd name="T23" fmla="*/ 529 h 2773"/>
                <a:gd name="T24" fmla="*/ 504 w 2689"/>
                <a:gd name="T25" fmla="*/ 713 h 2773"/>
                <a:gd name="T26" fmla="*/ 561 w 2689"/>
                <a:gd name="T27" fmla="*/ 750 h 2773"/>
                <a:gd name="T28" fmla="*/ 600 w 2689"/>
                <a:gd name="T29" fmla="*/ 643 h 2773"/>
                <a:gd name="T30" fmla="*/ 752 w 2689"/>
                <a:gd name="T31" fmla="*/ 658 h 2773"/>
                <a:gd name="T32" fmla="*/ 721 w 2689"/>
                <a:gd name="T33" fmla="*/ 664 h 2773"/>
                <a:gd name="T34" fmla="*/ 657 w 2689"/>
                <a:gd name="T35" fmla="*/ 697 h 2773"/>
                <a:gd name="T36" fmla="*/ 636 w 2689"/>
                <a:gd name="T37" fmla="*/ 865 h 2773"/>
                <a:gd name="T38" fmla="*/ 778 w 2689"/>
                <a:gd name="T39" fmla="*/ 714 h 2773"/>
                <a:gd name="T40" fmla="*/ 894 w 2689"/>
                <a:gd name="T41" fmla="*/ 807 h 2773"/>
                <a:gd name="T42" fmla="*/ 758 w 2689"/>
                <a:gd name="T43" fmla="*/ 950 h 2773"/>
                <a:gd name="T44" fmla="*/ 900 w 2689"/>
                <a:gd name="T45" fmla="*/ 1084 h 2773"/>
                <a:gd name="T46" fmla="*/ 925 w 2689"/>
                <a:gd name="T47" fmla="*/ 1131 h 2773"/>
                <a:gd name="T48" fmla="*/ 901 w 2689"/>
                <a:gd name="T49" fmla="*/ 889 h 2773"/>
                <a:gd name="T50" fmla="*/ 1018 w 2689"/>
                <a:gd name="T51" fmla="*/ 975 h 2773"/>
                <a:gd name="T52" fmla="*/ 1393 w 2689"/>
                <a:gd name="T53" fmla="*/ 1215 h 2773"/>
                <a:gd name="T54" fmla="*/ 1095 w 2689"/>
                <a:gd name="T55" fmla="*/ 1319 h 2773"/>
                <a:gd name="T56" fmla="*/ 1254 w 2689"/>
                <a:gd name="T57" fmla="*/ 1026 h 2773"/>
                <a:gd name="T58" fmla="*/ 1333 w 2689"/>
                <a:gd name="T59" fmla="*/ 1555 h 2773"/>
                <a:gd name="T60" fmla="*/ 1497 w 2689"/>
                <a:gd name="T61" fmla="*/ 1395 h 2773"/>
                <a:gd name="T62" fmla="*/ 1388 w 2689"/>
                <a:gd name="T63" fmla="*/ 1358 h 2773"/>
                <a:gd name="T64" fmla="*/ 1429 w 2689"/>
                <a:gd name="T65" fmla="*/ 1490 h 2773"/>
                <a:gd name="T66" fmla="*/ 1549 w 2689"/>
                <a:gd name="T67" fmla="*/ 1776 h 2773"/>
                <a:gd name="T68" fmla="*/ 1457 w 2689"/>
                <a:gd name="T69" fmla="*/ 1688 h 2773"/>
                <a:gd name="T70" fmla="*/ 1567 w 2689"/>
                <a:gd name="T71" fmla="*/ 1458 h 2773"/>
                <a:gd name="T72" fmla="*/ 1663 w 2689"/>
                <a:gd name="T73" fmla="*/ 1559 h 2773"/>
                <a:gd name="T74" fmla="*/ 1596 w 2689"/>
                <a:gd name="T75" fmla="*/ 1760 h 2773"/>
                <a:gd name="T76" fmla="*/ 1793 w 2689"/>
                <a:gd name="T77" fmla="*/ 2013 h 2773"/>
                <a:gd name="T78" fmla="*/ 1690 w 2689"/>
                <a:gd name="T79" fmla="*/ 1919 h 2773"/>
                <a:gd name="T80" fmla="*/ 1884 w 2689"/>
                <a:gd name="T81" fmla="*/ 1860 h 2773"/>
                <a:gd name="T82" fmla="*/ 1804 w 2689"/>
                <a:gd name="T83" fmla="*/ 1757 h 2773"/>
                <a:gd name="T84" fmla="*/ 1923 w 2689"/>
                <a:gd name="T85" fmla="*/ 1876 h 2773"/>
                <a:gd name="T86" fmla="*/ 1737 w 2689"/>
                <a:gd name="T87" fmla="*/ 1927 h 2773"/>
                <a:gd name="T88" fmla="*/ 2072 w 2689"/>
                <a:gd name="T89" fmla="*/ 2017 h 2773"/>
                <a:gd name="T90" fmla="*/ 1871 w 2689"/>
                <a:gd name="T91" fmla="*/ 2101 h 2773"/>
                <a:gd name="T92" fmla="*/ 2032 w 2689"/>
                <a:gd name="T93" fmla="*/ 1922 h 2773"/>
                <a:gd name="T94" fmla="*/ 2096 w 2689"/>
                <a:gd name="T95" fmla="*/ 1982 h 2773"/>
                <a:gd name="T96" fmla="*/ 2123 w 2689"/>
                <a:gd name="T97" fmla="*/ 2308 h 2773"/>
                <a:gd name="T98" fmla="*/ 2216 w 2689"/>
                <a:gd name="T99" fmla="*/ 2101 h 2773"/>
                <a:gd name="T100" fmla="*/ 2163 w 2689"/>
                <a:gd name="T101" fmla="*/ 2107 h 2773"/>
                <a:gd name="T102" fmla="*/ 2148 w 2689"/>
                <a:gd name="T103" fmla="*/ 2259 h 2773"/>
                <a:gd name="T104" fmla="*/ 2311 w 2689"/>
                <a:gd name="T105" fmla="*/ 2541 h 2773"/>
                <a:gd name="T106" fmla="*/ 2224 w 2689"/>
                <a:gd name="T107" fmla="*/ 2455 h 2773"/>
                <a:gd name="T108" fmla="*/ 2320 w 2689"/>
                <a:gd name="T109" fmla="*/ 2212 h 2773"/>
                <a:gd name="T110" fmla="*/ 2417 w 2689"/>
                <a:gd name="T111" fmla="*/ 2319 h 2773"/>
                <a:gd name="T112" fmla="*/ 2352 w 2689"/>
                <a:gd name="T113" fmla="*/ 2520 h 2773"/>
                <a:gd name="T114" fmla="*/ 2553 w 2689"/>
                <a:gd name="T115" fmla="*/ 2454 h 2773"/>
                <a:gd name="T116" fmla="*/ 2468 w 2689"/>
                <a:gd name="T117" fmla="*/ 2703 h 2773"/>
                <a:gd name="T118" fmla="*/ 2628 w 2689"/>
                <a:gd name="T119" fmla="*/ 2636 h 2773"/>
                <a:gd name="T120" fmla="*/ 2559 w 2689"/>
                <a:gd name="T121" fmla="*/ 2520 h 2773"/>
                <a:gd name="T122" fmla="*/ 2689 w 2689"/>
                <a:gd name="T123" fmla="*/ 2605 h 2773"/>
                <a:gd name="T124" fmla="*/ 2480 w 2689"/>
                <a:gd name="T125" fmla="*/ 2655 h 2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89" h="2773">
                  <a:moveTo>
                    <a:pt x="152" y="370"/>
                  </a:moveTo>
                  <a:cubicBezTo>
                    <a:pt x="151" y="371"/>
                    <a:pt x="150" y="372"/>
                    <a:pt x="149" y="372"/>
                  </a:cubicBezTo>
                  <a:cubicBezTo>
                    <a:pt x="147" y="373"/>
                    <a:pt x="146" y="372"/>
                    <a:pt x="144" y="372"/>
                  </a:cubicBezTo>
                  <a:cubicBezTo>
                    <a:pt x="143" y="371"/>
                    <a:pt x="141" y="370"/>
                    <a:pt x="138" y="368"/>
                  </a:cubicBezTo>
                  <a:cubicBezTo>
                    <a:pt x="136" y="366"/>
                    <a:pt x="133" y="364"/>
                    <a:pt x="130" y="361"/>
                  </a:cubicBezTo>
                  <a:cubicBezTo>
                    <a:pt x="126" y="357"/>
                    <a:pt x="123" y="353"/>
                    <a:pt x="121" y="350"/>
                  </a:cubicBezTo>
                  <a:cubicBezTo>
                    <a:pt x="118" y="347"/>
                    <a:pt x="117" y="345"/>
                    <a:pt x="117" y="342"/>
                  </a:cubicBezTo>
                  <a:cubicBezTo>
                    <a:pt x="116" y="340"/>
                    <a:pt x="116" y="338"/>
                    <a:pt x="117" y="336"/>
                  </a:cubicBezTo>
                  <a:lnTo>
                    <a:pt x="147" y="138"/>
                  </a:lnTo>
                  <a:lnTo>
                    <a:pt x="33" y="252"/>
                  </a:lnTo>
                  <a:cubicBezTo>
                    <a:pt x="32" y="253"/>
                    <a:pt x="31" y="253"/>
                    <a:pt x="30" y="254"/>
                  </a:cubicBezTo>
                  <a:cubicBezTo>
                    <a:pt x="28" y="254"/>
                    <a:pt x="27" y="254"/>
                    <a:pt x="25" y="253"/>
                  </a:cubicBezTo>
                  <a:cubicBezTo>
                    <a:pt x="24" y="252"/>
                    <a:pt x="22" y="251"/>
                    <a:pt x="20" y="249"/>
                  </a:cubicBezTo>
                  <a:cubicBezTo>
                    <a:pt x="17" y="248"/>
                    <a:pt x="15" y="245"/>
                    <a:pt x="12" y="242"/>
                  </a:cubicBezTo>
                  <a:cubicBezTo>
                    <a:pt x="9" y="240"/>
                    <a:pt x="7" y="237"/>
                    <a:pt x="5" y="235"/>
                  </a:cubicBezTo>
                  <a:cubicBezTo>
                    <a:pt x="3" y="232"/>
                    <a:pt x="2" y="230"/>
                    <a:pt x="1" y="229"/>
                  </a:cubicBezTo>
                  <a:cubicBezTo>
                    <a:pt x="0" y="227"/>
                    <a:pt x="0" y="226"/>
                    <a:pt x="1" y="225"/>
                  </a:cubicBezTo>
                  <a:cubicBezTo>
                    <a:pt x="1" y="223"/>
                    <a:pt x="1" y="222"/>
                    <a:pt x="2" y="222"/>
                  </a:cubicBezTo>
                  <a:lnTo>
                    <a:pt x="222" y="2"/>
                  </a:lnTo>
                  <a:cubicBezTo>
                    <a:pt x="223" y="1"/>
                    <a:pt x="224" y="0"/>
                    <a:pt x="225" y="0"/>
                  </a:cubicBezTo>
                  <a:cubicBezTo>
                    <a:pt x="226" y="0"/>
                    <a:pt x="228" y="0"/>
                    <a:pt x="229" y="1"/>
                  </a:cubicBezTo>
                  <a:cubicBezTo>
                    <a:pt x="231" y="2"/>
                    <a:pt x="233" y="3"/>
                    <a:pt x="235" y="5"/>
                  </a:cubicBezTo>
                  <a:cubicBezTo>
                    <a:pt x="237" y="6"/>
                    <a:pt x="240" y="9"/>
                    <a:pt x="243" y="12"/>
                  </a:cubicBezTo>
                  <a:cubicBezTo>
                    <a:pt x="246" y="14"/>
                    <a:pt x="248" y="17"/>
                    <a:pt x="250" y="19"/>
                  </a:cubicBezTo>
                  <a:cubicBezTo>
                    <a:pt x="251" y="22"/>
                    <a:pt x="252" y="23"/>
                    <a:pt x="253" y="25"/>
                  </a:cubicBezTo>
                  <a:cubicBezTo>
                    <a:pt x="254" y="27"/>
                    <a:pt x="254" y="28"/>
                    <a:pt x="254" y="29"/>
                  </a:cubicBezTo>
                  <a:cubicBezTo>
                    <a:pt x="254" y="30"/>
                    <a:pt x="253" y="31"/>
                    <a:pt x="252" y="32"/>
                  </a:cubicBezTo>
                  <a:lnTo>
                    <a:pt x="151" y="134"/>
                  </a:lnTo>
                  <a:lnTo>
                    <a:pt x="333" y="113"/>
                  </a:lnTo>
                  <a:cubicBezTo>
                    <a:pt x="335" y="113"/>
                    <a:pt x="337" y="113"/>
                    <a:pt x="338" y="113"/>
                  </a:cubicBezTo>
                  <a:cubicBezTo>
                    <a:pt x="340" y="113"/>
                    <a:pt x="342" y="114"/>
                    <a:pt x="343" y="115"/>
                  </a:cubicBezTo>
                  <a:cubicBezTo>
                    <a:pt x="345" y="116"/>
                    <a:pt x="347" y="117"/>
                    <a:pt x="349" y="119"/>
                  </a:cubicBezTo>
                  <a:cubicBezTo>
                    <a:pt x="351" y="121"/>
                    <a:pt x="354" y="123"/>
                    <a:pt x="357" y="126"/>
                  </a:cubicBezTo>
                  <a:cubicBezTo>
                    <a:pt x="360" y="129"/>
                    <a:pt x="363" y="132"/>
                    <a:pt x="364" y="134"/>
                  </a:cubicBezTo>
                  <a:cubicBezTo>
                    <a:pt x="366" y="136"/>
                    <a:pt x="367" y="138"/>
                    <a:pt x="368" y="140"/>
                  </a:cubicBezTo>
                  <a:cubicBezTo>
                    <a:pt x="368" y="141"/>
                    <a:pt x="368" y="143"/>
                    <a:pt x="368" y="144"/>
                  </a:cubicBezTo>
                  <a:cubicBezTo>
                    <a:pt x="368" y="145"/>
                    <a:pt x="367" y="146"/>
                    <a:pt x="366" y="147"/>
                  </a:cubicBezTo>
                  <a:cubicBezTo>
                    <a:pt x="365" y="148"/>
                    <a:pt x="363" y="149"/>
                    <a:pt x="361" y="150"/>
                  </a:cubicBezTo>
                  <a:cubicBezTo>
                    <a:pt x="358" y="151"/>
                    <a:pt x="355" y="151"/>
                    <a:pt x="350" y="152"/>
                  </a:cubicBezTo>
                  <a:lnTo>
                    <a:pt x="183" y="167"/>
                  </a:lnTo>
                  <a:lnTo>
                    <a:pt x="157" y="357"/>
                  </a:lnTo>
                  <a:cubicBezTo>
                    <a:pt x="155" y="362"/>
                    <a:pt x="155" y="365"/>
                    <a:pt x="154" y="367"/>
                  </a:cubicBezTo>
                  <a:cubicBezTo>
                    <a:pt x="153" y="369"/>
                    <a:pt x="152" y="370"/>
                    <a:pt x="152" y="370"/>
                  </a:cubicBezTo>
                  <a:close/>
                  <a:moveTo>
                    <a:pt x="420" y="477"/>
                  </a:moveTo>
                  <a:cubicBezTo>
                    <a:pt x="407" y="490"/>
                    <a:pt x="394" y="501"/>
                    <a:pt x="379" y="508"/>
                  </a:cubicBezTo>
                  <a:cubicBezTo>
                    <a:pt x="365" y="515"/>
                    <a:pt x="351" y="520"/>
                    <a:pt x="336" y="521"/>
                  </a:cubicBezTo>
                  <a:cubicBezTo>
                    <a:pt x="321" y="522"/>
                    <a:pt x="307" y="520"/>
                    <a:pt x="292" y="514"/>
                  </a:cubicBezTo>
                  <a:cubicBezTo>
                    <a:pt x="277" y="508"/>
                    <a:pt x="263" y="499"/>
                    <a:pt x="250" y="485"/>
                  </a:cubicBezTo>
                  <a:cubicBezTo>
                    <a:pt x="237" y="472"/>
                    <a:pt x="227" y="459"/>
                    <a:pt x="222" y="445"/>
                  </a:cubicBezTo>
                  <a:cubicBezTo>
                    <a:pt x="216" y="431"/>
                    <a:pt x="213" y="418"/>
                    <a:pt x="214" y="404"/>
                  </a:cubicBezTo>
                  <a:cubicBezTo>
                    <a:pt x="215" y="390"/>
                    <a:pt x="219" y="376"/>
                    <a:pt x="227" y="362"/>
                  </a:cubicBezTo>
                  <a:cubicBezTo>
                    <a:pt x="234" y="348"/>
                    <a:pt x="245" y="335"/>
                    <a:pt x="258" y="321"/>
                  </a:cubicBezTo>
                  <a:cubicBezTo>
                    <a:pt x="271" y="308"/>
                    <a:pt x="285" y="298"/>
                    <a:pt x="299" y="291"/>
                  </a:cubicBezTo>
                  <a:cubicBezTo>
                    <a:pt x="313" y="283"/>
                    <a:pt x="328" y="279"/>
                    <a:pt x="342" y="278"/>
                  </a:cubicBezTo>
                  <a:cubicBezTo>
                    <a:pt x="357" y="277"/>
                    <a:pt x="372" y="279"/>
                    <a:pt x="386" y="285"/>
                  </a:cubicBezTo>
                  <a:cubicBezTo>
                    <a:pt x="400" y="290"/>
                    <a:pt x="415" y="300"/>
                    <a:pt x="428" y="314"/>
                  </a:cubicBezTo>
                  <a:cubicBezTo>
                    <a:pt x="441" y="327"/>
                    <a:pt x="451" y="340"/>
                    <a:pt x="456" y="354"/>
                  </a:cubicBezTo>
                  <a:cubicBezTo>
                    <a:pt x="462" y="367"/>
                    <a:pt x="465" y="381"/>
                    <a:pt x="464" y="395"/>
                  </a:cubicBezTo>
                  <a:cubicBezTo>
                    <a:pt x="463" y="409"/>
                    <a:pt x="459" y="423"/>
                    <a:pt x="451" y="437"/>
                  </a:cubicBezTo>
                  <a:cubicBezTo>
                    <a:pt x="444" y="450"/>
                    <a:pt x="434" y="464"/>
                    <a:pt x="420" y="477"/>
                  </a:cubicBezTo>
                  <a:close/>
                  <a:moveTo>
                    <a:pt x="388" y="449"/>
                  </a:moveTo>
                  <a:cubicBezTo>
                    <a:pt x="397" y="440"/>
                    <a:pt x="404" y="431"/>
                    <a:pt x="410" y="422"/>
                  </a:cubicBezTo>
                  <a:cubicBezTo>
                    <a:pt x="416" y="413"/>
                    <a:pt x="420" y="404"/>
                    <a:pt x="422" y="394"/>
                  </a:cubicBezTo>
                  <a:cubicBezTo>
                    <a:pt x="424" y="385"/>
                    <a:pt x="424" y="375"/>
                    <a:pt x="421" y="365"/>
                  </a:cubicBezTo>
                  <a:cubicBezTo>
                    <a:pt x="418" y="356"/>
                    <a:pt x="412" y="346"/>
                    <a:pt x="403" y="337"/>
                  </a:cubicBezTo>
                  <a:cubicBezTo>
                    <a:pt x="394" y="328"/>
                    <a:pt x="385" y="322"/>
                    <a:pt x="376" y="319"/>
                  </a:cubicBezTo>
                  <a:cubicBezTo>
                    <a:pt x="366" y="316"/>
                    <a:pt x="357" y="315"/>
                    <a:pt x="347" y="317"/>
                  </a:cubicBezTo>
                  <a:cubicBezTo>
                    <a:pt x="337" y="318"/>
                    <a:pt x="328" y="322"/>
                    <a:pt x="318" y="328"/>
                  </a:cubicBezTo>
                  <a:cubicBezTo>
                    <a:pt x="309" y="333"/>
                    <a:pt x="299" y="341"/>
                    <a:pt x="290" y="350"/>
                  </a:cubicBezTo>
                  <a:cubicBezTo>
                    <a:pt x="281" y="358"/>
                    <a:pt x="274" y="367"/>
                    <a:pt x="268" y="377"/>
                  </a:cubicBezTo>
                  <a:cubicBezTo>
                    <a:pt x="262" y="386"/>
                    <a:pt x="258" y="395"/>
                    <a:pt x="256" y="405"/>
                  </a:cubicBezTo>
                  <a:cubicBezTo>
                    <a:pt x="254" y="414"/>
                    <a:pt x="255" y="424"/>
                    <a:pt x="257" y="433"/>
                  </a:cubicBezTo>
                  <a:cubicBezTo>
                    <a:pt x="260" y="443"/>
                    <a:pt x="267" y="453"/>
                    <a:pt x="276" y="462"/>
                  </a:cubicBezTo>
                  <a:cubicBezTo>
                    <a:pt x="285" y="471"/>
                    <a:pt x="293" y="476"/>
                    <a:pt x="303" y="480"/>
                  </a:cubicBezTo>
                  <a:cubicBezTo>
                    <a:pt x="312" y="483"/>
                    <a:pt x="322" y="484"/>
                    <a:pt x="331" y="482"/>
                  </a:cubicBezTo>
                  <a:cubicBezTo>
                    <a:pt x="341" y="481"/>
                    <a:pt x="350" y="477"/>
                    <a:pt x="360" y="471"/>
                  </a:cubicBezTo>
                  <a:cubicBezTo>
                    <a:pt x="370" y="466"/>
                    <a:pt x="379" y="458"/>
                    <a:pt x="388" y="449"/>
                  </a:cubicBezTo>
                  <a:close/>
                  <a:moveTo>
                    <a:pt x="614" y="536"/>
                  </a:moveTo>
                  <a:cubicBezTo>
                    <a:pt x="611" y="539"/>
                    <a:pt x="609" y="541"/>
                    <a:pt x="607" y="542"/>
                  </a:cubicBezTo>
                  <a:cubicBezTo>
                    <a:pt x="605" y="544"/>
                    <a:pt x="603" y="545"/>
                    <a:pt x="602" y="546"/>
                  </a:cubicBezTo>
                  <a:cubicBezTo>
                    <a:pt x="601" y="546"/>
                    <a:pt x="600" y="547"/>
                    <a:pt x="598" y="547"/>
                  </a:cubicBezTo>
                  <a:cubicBezTo>
                    <a:pt x="597" y="547"/>
                    <a:pt x="596" y="546"/>
                    <a:pt x="595" y="545"/>
                  </a:cubicBezTo>
                  <a:cubicBezTo>
                    <a:pt x="595" y="544"/>
                    <a:pt x="594" y="543"/>
                    <a:pt x="593" y="541"/>
                  </a:cubicBezTo>
                  <a:cubicBezTo>
                    <a:pt x="592" y="539"/>
                    <a:pt x="591" y="537"/>
                    <a:pt x="590" y="535"/>
                  </a:cubicBezTo>
                  <a:cubicBezTo>
                    <a:pt x="589" y="533"/>
                    <a:pt x="587" y="530"/>
                    <a:pt x="586" y="528"/>
                  </a:cubicBezTo>
                  <a:cubicBezTo>
                    <a:pt x="584" y="525"/>
                    <a:pt x="582" y="523"/>
                    <a:pt x="579" y="520"/>
                  </a:cubicBezTo>
                  <a:cubicBezTo>
                    <a:pt x="576" y="517"/>
                    <a:pt x="573" y="515"/>
                    <a:pt x="569" y="513"/>
                  </a:cubicBezTo>
                  <a:cubicBezTo>
                    <a:pt x="565" y="512"/>
                    <a:pt x="560" y="511"/>
                    <a:pt x="554" y="510"/>
                  </a:cubicBezTo>
                  <a:cubicBezTo>
                    <a:pt x="548" y="510"/>
                    <a:pt x="542" y="510"/>
                    <a:pt x="534" y="511"/>
                  </a:cubicBezTo>
                  <a:cubicBezTo>
                    <a:pt x="526" y="512"/>
                    <a:pt x="516" y="514"/>
                    <a:pt x="506" y="516"/>
                  </a:cubicBezTo>
                  <a:lnTo>
                    <a:pt x="401" y="621"/>
                  </a:lnTo>
                  <a:cubicBezTo>
                    <a:pt x="400" y="622"/>
                    <a:pt x="399" y="622"/>
                    <a:pt x="398" y="623"/>
                  </a:cubicBezTo>
                  <a:cubicBezTo>
                    <a:pt x="397" y="623"/>
                    <a:pt x="396" y="623"/>
                    <a:pt x="394" y="622"/>
                  </a:cubicBezTo>
                  <a:cubicBezTo>
                    <a:pt x="393" y="621"/>
                    <a:pt x="391" y="620"/>
                    <a:pt x="389" y="619"/>
                  </a:cubicBezTo>
                  <a:cubicBezTo>
                    <a:pt x="387" y="617"/>
                    <a:pt x="384" y="615"/>
                    <a:pt x="381" y="612"/>
                  </a:cubicBezTo>
                  <a:cubicBezTo>
                    <a:pt x="378" y="609"/>
                    <a:pt x="376" y="606"/>
                    <a:pt x="374" y="604"/>
                  </a:cubicBezTo>
                  <a:cubicBezTo>
                    <a:pt x="373" y="602"/>
                    <a:pt x="372" y="600"/>
                    <a:pt x="371" y="599"/>
                  </a:cubicBezTo>
                  <a:cubicBezTo>
                    <a:pt x="370" y="597"/>
                    <a:pt x="370" y="596"/>
                    <a:pt x="370" y="595"/>
                  </a:cubicBezTo>
                  <a:cubicBezTo>
                    <a:pt x="371" y="594"/>
                    <a:pt x="371" y="593"/>
                    <a:pt x="372" y="592"/>
                  </a:cubicBezTo>
                  <a:lnTo>
                    <a:pt x="531" y="433"/>
                  </a:lnTo>
                  <a:cubicBezTo>
                    <a:pt x="532" y="432"/>
                    <a:pt x="533" y="431"/>
                    <a:pt x="534" y="431"/>
                  </a:cubicBezTo>
                  <a:cubicBezTo>
                    <a:pt x="535" y="430"/>
                    <a:pt x="536" y="431"/>
                    <a:pt x="538" y="431"/>
                  </a:cubicBezTo>
                  <a:cubicBezTo>
                    <a:pt x="540" y="432"/>
                    <a:pt x="541" y="433"/>
                    <a:pt x="543" y="434"/>
                  </a:cubicBezTo>
                  <a:cubicBezTo>
                    <a:pt x="545" y="436"/>
                    <a:pt x="547" y="438"/>
                    <a:pt x="550" y="440"/>
                  </a:cubicBezTo>
                  <a:cubicBezTo>
                    <a:pt x="552" y="443"/>
                    <a:pt x="555" y="445"/>
                    <a:pt x="556" y="447"/>
                  </a:cubicBezTo>
                  <a:cubicBezTo>
                    <a:pt x="558" y="449"/>
                    <a:pt x="559" y="451"/>
                    <a:pt x="559" y="452"/>
                  </a:cubicBezTo>
                  <a:cubicBezTo>
                    <a:pt x="559" y="454"/>
                    <a:pt x="559" y="455"/>
                    <a:pt x="559" y="456"/>
                  </a:cubicBezTo>
                  <a:cubicBezTo>
                    <a:pt x="559" y="457"/>
                    <a:pt x="558" y="458"/>
                    <a:pt x="557" y="459"/>
                  </a:cubicBezTo>
                  <a:lnTo>
                    <a:pt x="534" y="482"/>
                  </a:lnTo>
                  <a:cubicBezTo>
                    <a:pt x="545" y="480"/>
                    <a:pt x="554" y="479"/>
                    <a:pt x="562" y="479"/>
                  </a:cubicBezTo>
                  <a:cubicBezTo>
                    <a:pt x="570" y="479"/>
                    <a:pt x="577" y="479"/>
                    <a:pt x="582" y="480"/>
                  </a:cubicBezTo>
                  <a:cubicBezTo>
                    <a:pt x="588" y="481"/>
                    <a:pt x="593" y="483"/>
                    <a:pt x="597" y="486"/>
                  </a:cubicBezTo>
                  <a:cubicBezTo>
                    <a:pt x="602" y="488"/>
                    <a:pt x="605" y="491"/>
                    <a:pt x="609" y="494"/>
                  </a:cubicBezTo>
                  <a:cubicBezTo>
                    <a:pt x="610" y="496"/>
                    <a:pt x="612" y="498"/>
                    <a:pt x="614" y="500"/>
                  </a:cubicBezTo>
                  <a:cubicBezTo>
                    <a:pt x="616" y="502"/>
                    <a:pt x="617" y="504"/>
                    <a:pt x="619" y="507"/>
                  </a:cubicBezTo>
                  <a:cubicBezTo>
                    <a:pt x="621" y="510"/>
                    <a:pt x="622" y="512"/>
                    <a:pt x="623" y="514"/>
                  </a:cubicBezTo>
                  <a:cubicBezTo>
                    <a:pt x="624" y="517"/>
                    <a:pt x="625" y="518"/>
                    <a:pt x="625" y="520"/>
                  </a:cubicBezTo>
                  <a:cubicBezTo>
                    <a:pt x="625" y="521"/>
                    <a:pt x="625" y="522"/>
                    <a:pt x="625" y="523"/>
                  </a:cubicBezTo>
                  <a:cubicBezTo>
                    <a:pt x="624" y="524"/>
                    <a:pt x="624" y="524"/>
                    <a:pt x="623" y="525"/>
                  </a:cubicBezTo>
                  <a:cubicBezTo>
                    <a:pt x="623" y="526"/>
                    <a:pt x="622" y="528"/>
                    <a:pt x="620" y="529"/>
                  </a:cubicBezTo>
                  <a:cubicBezTo>
                    <a:pt x="619" y="531"/>
                    <a:pt x="616" y="533"/>
                    <a:pt x="614" y="536"/>
                  </a:cubicBezTo>
                  <a:close/>
                  <a:moveTo>
                    <a:pt x="651" y="784"/>
                  </a:moveTo>
                  <a:cubicBezTo>
                    <a:pt x="643" y="792"/>
                    <a:pt x="634" y="798"/>
                    <a:pt x="625" y="801"/>
                  </a:cubicBezTo>
                  <a:cubicBezTo>
                    <a:pt x="615" y="805"/>
                    <a:pt x="606" y="806"/>
                    <a:pt x="596" y="805"/>
                  </a:cubicBezTo>
                  <a:cubicBezTo>
                    <a:pt x="586" y="803"/>
                    <a:pt x="576" y="800"/>
                    <a:pt x="566" y="795"/>
                  </a:cubicBezTo>
                  <a:cubicBezTo>
                    <a:pt x="556" y="789"/>
                    <a:pt x="547" y="782"/>
                    <a:pt x="537" y="773"/>
                  </a:cubicBezTo>
                  <a:cubicBezTo>
                    <a:pt x="532" y="767"/>
                    <a:pt x="527" y="761"/>
                    <a:pt x="523" y="755"/>
                  </a:cubicBezTo>
                  <a:cubicBezTo>
                    <a:pt x="518" y="749"/>
                    <a:pt x="515" y="743"/>
                    <a:pt x="512" y="738"/>
                  </a:cubicBezTo>
                  <a:cubicBezTo>
                    <a:pt x="510" y="733"/>
                    <a:pt x="507" y="728"/>
                    <a:pt x="506" y="723"/>
                  </a:cubicBezTo>
                  <a:cubicBezTo>
                    <a:pt x="505" y="719"/>
                    <a:pt x="504" y="716"/>
                    <a:pt x="504" y="713"/>
                  </a:cubicBezTo>
                  <a:cubicBezTo>
                    <a:pt x="504" y="711"/>
                    <a:pt x="504" y="708"/>
                    <a:pt x="506" y="706"/>
                  </a:cubicBezTo>
                  <a:cubicBezTo>
                    <a:pt x="508" y="703"/>
                    <a:pt x="510" y="700"/>
                    <a:pt x="514" y="696"/>
                  </a:cubicBezTo>
                  <a:cubicBezTo>
                    <a:pt x="516" y="694"/>
                    <a:pt x="518" y="692"/>
                    <a:pt x="520" y="691"/>
                  </a:cubicBezTo>
                  <a:cubicBezTo>
                    <a:pt x="522" y="689"/>
                    <a:pt x="523" y="688"/>
                    <a:pt x="524" y="688"/>
                  </a:cubicBezTo>
                  <a:cubicBezTo>
                    <a:pt x="526" y="687"/>
                    <a:pt x="527" y="687"/>
                    <a:pt x="528" y="687"/>
                  </a:cubicBezTo>
                  <a:cubicBezTo>
                    <a:pt x="529" y="688"/>
                    <a:pt x="530" y="688"/>
                    <a:pt x="531" y="689"/>
                  </a:cubicBezTo>
                  <a:cubicBezTo>
                    <a:pt x="532" y="690"/>
                    <a:pt x="533" y="693"/>
                    <a:pt x="534" y="697"/>
                  </a:cubicBezTo>
                  <a:cubicBezTo>
                    <a:pt x="535" y="701"/>
                    <a:pt x="536" y="706"/>
                    <a:pt x="538" y="712"/>
                  </a:cubicBezTo>
                  <a:cubicBezTo>
                    <a:pt x="540" y="717"/>
                    <a:pt x="543" y="723"/>
                    <a:pt x="546" y="730"/>
                  </a:cubicBezTo>
                  <a:cubicBezTo>
                    <a:pt x="550" y="737"/>
                    <a:pt x="555" y="743"/>
                    <a:pt x="561" y="750"/>
                  </a:cubicBezTo>
                  <a:cubicBezTo>
                    <a:pt x="566" y="755"/>
                    <a:pt x="571" y="759"/>
                    <a:pt x="576" y="762"/>
                  </a:cubicBezTo>
                  <a:cubicBezTo>
                    <a:pt x="581" y="765"/>
                    <a:pt x="586" y="767"/>
                    <a:pt x="592" y="767"/>
                  </a:cubicBezTo>
                  <a:cubicBezTo>
                    <a:pt x="597" y="768"/>
                    <a:pt x="601" y="768"/>
                    <a:pt x="606" y="766"/>
                  </a:cubicBezTo>
                  <a:cubicBezTo>
                    <a:pt x="611" y="765"/>
                    <a:pt x="616" y="762"/>
                    <a:pt x="620" y="758"/>
                  </a:cubicBezTo>
                  <a:cubicBezTo>
                    <a:pt x="624" y="753"/>
                    <a:pt x="627" y="748"/>
                    <a:pt x="628" y="743"/>
                  </a:cubicBezTo>
                  <a:cubicBezTo>
                    <a:pt x="629" y="737"/>
                    <a:pt x="628" y="732"/>
                    <a:pt x="627" y="726"/>
                  </a:cubicBezTo>
                  <a:cubicBezTo>
                    <a:pt x="625" y="719"/>
                    <a:pt x="623" y="713"/>
                    <a:pt x="620" y="707"/>
                  </a:cubicBezTo>
                  <a:cubicBezTo>
                    <a:pt x="617" y="700"/>
                    <a:pt x="614" y="693"/>
                    <a:pt x="611" y="686"/>
                  </a:cubicBezTo>
                  <a:cubicBezTo>
                    <a:pt x="608" y="679"/>
                    <a:pt x="606" y="672"/>
                    <a:pt x="604" y="665"/>
                  </a:cubicBezTo>
                  <a:cubicBezTo>
                    <a:pt x="601" y="657"/>
                    <a:pt x="600" y="650"/>
                    <a:pt x="600" y="643"/>
                  </a:cubicBezTo>
                  <a:cubicBezTo>
                    <a:pt x="600" y="635"/>
                    <a:pt x="601" y="628"/>
                    <a:pt x="604" y="620"/>
                  </a:cubicBezTo>
                  <a:cubicBezTo>
                    <a:pt x="607" y="613"/>
                    <a:pt x="612" y="606"/>
                    <a:pt x="619" y="599"/>
                  </a:cubicBezTo>
                  <a:cubicBezTo>
                    <a:pt x="625" y="593"/>
                    <a:pt x="632" y="588"/>
                    <a:pt x="640" y="584"/>
                  </a:cubicBezTo>
                  <a:cubicBezTo>
                    <a:pt x="649" y="581"/>
                    <a:pt x="657" y="580"/>
                    <a:pt x="666" y="580"/>
                  </a:cubicBezTo>
                  <a:cubicBezTo>
                    <a:pt x="675" y="581"/>
                    <a:pt x="685" y="583"/>
                    <a:pt x="695" y="588"/>
                  </a:cubicBezTo>
                  <a:cubicBezTo>
                    <a:pt x="705" y="593"/>
                    <a:pt x="714" y="600"/>
                    <a:pt x="724" y="610"/>
                  </a:cubicBezTo>
                  <a:cubicBezTo>
                    <a:pt x="728" y="614"/>
                    <a:pt x="732" y="618"/>
                    <a:pt x="736" y="623"/>
                  </a:cubicBezTo>
                  <a:cubicBezTo>
                    <a:pt x="739" y="628"/>
                    <a:pt x="742" y="633"/>
                    <a:pt x="745" y="637"/>
                  </a:cubicBezTo>
                  <a:cubicBezTo>
                    <a:pt x="747" y="642"/>
                    <a:pt x="749" y="646"/>
                    <a:pt x="750" y="650"/>
                  </a:cubicBezTo>
                  <a:cubicBezTo>
                    <a:pt x="751" y="653"/>
                    <a:pt x="752" y="656"/>
                    <a:pt x="752" y="658"/>
                  </a:cubicBezTo>
                  <a:cubicBezTo>
                    <a:pt x="752" y="661"/>
                    <a:pt x="752" y="662"/>
                    <a:pt x="752" y="663"/>
                  </a:cubicBezTo>
                  <a:cubicBezTo>
                    <a:pt x="752" y="664"/>
                    <a:pt x="751" y="666"/>
                    <a:pt x="751" y="667"/>
                  </a:cubicBezTo>
                  <a:cubicBezTo>
                    <a:pt x="750" y="668"/>
                    <a:pt x="749" y="669"/>
                    <a:pt x="748" y="670"/>
                  </a:cubicBezTo>
                  <a:cubicBezTo>
                    <a:pt x="747" y="672"/>
                    <a:pt x="745" y="674"/>
                    <a:pt x="743" y="675"/>
                  </a:cubicBezTo>
                  <a:cubicBezTo>
                    <a:pt x="741" y="677"/>
                    <a:pt x="739" y="679"/>
                    <a:pt x="738" y="680"/>
                  </a:cubicBezTo>
                  <a:cubicBezTo>
                    <a:pt x="736" y="682"/>
                    <a:pt x="735" y="683"/>
                    <a:pt x="733" y="683"/>
                  </a:cubicBezTo>
                  <a:cubicBezTo>
                    <a:pt x="732" y="684"/>
                    <a:pt x="731" y="684"/>
                    <a:pt x="730" y="684"/>
                  </a:cubicBezTo>
                  <a:cubicBezTo>
                    <a:pt x="729" y="684"/>
                    <a:pt x="728" y="683"/>
                    <a:pt x="727" y="682"/>
                  </a:cubicBezTo>
                  <a:cubicBezTo>
                    <a:pt x="726" y="681"/>
                    <a:pt x="725" y="679"/>
                    <a:pt x="725" y="676"/>
                  </a:cubicBezTo>
                  <a:cubicBezTo>
                    <a:pt x="724" y="673"/>
                    <a:pt x="723" y="669"/>
                    <a:pt x="721" y="664"/>
                  </a:cubicBezTo>
                  <a:cubicBezTo>
                    <a:pt x="719" y="659"/>
                    <a:pt x="717" y="654"/>
                    <a:pt x="714" y="649"/>
                  </a:cubicBezTo>
                  <a:cubicBezTo>
                    <a:pt x="711" y="643"/>
                    <a:pt x="707" y="637"/>
                    <a:pt x="701" y="632"/>
                  </a:cubicBezTo>
                  <a:cubicBezTo>
                    <a:pt x="696" y="627"/>
                    <a:pt x="691" y="623"/>
                    <a:pt x="686" y="620"/>
                  </a:cubicBezTo>
                  <a:cubicBezTo>
                    <a:pt x="681" y="618"/>
                    <a:pt x="677" y="616"/>
                    <a:pt x="672" y="616"/>
                  </a:cubicBezTo>
                  <a:cubicBezTo>
                    <a:pt x="668" y="616"/>
                    <a:pt x="663" y="616"/>
                    <a:pt x="659" y="618"/>
                  </a:cubicBezTo>
                  <a:cubicBezTo>
                    <a:pt x="655" y="619"/>
                    <a:pt x="652" y="622"/>
                    <a:pt x="648" y="625"/>
                  </a:cubicBezTo>
                  <a:cubicBezTo>
                    <a:pt x="644" y="630"/>
                    <a:pt x="641" y="635"/>
                    <a:pt x="640" y="640"/>
                  </a:cubicBezTo>
                  <a:cubicBezTo>
                    <a:pt x="640" y="646"/>
                    <a:pt x="640" y="651"/>
                    <a:pt x="641" y="658"/>
                  </a:cubicBezTo>
                  <a:cubicBezTo>
                    <a:pt x="643" y="664"/>
                    <a:pt x="645" y="670"/>
                    <a:pt x="648" y="677"/>
                  </a:cubicBezTo>
                  <a:cubicBezTo>
                    <a:pt x="651" y="684"/>
                    <a:pt x="654" y="690"/>
                    <a:pt x="657" y="697"/>
                  </a:cubicBezTo>
                  <a:cubicBezTo>
                    <a:pt x="660" y="705"/>
                    <a:pt x="662" y="712"/>
                    <a:pt x="665" y="719"/>
                  </a:cubicBezTo>
                  <a:cubicBezTo>
                    <a:pt x="667" y="726"/>
                    <a:pt x="669" y="734"/>
                    <a:pt x="669" y="741"/>
                  </a:cubicBezTo>
                  <a:cubicBezTo>
                    <a:pt x="669" y="748"/>
                    <a:pt x="668" y="756"/>
                    <a:pt x="665" y="763"/>
                  </a:cubicBezTo>
                  <a:cubicBezTo>
                    <a:pt x="663" y="770"/>
                    <a:pt x="658" y="777"/>
                    <a:pt x="651" y="784"/>
                  </a:cubicBezTo>
                  <a:close/>
                  <a:moveTo>
                    <a:pt x="753" y="957"/>
                  </a:moveTo>
                  <a:cubicBezTo>
                    <a:pt x="751" y="959"/>
                    <a:pt x="749" y="961"/>
                    <a:pt x="747" y="962"/>
                  </a:cubicBezTo>
                  <a:cubicBezTo>
                    <a:pt x="745" y="963"/>
                    <a:pt x="743" y="964"/>
                    <a:pt x="742" y="965"/>
                  </a:cubicBezTo>
                  <a:cubicBezTo>
                    <a:pt x="740" y="965"/>
                    <a:pt x="739" y="965"/>
                    <a:pt x="738" y="965"/>
                  </a:cubicBezTo>
                  <a:cubicBezTo>
                    <a:pt x="736" y="964"/>
                    <a:pt x="735" y="964"/>
                    <a:pt x="734" y="963"/>
                  </a:cubicBezTo>
                  <a:lnTo>
                    <a:pt x="636" y="865"/>
                  </a:lnTo>
                  <a:cubicBezTo>
                    <a:pt x="634" y="862"/>
                    <a:pt x="633" y="859"/>
                    <a:pt x="633" y="856"/>
                  </a:cubicBezTo>
                  <a:cubicBezTo>
                    <a:pt x="633" y="853"/>
                    <a:pt x="635" y="849"/>
                    <a:pt x="639" y="846"/>
                  </a:cubicBezTo>
                  <a:lnTo>
                    <a:pt x="645" y="840"/>
                  </a:lnTo>
                  <a:cubicBezTo>
                    <a:pt x="646" y="838"/>
                    <a:pt x="648" y="837"/>
                    <a:pt x="649" y="835"/>
                  </a:cubicBezTo>
                  <a:cubicBezTo>
                    <a:pt x="651" y="834"/>
                    <a:pt x="653" y="833"/>
                    <a:pt x="654" y="833"/>
                  </a:cubicBezTo>
                  <a:cubicBezTo>
                    <a:pt x="656" y="832"/>
                    <a:pt x="658" y="831"/>
                    <a:pt x="660" y="830"/>
                  </a:cubicBezTo>
                  <a:cubicBezTo>
                    <a:pt x="663" y="830"/>
                    <a:pt x="665" y="829"/>
                    <a:pt x="668" y="828"/>
                  </a:cubicBezTo>
                  <a:lnTo>
                    <a:pt x="848" y="789"/>
                  </a:lnTo>
                  <a:lnTo>
                    <a:pt x="780" y="721"/>
                  </a:lnTo>
                  <a:cubicBezTo>
                    <a:pt x="778" y="719"/>
                    <a:pt x="777" y="717"/>
                    <a:pt x="778" y="714"/>
                  </a:cubicBezTo>
                  <a:cubicBezTo>
                    <a:pt x="779" y="711"/>
                    <a:pt x="782" y="707"/>
                    <a:pt x="786" y="703"/>
                  </a:cubicBezTo>
                  <a:cubicBezTo>
                    <a:pt x="788" y="701"/>
                    <a:pt x="790" y="699"/>
                    <a:pt x="792" y="697"/>
                  </a:cubicBezTo>
                  <a:cubicBezTo>
                    <a:pt x="794" y="696"/>
                    <a:pt x="795" y="695"/>
                    <a:pt x="797" y="695"/>
                  </a:cubicBezTo>
                  <a:cubicBezTo>
                    <a:pt x="799" y="694"/>
                    <a:pt x="800" y="694"/>
                    <a:pt x="801" y="695"/>
                  </a:cubicBezTo>
                  <a:cubicBezTo>
                    <a:pt x="802" y="695"/>
                    <a:pt x="803" y="696"/>
                    <a:pt x="804" y="697"/>
                  </a:cubicBezTo>
                  <a:lnTo>
                    <a:pt x="896" y="788"/>
                  </a:lnTo>
                  <a:cubicBezTo>
                    <a:pt x="897" y="789"/>
                    <a:pt x="898" y="791"/>
                    <a:pt x="899" y="792"/>
                  </a:cubicBezTo>
                  <a:cubicBezTo>
                    <a:pt x="899" y="793"/>
                    <a:pt x="899" y="795"/>
                    <a:pt x="899" y="796"/>
                  </a:cubicBezTo>
                  <a:cubicBezTo>
                    <a:pt x="899" y="798"/>
                    <a:pt x="899" y="799"/>
                    <a:pt x="898" y="801"/>
                  </a:cubicBezTo>
                  <a:cubicBezTo>
                    <a:pt x="897" y="803"/>
                    <a:pt x="896" y="805"/>
                    <a:pt x="894" y="807"/>
                  </a:cubicBezTo>
                  <a:lnTo>
                    <a:pt x="888" y="812"/>
                  </a:lnTo>
                  <a:cubicBezTo>
                    <a:pt x="886" y="814"/>
                    <a:pt x="885" y="815"/>
                    <a:pt x="883" y="817"/>
                  </a:cubicBezTo>
                  <a:cubicBezTo>
                    <a:pt x="881" y="818"/>
                    <a:pt x="880" y="819"/>
                    <a:pt x="878" y="820"/>
                  </a:cubicBezTo>
                  <a:cubicBezTo>
                    <a:pt x="876" y="821"/>
                    <a:pt x="874" y="821"/>
                    <a:pt x="871" y="822"/>
                  </a:cubicBezTo>
                  <a:cubicBezTo>
                    <a:pt x="869" y="823"/>
                    <a:pt x="866" y="823"/>
                    <a:pt x="863" y="824"/>
                  </a:cubicBezTo>
                  <a:lnTo>
                    <a:pt x="684" y="864"/>
                  </a:lnTo>
                  <a:lnTo>
                    <a:pt x="759" y="938"/>
                  </a:lnTo>
                  <a:cubicBezTo>
                    <a:pt x="760" y="939"/>
                    <a:pt x="760" y="940"/>
                    <a:pt x="761" y="941"/>
                  </a:cubicBezTo>
                  <a:cubicBezTo>
                    <a:pt x="761" y="943"/>
                    <a:pt x="761" y="944"/>
                    <a:pt x="761" y="945"/>
                  </a:cubicBezTo>
                  <a:cubicBezTo>
                    <a:pt x="760" y="947"/>
                    <a:pt x="759" y="949"/>
                    <a:pt x="758" y="950"/>
                  </a:cubicBezTo>
                  <a:cubicBezTo>
                    <a:pt x="757" y="952"/>
                    <a:pt x="755" y="954"/>
                    <a:pt x="753" y="957"/>
                  </a:cubicBezTo>
                  <a:close/>
                  <a:moveTo>
                    <a:pt x="1013" y="1060"/>
                  </a:moveTo>
                  <a:cubicBezTo>
                    <a:pt x="1008" y="1064"/>
                    <a:pt x="1004" y="1066"/>
                    <a:pt x="1000" y="1066"/>
                  </a:cubicBezTo>
                  <a:cubicBezTo>
                    <a:pt x="995" y="1066"/>
                    <a:pt x="992" y="1064"/>
                    <a:pt x="989" y="1061"/>
                  </a:cubicBezTo>
                  <a:lnTo>
                    <a:pt x="884" y="956"/>
                  </a:lnTo>
                  <a:cubicBezTo>
                    <a:pt x="875" y="965"/>
                    <a:pt x="868" y="974"/>
                    <a:pt x="863" y="983"/>
                  </a:cubicBezTo>
                  <a:cubicBezTo>
                    <a:pt x="857" y="992"/>
                    <a:pt x="854" y="1001"/>
                    <a:pt x="853" y="1010"/>
                  </a:cubicBezTo>
                  <a:cubicBezTo>
                    <a:pt x="853" y="1019"/>
                    <a:pt x="854" y="1028"/>
                    <a:pt x="858" y="1038"/>
                  </a:cubicBezTo>
                  <a:cubicBezTo>
                    <a:pt x="862" y="1047"/>
                    <a:pt x="869" y="1056"/>
                    <a:pt x="878" y="1066"/>
                  </a:cubicBezTo>
                  <a:cubicBezTo>
                    <a:pt x="886" y="1074"/>
                    <a:pt x="893" y="1080"/>
                    <a:pt x="900" y="1084"/>
                  </a:cubicBezTo>
                  <a:cubicBezTo>
                    <a:pt x="907" y="1089"/>
                    <a:pt x="914" y="1093"/>
                    <a:pt x="920" y="1096"/>
                  </a:cubicBezTo>
                  <a:cubicBezTo>
                    <a:pt x="926" y="1098"/>
                    <a:pt x="931" y="1101"/>
                    <a:pt x="935" y="1102"/>
                  </a:cubicBezTo>
                  <a:cubicBezTo>
                    <a:pt x="939" y="1104"/>
                    <a:pt x="941" y="1105"/>
                    <a:pt x="943" y="1107"/>
                  </a:cubicBezTo>
                  <a:cubicBezTo>
                    <a:pt x="944" y="1107"/>
                    <a:pt x="944" y="1108"/>
                    <a:pt x="944" y="1109"/>
                  </a:cubicBezTo>
                  <a:cubicBezTo>
                    <a:pt x="945" y="1111"/>
                    <a:pt x="945" y="1112"/>
                    <a:pt x="944" y="1113"/>
                  </a:cubicBezTo>
                  <a:cubicBezTo>
                    <a:pt x="944" y="1114"/>
                    <a:pt x="943" y="1115"/>
                    <a:pt x="941" y="1117"/>
                  </a:cubicBezTo>
                  <a:cubicBezTo>
                    <a:pt x="940" y="1119"/>
                    <a:pt x="938" y="1121"/>
                    <a:pt x="936" y="1123"/>
                  </a:cubicBezTo>
                  <a:cubicBezTo>
                    <a:pt x="935" y="1124"/>
                    <a:pt x="933" y="1126"/>
                    <a:pt x="932" y="1127"/>
                  </a:cubicBezTo>
                  <a:cubicBezTo>
                    <a:pt x="931" y="1128"/>
                    <a:pt x="930" y="1128"/>
                    <a:pt x="929" y="1129"/>
                  </a:cubicBezTo>
                  <a:cubicBezTo>
                    <a:pt x="928" y="1130"/>
                    <a:pt x="927" y="1130"/>
                    <a:pt x="925" y="1131"/>
                  </a:cubicBezTo>
                  <a:cubicBezTo>
                    <a:pt x="924" y="1131"/>
                    <a:pt x="923" y="1131"/>
                    <a:pt x="922" y="1131"/>
                  </a:cubicBezTo>
                  <a:cubicBezTo>
                    <a:pt x="921" y="1131"/>
                    <a:pt x="918" y="1130"/>
                    <a:pt x="913" y="1128"/>
                  </a:cubicBezTo>
                  <a:cubicBezTo>
                    <a:pt x="908" y="1127"/>
                    <a:pt x="903" y="1124"/>
                    <a:pt x="896" y="1120"/>
                  </a:cubicBezTo>
                  <a:cubicBezTo>
                    <a:pt x="890" y="1117"/>
                    <a:pt x="883" y="1112"/>
                    <a:pt x="875" y="1107"/>
                  </a:cubicBezTo>
                  <a:cubicBezTo>
                    <a:pt x="867" y="1101"/>
                    <a:pt x="859" y="1095"/>
                    <a:pt x="852" y="1087"/>
                  </a:cubicBezTo>
                  <a:cubicBezTo>
                    <a:pt x="839" y="1074"/>
                    <a:pt x="829" y="1061"/>
                    <a:pt x="823" y="1047"/>
                  </a:cubicBezTo>
                  <a:cubicBezTo>
                    <a:pt x="817" y="1034"/>
                    <a:pt x="814" y="1020"/>
                    <a:pt x="814" y="1006"/>
                  </a:cubicBezTo>
                  <a:cubicBezTo>
                    <a:pt x="815" y="992"/>
                    <a:pt x="819" y="978"/>
                    <a:pt x="826" y="964"/>
                  </a:cubicBezTo>
                  <a:cubicBezTo>
                    <a:pt x="834" y="950"/>
                    <a:pt x="845" y="935"/>
                    <a:pt x="859" y="921"/>
                  </a:cubicBezTo>
                  <a:cubicBezTo>
                    <a:pt x="873" y="907"/>
                    <a:pt x="887" y="897"/>
                    <a:pt x="901" y="889"/>
                  </a:cubicBezTo>
                  <a:cubicBezTo>
                    <a:pt x="915" y="882"/>
                    <a:pt x="930" y="878"/>
                    <a:pt x="944" y="877"/>
                  </a:cubicBezTo>
                  <a:cubicBezTo>
                    <a:pt x="958" y="876"/>
                    <a:pt x="972" y="878"/>
                    <a:pt x="986" y="883"/>
                  </a:cubicBezTo>
                  <a:cubicBezTo>
                    <a:pt x="999" y="889"/>
                    <a:pt x="1012" y="897"/>
                    <a:pt x="1023" y="909"/>
                  </a:cubicBezTo>
                  <a:cubicBezTo>
                    <a:pt x="1036" y="921"/>
                    <a:pt x="1045" y="934"/>
                    <a:pt x="1049" y="947"/>
                  </a:cubicBezTo>
                  <a:cubicBezTo>
                    <a:pt x="1054" y="960"/>
                    <a:pt x="1056" y="972"/>
                    <a:pt x="1055" y="985"/>
                  </a:cubicBezTo>
                  <a:cubicBezTo>
                    <a:pt x="1054" y="997"/>
                    <a:pt x="1050" y="1009"/>
                    <a:pt x="1043" y="1021"/>
                  </a:cubicBezTo>
                  <a:cubicBezTo>
                    <a:pt x="1037" y="1033"/>
                    <a:pt x="1029" y="1044"/>
                    <a:pt x="1018" y="1054"/>
                  </a:cubicBezTo>
                  <a:lnTo>
                    <a:pt x="1013" y="1060"/>
                  </a:lnTo>
                  <a:close/>
                  <a:moveTo>
                    <a:pt x="992" y="1022"/>
                  </a:moveTo>
                  <a:cubicBezTo>
                    <a:pt x="1008" y="1007"/>
                    <a:pt x="1016" y="991"/>
                    <a:pt x="1018" y="975"/>
                  </a:cubicBezTo>
                  <a:cubicBezTo>
                    <a:pt x="1020" y="959"/>
                    <a:pt x="1013" y="944"/>
                    <a:pt x="999" y="930"/>
                  </a:cubicBezTo>
                  <a:cubicBezTo>
                    <a:pt x="992" y="923"/>
                    <a:pt x="984" y="918"/>
                    <a:pt x="976" y="915"/>
                  </a:cubicBezTo>
                  <a:cubicBezTo>
                    <a:pt x="968" y="913"/>
                    <a:pt x="960" y="912"/>
                    <a:pt x="952" y="912"/>
                  </a:cubicBezTo>
                  <a:cubicBezTo>
                    <a:pt x="943" y="913"/>
                    <a:pt x="935" y="916"/>
                    <a:pt x="927" y="920"/>
                  </a:cubicBezTo>
                  <a:cubicBezTo>
                    <a:pt x="919" y="923"/>
                    <a:pt x="912" y="929"/>
                    <a:pt x="905" y="935"/>
                  </a:cubicBezTo>
                  <a:lnTo>
                    <a:pt x="992" y="1022"/>
                  </a:lnTo>
                  <a:close/>
                  <a:moveTo>
                    <a:pt x="1409" y="1206"/>
                  </a:moveTo>
                  <a:cubicBezTo>
                    <a:pt x="1407" y="1208"/>
                    <a:pt x="1405" y="1210"/>
                    <a:pt x="1403" y="1211"/>
                  </a:cubicBezTo>
                  <a:cubicBezTo>
                    <a:pt x="1401" y="1213"/>
                    <a:pt x="1399" y="1214"/>
                    <a:pt x="1398" y="1214"/>
                  </a:cubicBezTo>
                  <a:cubicBezTo>
                    <a:pt x="1396" y="1215"/>
                    <a:pt x="1395" y="1215"/>
                    <a:pt x="1393" y="1215"/>
                  </a:cubicBezTo>
                  <a:cubicBezTo>
                    <a:pt x="1392" y="1214"/>
                    <a:pt x="1391" y="1214"/>
                    <a:pt x="1390" y="1213"/>
                  </a:cubicBezTo>
                  <a:lnTo>
                    <a:pt x="1326" y="1148"/>
                  </a:lnTo>
                  <a:lnTo>
                    <a:pt x="1127" y="1347"/>
                  </a:lnTo>
                  <a:cubicBezTo>
                    <a:pt x="1126" y="1348"/>
                    <a:pt x="1125" y="1348"/>
                    <a:pt x="1124" y="1348"/>
                  </a:cubicBezTo>
                  <a:cubicBezTo>
                    <a:pt x="1123" y="1349"/>
                    <a:pt x="1122" y="1348"/>
                    <a:pt x="1120" y="1348"/>
                  </a:cubicBezTo>
                  <a:cubicBezTo>
                    <a:pt x="1118" y="1347"/>
                    <a:pt x="1117" y="1346"/>
                    <a:pt x="1114" y="1344"/>
                  </a:cubicBezTo>
                  <a:cubicBezTo>
                    <a:pt x="1112" y="1342"/>
                    <a:pt x="1109" y="1340"/>
                    <a:pt x="1107" y="1337"/>
                  </a:cubicBezTo>
                  <a:cubicBezTo>
                    <a:pt x="1104" y="1334"/>
                    <a:pt x="1101" y="1332"/>
                    <a:pt x="1100" y="1329"/>
                  </a:cubicBezTo>
                  <a:cubicBezTo>
                    <a:pt x="1098" y="1327"/>
                    <a:pt x="1097" y="1325"/>
                    <a:pt x="1096" y="1324"/>
                  </a:cubicBezTo>
                  <a:cubicBezTo>
                    <a:pt x="1095" y="1322"/>
                    <a:pt x="1095" y="1321"/>
                    <a:pt x="1095" y="1319"/>
                  </a:cubicBezTo>
                  <a:cubicBezTo>
                    <a:pt x="1095" y="1318"/>
                    <a:pt x="1096" y="1317"/>
                    <a:pt x="1097" y="1316"/>
                  </a:cubicBezTo>
                  <a:lnTo>
                    <a:pt x="1295" y="1118"/>
                  </a:lnTo>
                  <a:lnTo>
                    <a:pt x="1231" y="1054"/>
                  </a:lnTo>
                  <a:cubicBezTo>
                    <a:pt x="1230" y="1053"/>
                    <a:pt x="1229" y="1052"/>
                    <a:pt x="1229" y="1050"/>
                  </a:cubicBezTo>
                  <a:cubicBezTo>
                    <a:pt x="1229" y="1049"/>
                    <a:pt x="1229" y="1048"/>
                    <a:pt x="1229" y="1046"/>
                  </a:cubicBezTo>
                  <a:cubicBezTo>
                    <a:pt x="1230" y="1045"/>
                    <a:pt x="1231" y="1043"/>
                    <a:pt x="1232" y="1041"/>
                  </a:cubicBezTo>
                  <a:cubicBezTo>
                    <a:pt x="1234" y="1039"/>
                    <a:pt x="1235" y="1037"/>
                    <a:pt x="1238" y="1035"/>
                  </a:cubicBezTo>
                  <a:cubicBezTo>
                    <a:pt x="1240" y="1033"/>
                    <a:pt x="1242" y="1031"/>
                    <a:pt x="1244" y="1029"/>
                  </a:cubicBezTo>
                  <a:cubicBezTo>
                    <a:pt x="1246" y="1028"/>
                    <a:pt x="1248" y="1027"/>
                    <a:pt x="1249" y="1026"/>
                  </a:cubicBezTo>
                  <a:cubicBezTo>
                    <a:pt x="1251" y="1026"/>
                    <a:pt x="1252" y="1026"/>
                    <a:pt x="1254" y="1026"/>
                  </a:cubicBezTo>
                  <a:cubicBezTo>
                    <a:pt x="1255" y="1026"/>
                    <a:pt x="1256" y="1027"/>
                    <a:pt x="1257" y="1028"/>
                  </a:cubicBezTo>
                  <a:lnTo>
                    <a:pt x="1416" y="1187"/>
                  </a:lnTo>
                  <a:cubicBezTo>
                    <a:pt x="1417" y="1188"/>
                    <a:pt x="1417" y="1189"/>
                    <a:pt x="1418" y="1190"/>
                  </a:cubicBezTo>
                  <a:cubicBezTo>
                    <a:pt x="1418" y="1191"/>
                    <a:pt x="1418" y="1193"/>
                    <a:pt x="1417" y="1194"/>
                  </a:cubicBezTo>
                  <a:cubicBezTo>
                    <a:pt x="1417" y="1196"/>
                    <a:pt x="1416" y="1198"/>
                    <a:pt x="1414" y="1200"/>
                  </a:cubicBezTo>
                  <a:cubicBezTo>
                    <a:pt x="1413" y="1202"/>
                    <a:pt x="1411" y="1204"/>
                    <a:pt x="1409" y="1206"/>
                  </a:cubicBezTo>
                  <a:close/>
                  <a:moveTo>
                    <a:pt x="1461" y="1518"/>
                  </a:moveTo>
                  <a:cubicBezTo>
                    <a:pt x="1448" y="1531"/>
                    <a:pt x="1435" y="1541"/>
                    <a:pt x="1420" y="1549"/>
                  </a:cubicBezTo>
                  <a:cubicBezTo>
                    <a:pt x="1406" y="1556"/>
                    <a:pt x="1391" y="1561"/>
                    <a:pt x="1377" y="1562"/>
                  </a:cubicBezTo>
                  <a:cubicBezTo>
                    <a:pt x="1362" y="1563"/>
                    <a:pt x="1347" y="1561"/>
                    <a:pt x="1333" y="1555"/>
                  </a:cubicBezTo>
                  <a:cubicBezTo>
                    <a:pt x="1318" y="1549"/>
                    <a:pt x="1304" y="1539"/>
                    <a:pt x="1291" y="1526"/>
                  </a:cubicBezTo>
                  <a:cubicBezTo>
                    <a:pt x="1278" y="1513"/>
                    <a:pt x="1268" y="1500"/>
                    <a:pt x="1262" y="1486"/>
                  </a:cubicBezTo>
                  <a:cubicBezTo>
                    <a:pt x="1257" y="1472"/>
                    <a:pt x="1254" y="1459"/>
                    <a:pt x="1255" y="1445"/>
                  </a:cubicBezTo>
                  <a:cubicBezTo>
                    <a:pt x="1256" y="1431"/>
                    <a:pt x="1260" y="1417"/>
                    <a:pt x="1268" y="1403"/>
                  </a:cubicBezTo>
                  <a:cubicBezTo>
                    <a:pt x="1275" y="1389"/>
                    <a:pt x="1285" y="1376"/>
                    <a:pt x="1299" y="1362"/>
                  </a:cubicBezTo>
                  <a:cubicBezTo>
                    <a:pt x="1312" y="1349"/>
                    <a:pt x="1325" y="1339"/>
                    <a:pt x="1340" y="1332"/>
                  </a:cubicBezTo>
                  <a:cubicBezTo>
                    <a:pt x="1354" y="1324"/>
                    <a:pt x="1368" y="1320"/>
                    <a:pt x="1383" y="1319"/>
                  </a:cubicBezTo>
                  <a:cubicBezTo>
                    <a:pt x="1398" y="1317"/>
                    <a:pt x="1412" y="1320"/>
                    <a:pt x="1427" y="1325"/>
                  </a:cubicBezTo>
                  <a:cubicBezTo>
                    <a:pt x="1441" y="1331"/>
                    <a:pt x="1455" y="1341"/>
                    <a:pt x="1469" y="1354"/>
                  </a:cubicBezTo>
                  <a:cubicBezTo>
                    <a:pt x="1482" y="1368"/>
                    <a:pt x="1491" y="1381"/>
                    <a:pt x="1497" y="1395"/>
                  </a:cubicBezTo>
                  <a:cubicBezTo>
                    <a:pt x="1503" y="1408"/>
                    <a:pt x="1506" y="1422"/>
                    <a:pt x="1505" y="1436"/>
                  </a:cubicBezTo>
                  <a:cubicBezTo>
                    <a:pt x="1504" y="1450"/>
                    <a:pt x="1500" y="1464"/>
                    <a:pt x="1492" y="1477"/>
                  </a:cubicBezTo>
                  <a:cubicBezTo>
                    <a:pt x="1485" y="1491"/>
                    <a:pt x="1474" y="1505"/>
                    <a:pt x="1461" y="1518"/>
                  </a:cubicBezTo>
                  <a:close/>
                  <a:moveTo>
                    <a:pt x="1429" y="1490"/>
                  </a:moveTo>
                  <a:cubicBezTo>
                    <a:pt x="1438" y="1481"/>
                    <a:pt x="1445" y="1472"/>
                    <a:pt x="1451" y="1463"/>
                  </a:cubicBezTo>
                  <a:cubicBezTo>
                    <a:pt x="1457" y="1454"/>
                    <a:pt x="1461" y="1444"/>
                    <a:pt x="1463" y="1435"/>
                  </a:cubicBezTo>
                  <a:cubicBezTo>
                    <a:pt x="1465" y="1426"/>
                    <a:pt x="1465" y="1416"/>
                    <a:pt x="1462" y="1406"/>
                  </a:cubicBezTo>
                  <a:cubicBezTo>
                    <a:pt x="1459" y="1397"/>
                    <a:pt x="1453" y="1387"/>
                    <a:pt x="1443" y="1378"/>
                  </a:cubicBezTo>
                  <a:cubicBezTo>
                    <a:pt x="1435" y="1369"/>
                    <a:pt x="1426" y="1363"/>
                    <a:pt x="1416" y="1360"/>
                  </a:cubicBezTo>
                  <a:cubicBezTo>
                    <a:pt x="1407" y="1357"/>
                    <a:pt x="1398" y="1356"/>
                    <a:pt x="1388" y="1358"/>
                  </a:cubicBezTo>
                  <a:cubicBezTo>
                    <a:pt x="1378" y="1359"/>
                    <a:pt x="1369" y="1363"/>
                    <a:pt x="1359" y="1368"/>
                  </a:cubicBezTo>
                  <a:cubicBezTo>
                    <a:pt x="1349" y="1374"/>
                    <a:pt x="1340" y="1381"/>
                    <a:pt x="1331" y="1391"/>
                  </a:cubicBezTo>
                  <a:cubicBezTo>
                    <a:pt x="1322" y="1399"/>
                    <a:pt x="1315" y="1408"/>
                    <a:pt x="1309" y="1418"/>
                  </a:cubicBezTo>
                  <a:cubicBezTo>
                    <a:pt x="1303" y="1427"/>
                    <a:pt x="1299" y="1436"/>
                    <a:pt x="1297" y="1446"/>
                  </a:cubicBezTo>
                  <a:cubicBezTo>
                    <a:pt x="1295" y="1455"/>
                    <a:pt x="1295" y="1465"/>
                    <a:pt x="1298" y="1474"/>
                  </a:cubicBezTo>
                  <a:cubicBezTo>
                    <a:pt x="1301" y="1484"/>
                    <a:pt x="1307" y="1493"/>
                    <a:pt x="1317" y="1503"/>
                  </a:cubicBezTo>
                  <a:cubicBezTo>
                    <a:pt x="1325" y="1511"/>
                    <a:pt x="1334" y="1517"/>
                    <a:pt x="1344" y="1521"/>
                  </a:cubicBezTo>
                  <a:cubicBezTo>
                    <a:pt x="1353" y="1524"/>
                    <a:pt x="1363" y="1525"/>
                    <a:pt x="1372" y="1523"/>
                  </a:cubicBezTo>
                  <a:cubicBezTo>
                    <a:pt x="1382" y="1522"/>
                    <a:pt x="1391" y="1518"/>
                    <a:pt x="1401" y="1512"/>
                  </a:cubicBezTo>
                  <a:cubicBezTo>
                    <a:pt x="1410" y="1507"/>
                    <a:pt x="1420" y="1499"/>
                    <a:pt x="1429" y="1490"/>
                  </a:cubicBezTo>
                  <a:close/>
                  <a:moveTo>
                    <a:pt x="1795" y="1696"/>
                  </a:moveTo>
                  <a:cubicBezTo>
                    <a:pt x="1794" y="1696"/>
                    <a:pt x="1793" y="1697"/>
                    <a:pt x="1792" y="1698"/>
                  </a:cubicBezTo>
                  <a:cubicBezTo>
                    <a:pt x="1790" y="1699"/>
                    <a:pt x="1788" y="1700"/>
                    <a:pt x="1786" y="1701"/>
                  </a:cubicBezTo>
                  <a:lnTo>
                    <a:pt x="1588" y="1806"/>
                  </a:lnTo>
                  <a:cubicBezTo>
                    <a:pt x="1586" y="1807"/>
                    <a:pt x="1585" y="1807"/>
                    <a:pt x="1583" y="1807"/>
                  </a:cubicBezTo>
                  <a:cubicBezTo>
                    <a:pt x="1581" y="1807"/>
                    <a:pt x="1580" y="1807"/>
                    <a:pt x="1578" y="1806"/>
                  </a:cubicBezTo>
                  <a:cubicBezTo>
                    <a:pt x="1576" y="1805"/>
                    <a:pt x="1574" y="1804"/>
                    <a:pt x="1571" y="1801"/>
                  </a:cubicBezTo>
                  <a:cubicBezTo>
                    <a:pt x="1569" y="1799"/>
                    <a:pt x="1566" y="1796"/>
                    <a:pt x="1562" y="1793"/>
                  </a:cubicBezTo>
                  <a:cubicBezTo>
                    <a:pt x="1559" y="1789"/>
                    <a:pt x="1556" y="1786"/>
                    <a:pt x="1553" y="1783"/>
                  </a:cubicBezTo>
                  <a:cubicBezTo>
                    <a:pt x="1551" y="1781"/>
                    <a:pt x="1550" y="1778"/>
                    <a:pt x="1549" y="1776"/>
                  </a:cubicBezTo>
                  <a:cubicBezTo>
                    <a:pt x="1548" y="1774"/>
                    <a:pt x="1547" y="1773"/>
                    <a:pt x="1547" y="1771"/>
                  </a:cubicBezTo>
                  <a:cubicBezTo>
                    <a:pt x="1547" y="1770"/>
                    <a:pt x="1548" y="1768"/>
                    <a:pt x="1549" y="1767"/>
                  </a:cubicBezTo>
                  <a:lnTo>
                    <a:pt x="1631" y="1618"/>
                  </a:lnTo>
                  <a:lnTo>
                    <a:pt x="1632" y="1616"/>
                  </a:lnTo>
                  <a:lnTo>
                    <a:pt x="1630" y="1617"/>
                  </a:lnTo>
                  <a:lnTo>
                    <a:pt x="1484" y="1701"/>
                  </a:lnTo>
                  <a:cubicBezTo>
                    <a:pt x="1482" y="1702"/>
                    <a:pt x="1480" y="1703"/>
                    <a:pt x="1479" y="1703"/>
                  </a:cubicBezTo>
                  <a:cubicBezTo>
                    <a:pt x="1477" y="1703"/>
                    <a:pt x="1475" y="1703"/>
                    <a:pt x="1473" y="1701"/>
                  </a:cubicBezTo>
                  <a:cubicBezTo>
                    <a:pt x="1471" y="1700"/>
                    <a:pt x="1469" y="1699"/>
                    <a:pt x="1466" y="1697"/>
                  </a:cubicBezTo>
                  <a:cubicBezTo>
                    <a:pt x="1464" y="1694"/>
                    <a:pt x="1461" y="1691"/>
                    <a:pt x="1457" y="1688"/>
                  </a:cubicBezTo>
                  <a:cubicBezTo>
                    <a:pt x="1454" y="1684"/>
                    <a:pt x="1451" y="1681"/>
                    <a:pt x="1449" y="1679"/>
                  </a:cubicBezTo>
                  <a:cubicBezTo>
                    <a:pt x="1447" y="1676"/>
                    <a:pt x="1445" y="1674"/>
                    <a:pt x="1444" y="1672"/>
                  </a:cubicBezTo>
                  <a:cubicBezTo>
                    <a:pt x="1443" y="1670"/>
                    <a:pt x="1443" y="1668"/>
                    <a:pt x="1443" y="1667"/>
                  </a:cubicBezTo>
                  <a:cubicBezTo>
                    <a:pt x="1443" y="1665"/>
                    <a:pt x="1443" y="1664"/>
                    <a:pt x="1444" y="1662"/>
                  </a:cubicBezTo>
                  <a:lnTo>
                    <a:pt x="1549" y="1464"/>
                  </a:lnTo>
                  <a:cubicBezTo>
                    <a:pt x="1550" y="1462"/>
                    <a:pt x="1551" y="1460"/>
                    <a:pt x="1552" y="1459"/>
                  </a:cubicBezTo>
                  <a:cubicBezTo>
                    <a:pt x="1553" y="1457"/>
                    <a:pt x="1554" y="1456"/>
                    <a:pt x="1555" y="1455"/>
                  </a:cubicBezTo>
                  <a:cubicBezTo>
                    <a:pt x="1556" y="1454"/>
                    <a:pt x="1557" y="1454"/>
                    <a:pt x="1558" y="1454"/>
                  </a:cubicBezTo>
                  <a:cubicBezTo>
                    <a:pt x="1559" y="1453"/>
                    <a:pt x="1560" y="1454"/>
                    <a:pt x="1562" y="1454"/>
                  </a:cubicBezTo>
                  <a:cubicBezTo>
                    <a:pt x="1563" y="1455"/>
                    <a:pt x="1565" y="1456"/>
                    <a:pt x="1567" y="1458"/>
                  </a:cubicBezTo>
                  <a:cubicBezTo>
                    <a:pt x="1569" y="1460"/>
                    <a:pt x="1572" y="1462"/>
                    <a:pt x="1574" y="1465"/>
                  </a:cubicBezTo>
                  <a:cubicBezTo>
                    <a:pt x="1578" y="1468"/>
                    <a:pt x="1580" y="1471"/>
                    <a:pt x="1582" y="1473"/>
                  </a:cubicBezTo>
                  <a:cubicBezTo>
                    <a:pt x="1584" y="1475"/>
                    <a:pt x="1585" y="1477"/>
                    <a:pt x="1586" y="1478"/>
                  </a:cubicBezTo>
                  <a:cubicBezTo>
                    <a:pt x="1586" y="1480"/>
                    <a:pt x="1587" y="1481"/>
                    <a:pt x="1586" y="1483"/>
                  </a:cubicBezTo>
                  <a:cubicBezTo>
                    <a:pt x="1586" y="1484"/>
                    <a:pt x="1585" y="1485"/>
                    <a:pt x="1585" y="1487"/>
                  </a:cubicBezTo>
                  <a:lnTo>
                    <a:pt x="1492" y="1656"/>
                  </a:lnTo>
                  <a:lnTo>
                    <a:pt x="1491" y="1658"/>
                  </a:lnTo>
                  <a:lnTo>
                    <a:pt x="1493" y="1657"/>
                  </a:lnTo>
                  <a:lnTo>
                    <a:pt x="1659" y="1561"/>
                  </a:lnTo>
                  <a:cubicBezTo>
                    <a:pt x="1660" y="1560"/>
                    <a:pt x="1662" y="1559"/>
                    <a:pt x="1663" y="1559"/>
                  </a:cubicBezTo>
                  <a:cubicBezTo>
                    <a:pt x="1664" y="1559"/>
                    <a:pt x="1666" y="1559"/>
                    <a:pt x="1667" y="1560"/>
                  </a:cubicBezTo>
                  <a:cubicBezTo>
                    <a:pt x="1668" y="1560"/>
                    <a:pt x="1670" y="1562"/>
                    <a:pt x="1672" y="1563"/>
                  </a:cubicBezTo>
                  <a:cubicBezTo>
                    <a:pt x="1674" y="1565"/>
                    <a:pt x="1677" y="1567"/>
                    <a:pt x="1680" y="1570"/>
                  </a:cubicBezTo>
                  <a:cubicBezTo>
                    <a:pt x="1682" y="1573"/>
                    <a:pt x="1685" y="1575"/>
                    <a:pt x="1686" y="1577"/>
                  </a:cubicBezTo>
                  <a:cubicBezTo>
                    <a:pt x="1688" y="1579"/>
                    <a:pt x="1689" y="1581"/>
                    <a:pt x="1690" y="1583"/>
                  </a:cubicBezTo>
                  <a:cubicBezTo>
                    <a:pt x="1690" y="1584"/>
                    <a:pt x="1691" y="1585"/>
                    <a:pt x="1690" y="1587"/>
                  </a:cubicBezTo>
                  <a:cubicBezTo>
                    <a:pt x="1690" y="1588"/>
                    <a:pt x="1690" y="1589"/>
                    <a:pt x="1689" y="1590"/>
                  </a:cubicBezTo>
                  <a:lnTo>
                    <a:pt x="1596" y="1760"/>
                  </a:lnTo>
                  <a:lnTo>
                    <a:pt x="1594" y="1762"/>
                  </a:lnTo>
                  <a:lnTo>
                    <a:pt x="1596" y="1760"/>
                  </a:lnTo>
                  <a:lnTo>
                    <a:pt x="1765" y="1667"/>
                  </a:lnTo>
                  <a:cubicBezTo>
                    <a:pt x="1766" y="1666"/>
                    <a:pt x="1768" y="1665"/>
                    <a:pt x="1769" y="1665"/>
                  </a:cubicBezTo>
                  <a:cubicBezTo>
                    <a:pt x="1770" y="1665"/>
                    <a:pt x="1772" y="1665"/>
                    <a:pt x="1773" y="1666"/>
                  </a:cubicBezTo>
                  <a:cubicBezTo>
                    <a:pt x="1775" y="1667"/>
                    <a:pt x="1777" y="1668"/>
                    <a:pt x="1779" y="1670"/>
                  </a:cubicBezTo>
                  <a:cubicBezTo>
                    <a:pt x="1781" y="1671"/>
                    <a:pt x="1783" y="1674"/>
                    <a:pt x="1786" y="1677"/>
                  </a:cubicBezTo>
                  <a:cubicBezTo>
                    <a:pt x="1789" y="1680"/>
                    <a:pt x="1791" y="1682"/>
                    <a:pt x="1793" y="1684"/>
                  </a:cubicBezTo>
                  <a:cubicBezTo>
                    <a:pt x="1795" y="1686"/>
                    <a:pt x="1796" y="1687"/>
                    <a:pt x="1796" y="1689"/>
                  </a:cubicBezTo>
                  <a:cubicBezTo>
                    <a:pt x="1797" y="1690"/>
                    <a:pt x="1797" y="1692"/>
                    <a:pt x="1797" y="1693"/>
                  </a:cubicBezTo>
                  <a:cubicBezTo>
                    <a:pt x="1797" y="1694"/>
                    <a:pt x="1796" y="1695"/>
                    <a:pt x="1795" y="1696"/>
                  </a:cubicBezTo>
                  <a:close/>
                  <a:moveTo>
                    <a:pt x="1793" y="2013"/>
                  </a:moveTo>
                  <a:cubicBezTo>
                    <a:pt x="1791" y="2014"/>
                    <a:pt x="1790" y="2015"/>
                    <a:pt x="1788" y="2015"/>
                  </a:cubicBezTo>
                  <a:cubicBezTo>
                    <a:pt x="1787" y="2014"/>
                    <a:pt x="1785" y="2014"/>
                    <a:pt x="1783" y="2012"/>
                  </a:cubicBezTo>
                  <a:cubicBezTo>
                    <a:pt x="1781" y="2011"/>
                    <a:pt x="1778" y="2009"/>
                    <a:pt x="1775" y="2006"/>
                  </a:cubicBezTo>
                  <a:cubicBezTo>
                    <a:pt x="1772" y="2002"/>
                    <a:pt x="1770" y="2000"/>
                    <a:pt x="1768" y="1998"/>
                  </a:cubicBezTo>
                  <a:cubicBezTo>
                    <a:pt x="1767" y="1996"/>
                    <a:pt x="1766" y="1994"/>
                    <a:pt x="1766" y="1992"/>
                  </a:cubicBezTo>
                  <a:cubicBezTo>
                    <a:pt x="1766" y="1991"/>
                    <a:pt x="1766" y="1989"/>
                    <a:pt x="1768" y="1988"/>
                  </a:cubicBezTo>
                  <a:lnTo>
                    <a:pt x="1784" y="1972"/>
                  </a:lnTo>
                  <a:cubicBezTo>
                    <a:pt x="1769" y="1972"/>
                    <a:pt x="1756" y="1970"/>
                    <a:pt x="1743" y="1966"/>
                  </a:cubicBezTo>
                  <a:cubicBezTo>
                    <a:pt x="1730" y="1961"/>
                    <a:pt x="1719" y="1954"/>
                    <a:pt x="1710" y="1945"/>
                  </a:cubicBezTo>
                  <a:cubicBezTo>
                    <a:pt x="1701" y="1937"/>
                    <a:pt x="1695" y="1928"/>
                    <a:pt x="1690" y="1919"/>
                  </a:cubicBezTo>
                  <a:cubicBezTo>
                    <a:pt x="1686" y="1910"/>
                    <a:pt x="1683" y="1901"/>
                    <a:pt x="1682" y="1892"/>
                  </a:cubicBezTo>
                  <a:cubicBezTo>
                    <a:pt x="1682" y="1883"/>
                    <a:pt x="1683" y="1874"/>
                    <a:pt x="1686" y="1866"/>
                  </a:cubicBezTo>
                  <a:cubicBezTo>
                    <a:pt x="1690" y="1857"/>
                    <a:pt x="1695" y="1849"/>
                    <a:pt x="1703" y="1841"/>
                  </a:cubicBezTo>
                  <a:cubicBezTo>
                    <a:pt x="1712" y="1832"/>
                    <a:pt x="1722" y="1826"/>
                    <a:pt x="1732" y="1823"/>
                  </a:cubicBezTo>
                  <a:cubicBezTo>
                    <a:pt x="1742" y="1821"/>
                    <a:pt x="1753" y="1820"/>
                    <a:pt x="1764" y="1823"/>
                  </a:cubicBezTo>
                  <a:cubicBezTo>
                    <a:pt x="1775" y="1825"/>
                    <a:pt x="1787" y="1830"/>
                    <a:pt x="1799" y="1838"/>
                  </a:cubicBezTo>
                  <a:cubicBezTo>
                    <a:pt x="1811" y="1846"/>
                    <a:pt x="1823" y="1856"/>
                    <a:pt x="1836" y="1868"/>
                  </a:cubicBezTo>
                  <a:lnTo>
                    <a:pt x="1857" y="1890"/>
                  </a:lnTo>
                  <a:lnTo>
                    <a:pt x="1870" y="1878"/>
                  </a:lnTo>
                  <a:cubicBezTo>
                    <a:pt x="1876" y="1872"/>
                    <a:pt x="1881" y="1866"/>
                    <a:pt x="1884" y="1860"/>
                  </a:cubicBezTo>
                  <a:cubicBezTo>
                    <a:pt x="1888" y="1854"/>
                    <a:pt x="1889" y="1848"/>
                    <a:pt x="1890" y="1842"/>
                  </a:cubicBezTo>
                  <a:cubicBezTo>
                    <a:pt x="1890" y="1835"/>
                    <a:pt x="1889" y="1829"/>
                    <a:pt x="1886" y="1823"/>
                  </a:cubicBezTo>
                  <a:cubicBezTo>
                    <a:pt x="1883" y="1817"/>
                    <a:pt x="1878" y="1811"/>
                    <a:pt x="1871" y="1804"/>
                  </a:cubicBezTo>
                  <a:cubicBezTo>
                    <a:pt x="1864" y="1797"/>
                    <a:pt x="1856" y="1791"/>
                    <a:pt x="1849" y="1787"/>
                  </a:cubicBezTo>
                  <a:cubicBezTo>
                    <a:pt x="1842" y="1783"/>
                    <a:pt x="1835" y="1780"/>
                    <a:pt x="1828" y="1778"/>
                  </a:cubicBezTo>
                  <a:cubicBezTo>
                    <a:pt x="1822" y="1775"/>
                    <a:pt x="1816" y="1774"/>
                    <a:pt x="1812" y="1773"/>
                  </a:cubicBezTo>
                  <a:cubicBezTo>
                    <a:pt x="1807" y="1771"/>
                    <a:pt x="1804" y="1770"/>
                    <a:pt x="1803" y="1769"/>
                  </a:cubicBezTo>
                  <a:cubicBezTo>
                    <a:pt x="1802" y="1768"/>
                    <a:pt x="1801" y="1767"/>
                    <a:pt x="1801" y="1765"/>
                  </a:cubicBezTo>
                  <a:cubicBezTo>
                    <a:pt x="1801" y="1764"/>
                    <a:pt x="1801" y="1763"/>
                    <a:pt x="1801" y="1762"/>
                  </a:cubicBezTo>
                  <a:cubicBezTo>
                    <a:pt x="1802" y="1760"/>
                    <a:pt x="1803" y="1758"/>
                    <a:pt x="1804" y="1757"/>
                  </a:cubicBezTo>
                  <a:cubicBezTo>
                    <a:pt x="1805" y="1755"/>
                    <a:pt x="1807" y="1753"/>
                    <a:pt x="1808" y="1752"/>
                  </a:cubicBezTo>
                  <a:cubicBezTo>
                    <a:pt x="1811" y="1749"/>
                    <a:pt x="1814" y="1746"/>
                    <a:pt x="1816" y="1745"/>
                  </a:cubicBezTo>
                  <a:cubicBezTo>
                    <a:pt x="1818" y="1744"/>
                    <a:pt x="1821" y="1743"/>
                    <a:pt x="1824" y="1743"/>
                  </a:cubicBezTo>
                  <a:cubicBezTo>
                    <a:pt x="1827" y="1743"/>
                    <a:pt x="1831" y="1744"/>
                    <a:pt x="1837" y="1746"/>
                  </a:cubicBezTo>
                  <a:cubicBezTo>
                    <a:pt x="1843" y="1748"/>
                    <a:pt x="1850" y="1751"/>
                    <a:pt x="1857" y="1754"/>
                  </a:cubicBezTo>
                  <a:cubicBezTo>
                    <a:pt x="1863" y="1757"/>
                    <a:pt x="1870" y="1761"/>
                    <a:pt x="1877" y="1766"/>
                  </a:cubicBezTo>
                  <a:cubicBezTo>
                    <a:pt x="1885" y="1771"/>
                    <a:pt x="1891" y="1777"/>
                    <a:pt x="1897" y="1783"/>
                  </a:cubicBezTo>
                  <a:cubicBezTo>
                    <a:pt x="1909" y="1794"/>
                    <a:pt x="1917" y="1805"/>
                    <a:pt x="1923" y="1816"/>
                  </a:cubicBezTo>
                  <a:cubicBezTo>
                    <a:pt x="1928" y="1826"/>
                    <a:pt x="1931" y="1837"/>
                    <a:pt x="1931" y="1847"/>
                  </a:cubicBezTo>
                  <a:cubicBezTo>
                    <a:pt x="1931" y="1857"/>
                    <a:pt x="1928" y="1866"/>
                    <a:pt x="1923" y="1876"/>
                  </a:cubicBezTo>
                  <a:cubicBezTo>
                    <a:pt x="1918" y="1886"/>
                    <a:pt x="1910" y="1896"/>
                    <a:pt x="1900" y="1905"/>
                  </a:cubicBezTo>
                  <a:lnTo>
                    <a:pt x="1793" y="2013"/>
                  </a:lnTo>
                  <a:close/>
                  <a:moveTo>
                    <a:pt x="1836" y="1911"/>
                  </a:moveTo>
                  <a:lnTo>
                    <a:pt x="1812" y="1886"/>
                  </a:lnTo>
                  <a:cubicBezTo>
                    <a:pt x="1804" y="1878"/>
                    <a:pt x="1796" y="1872"/>
                    <a:pt x="1789" y="1867"/>
                  </a:cubicBezTo>
                  <a:cubicBezTo>
                    <a:pt x="1781" y="1863"/>
                    <a:pt x="1774" y="1860"/>
                    <a:pt x="1768" y="1859"/>
                  </a:cubicBezTo>
                  <a:cubicBezTo>
                    <a:pt x="1761" y="1857"/>
                    <a:pt x="1755" y="1858"/>
                    <a:pt x="1750" y="1860"/>
                  </a:cubicBezTo>
                  <a:cubicBezTo>
                    <a:pt x="1744" y="1862"/>
                    <a:pt x="1739" y="1865"/>
                    <a:pt x="1734" y="1870"/>
                  </a:cubicBezTo>
                  <a:cubicBezTo>
                    <a:pt x="1726" y="1878"/>
                    <a:pt x="1722" y="1887"/>
                    <a:pt x="1722" y="1897"/>
                  </a:cubicBezTo>
                  <a:cubicBezTo>
                    <a:pt x="1723" y="1907"/>
                    <a:pt x="1728" y="1917"/>
                    <a:pt x="1737" y="1927"/>
                  </a:cubicBezTo>
                  <a:cubicBezTo>
                    <a:pt x="1745" y="1934"/>
                    <a:pt x="1754" y="1940"/>
                    <a:pt x="1764" y="1942"/>
                  </a:cubicBezTo>
                  <a:cubicBezTo>
                    <a:pt x="1775" y="1945"/>
                    <a:pt x="1787" y="1946"/>
                    <a:pt x="1803" y="1945"/>
                  </a:cubicBezTo>
                  <a:lnTo>
                    <a:pt x="1836" y="1911"/>
                  </a:lnTo>
                  <a:close/>
                  <a:moveTo>
                    <a:pt x="2096" y="2018"/>
                  </a:moveTo>
                  <a:cubicBezTo>
                    <a:pt x="2093" y="2021"/>
                    <a:pt x="2091" y="2023"/>
                    <a:pt x="2089" y="2024"/>
                  </a:cubicBezTo>
                  <a:cubicBezTo>
                    <a:pt x="2087" y="2026"/>
                    <a:pt x="2086" y="2027"/>
                    <a:pt x="2084" y="2028"/>
                  </a:cubicBezTo>
                  <a:cubicBezTo>
                    <a:pt x="2083" y="2029"/>
                    <a:pt x="2082" y="2029"/>
                    <a:pt x="2081" y="2029"/>
                  </a:cubicBezTo>
                  <a:cubicBezTo>
                    <a:pt x="2080" y="2029"/>
                    <a:pt x="2079" y="2028"/>
                    <a:pt x="2078" y="2027"/>
                  </a:cubicBezTo>
                  <a:cubicBezTo>
                    <a:pt x="2077" y="2027"/>
                    <a:pt x="2076" y="2025"/>
                    <a:pt x="2075" y="2023"/>
                  </a:cubicBezTo>
                  <a:cubicBezTo>
                    <a:pt x="2074" y="2021"/>
                    <a:pt x="2073" y="2019"/>
                    <a:pt x="2072" y="2017"/>
                  </a:cubicBezTo>
                  <a:cubicBezTo>
                    <a:pt x="2071" y="2015"/>
                    <a:pt x="2069" y="2012"/>
                    <a:pt x="2068" y="2010"/>
                  </a:cubicBezTo>
                  <a:cubicBezTo>
                    <a:pt x="2066" y="2007"/>
                    <a:pt x="2064" y="2005"/>
                    <a:pt x="2061" y="2002"/>
                  </a:cubicBezTo>
                  <a:cubicBezTo>
                    <a:pt x="2059" y="1999"/>
                    <a:pt x="2055" y="1997"/>
                    <a:pt x="2051" y="1995"/>
                  </a:cubicBezTo>
                  <a:cubicBezTo>
                    <a:pt x="2047" y="1994"/>
                    <a:pt x="2042" y="1993"/>
                    <a:pt x="2036" y="1992"/>
                  </a:cubicBezTo>
                  <a:cubicBezTo>
                    <a:pt x="2030" y="1992"/>
                    <a:pt x="2024" y="1992"/>
                    <a:pt x="2016" y="1993"/>
                  </a:cubicBezTo>
                  <a:cubicBezTo>
                    <a:pt x="2008" y="1994"/>
                    <a:pt x="1999" y="1996"/>
                    <a:pt x="1988" y="1998"/>
                  </a:cubicBezTo>
                  <a:lnTo>
                    <a:pt x="1883" y="2103"/>
                  </a:lnTo>
                  <a:cubicBezTo>
                    <a:pt x="1882" y="2104"/>
                    <a:pt x="1881" y="2104"/>
                    <a:pt x="1880" y="2105"/>
                  </a:cubicBezTo>
                  <a:cubicBezTo>
                    <a:pt x="1879" y="2105"/>
                    <a:pt x="1878" y="2105"/>
                    <a:pt x="1876" y="2104"/>
                  </a:cubicBezTo>
                  <a:cubicBezTo>
                    <a:pt x="1875" y="2103"/>
                    <a:pt x="1873" y="2102"/>
                    <a:pt x="1871" y="2101"/>
                  </a:cubicBezTo>
                  <a:cubicBezTo>
                    <a:pt x="1869" y="2099"/>
                    <a:pt x="1866" y="2097"/>
                    <a:pt x="1863" y="2094"/>
                  </a:cubicBezTo>
                  <a:cubicBezTo>
                    <a:pt x="1860" y="2091"/>
                    <a:pt x="1858" y="2088"/>
                    <a:pt x="1856" y="2086"/>
                  </a:cubicBezTo>
                  <a:cubicBezTo>
                    <a:pt x="1855" y="2084"/>
                    <a:pt x="1854" y="2082"/>
                    <a:pt x="1853" y="2081"/>
                  </a:cubicBezTo>
                  <a:cubicBezTo>
                    <a:pt x="1852" y="2079"/>
                    <a:pt x="1852" y="2078"/>
                    <a:pt x="1852" y="2077"/>
                  </a:cubicBezTo>
                  <a:cubicBezTo>
                    <a:pt x="1853" y="2076"/>
                    <a:pt x="1853" y="2075"/>
                    <a:pt x="1854" y="2074"/>
                  </a:cubicBezTo>
                  <a:lnTo>
                    <a:pt x="2013" y="1915"/>
                  </a:lnTo>
                  <a:cubicBezTo>
                    <a:pt x="2014" y="1914"/>
                    <a:pt x="2015" y="1913"/>
                    <a:pt x="2016" y="1913"/>
                  </a:cubicBezTo>
                  <a:cubicBezTo>
                    <a:pt x="2017" y="1913"/>
                    <a:pt x="2018" y="1913"/>
                    <a:pt x="2020" y="1913"/>
                  </a:cubicBezTo>
                  <a:cubicBezTo>
                    <a:pt x="2022" y="1914"/>
                    <a:pt x="2023" y="1915"/>
                    <a:pt x="2025" y="1916"/>
                  </a:cubicBezTo>
                  <a:cubicBezTo>
                    <a:pt x="2027" y="1918"/>
                    <a:pt x="2029" y="1920"/>
                    <a:pt x="2032" y="1922"/>
                  </a:cubicBezTo>
                  <a:cubicBezTo>
                    <a:pt x="2035" y="1925"/>
                    <a:pt x="2037" y="1927"/>
                    <a:pt x="2038" y="1929"/>
                  </a:cubicBezTo>
                  <a:cubicBezTo>
                    <a:pt x="2040" y="1931"/>
                    <a:pt x="2041" y="1933"/>
                    <a:pt x="2041" y="1934"/>
                  </a:cubicBezTo>
                  <a:cubicBezTo>
                    <a:pt x="2041" y="1936"/>
                    <a:pt x="2042" y="1937"/>
                    <a:pt x="2041" y="1938"/>
                  </a:cubicBezTo>
                  <a:cubicBezTo>
                    <a:pt x="2041" y="1939"/>
                    <a:pt x="2041" y="1940"/>
                    <a:pt x="2040" y="1941"/>
                  </a:cubicBezTo>
                  <a:lnTo>
                    <a:pt x="2016" y="1964"/>
                  </a:lnTo>
                  <a:cubicBezTo>
                    <a:pt x="2027" y="1962"/>
                    <a:pt x="2036" y="1961"/>
                    <a:pt x="2044" y="1961"/>
                  </a:cubicBezTo>
                  <a:cubicBezTo>
                    <a:pt x="2052" y="1961"/>
                    <a:pt x="2059" y="1961"/>
                    <a:pt x="2065" y="1962"/>
                  </a:cubicBezTo>
                  <a:cubicBezTo>
                    <a:pt x="2070" y="1963"/>
                    <a:pt x="2075" y="1965"/>
                    <a:pt x="2080" y="1968"/>
                  </a:cubicBezTo>
                  <a:cubicBezTo>
                    <a:pt x="2084" y="1970"/>
                    <a:pt x="2088" y="1973"/>
                    <a:pt x="2091" y="1977"/>
                  </a:cubicBezTo>
                  <a:cubicBezTo>
                    <a:pt x="2093" y="1978"/>
                    <a:pt x="2094" y="1980"/>
                    <a:pt x="2096" y="1982"/>
                  </a:cubicBezTo>
                  <a:cubicBezTo>
                    <a:pt x="2098" y="1984"/>
                    <a:pt x="2099" y="1987"/>
                    <a:pt x="2101" y="1989"/>
                  </a:cubicBezTo>
                  <a:cubicBezTo>
                    <a:pt x="2103" y="1992"/>
                    <a:pt x="2104" y="1994"/>
                    <a:pt x="2105" y="1996"/>
                  </a:cubicBezTo>
                  <a:cubicBezTo>
                    <a:pt x="2106" y="1999"/>
                    <a:pt x="2107" y="2001"/>
                    <a:pt x="2107" y="2002"/>
                  </a:cubicBezTo>
                  <a:cubicBezTo>
                    <a:pt x="2107" y="2003"/>
                    <a:pt x="2107" y="2004"/>
                    <a:pt x="2107" y="2005"/>
                  </a:cubicBezTo>
                  <a:cubicBezTo>
                    <a:pt x="2107" y="2006"/>
                    <a:pt x="2106" y="2007"/>
                    <a:pt x="2105" y="2008"/>
                  </a:cubicBezTo>
                  <a:cubicBezTo>
                    <a:pt x="2105" y="2009"/>
                    <a:pt x="2104" y="2010"/>
                    <a:pt x="2102" y="2012"/>
                  </a:cubicBezTo>
                  <a:cubicBezTo>
                    <a:pt x="2101" y="2013"/>
                    <a:pt x="2098" y="2015"/>
                    <a:pt x="2096" y="2018"/>
                  </a:cubicBezTo>
                  <a:close/>
                  <a:moveTo>
                    <a:pt x="2208" y="2265"/>
                  </a:moveTo>
                  <a:cubicBezTo>
                    <a:pt x="2195" y="2278"/>
                    <a:pt x="2181" y="2288"/>
                    <a:pt x="2167" y="2296"/>
                  </a:cubicBezTo>
                  <a:cubicBezTo>
                    <a:pt x="2153" y="2303"/>
                    <a:pt x="2138" y="2307"/>
                    <a:pt x="2123" y="2308"/>
                  </a:cubicBezTo>
                  <a:cubicBezTo>
                    <a:pt x="2109" y="2310"/>
                    <a:pt x="2094" y="2307"/>
                    <a:pt x="2080" y="2301"/>
                  </a:cubicBezTo>
                  <a:cubicBezTo>
                    <a:pt x="2065" y="2296"/>
                    <a:pt x="2051" y="2286"/>
                    <a:pt x="2037" y="2273"/>
                  </a:cubicBezTo>
                  <a:cubicBezTo>
                    <a:pt x="2024" y="2260"/>
                    <a:pt x="2015" y="2246"/>
                    <a:pt x="2009" y="2233"/>
                  </a:cubicBezTo>
                  <a:cubicBezTo>
                    <a:pt x="2003" y="2219"/>
                    <a:pt x="2001" y="2205"/>
                    <a:pt x="2002" y="2191"/>
                  </a:cubicBezTo>
                  <a:cubicBezTo>
                    <a:pt x="2003" y="2177"/>
                    <a:pt x="2007" y="2164"/>
                    <a:pt x="2014" y="2150"/>
                  </a:cubicBezTo>
                  <a:cubicBezTo>
                    <a:pt x="2022" y="2136"/>
                    <a:pt x="2032" y="2122"/>
                    <a:pt x="2046" y="2109"/>
                  </a:cubicBezTo>
                  <a:cubicBezTo>
                    <a:pt x="2059" y="2096"/>
                    <a:pt x="2072" y="2086"/>
                    <a:pt x="2086" y="2078"/>
                  </a:cubicBezTo>
                  <a:cubicBezTo>
                    <a:pt x="2101" y="2071"/>
                    <a:pt x="2115" y="2066"/>
                    <a:pt x="2130" y="2065"/>
                  </a:cubicBezTo>
                  <a:cubicBezTo>
                    <a:pt x="2144" y="2064"/>
                    <a:pt x="2159" y="2066"/>
                    <a:pt x="2174" y="2072"/>
                  </a:cubicBezTo>
                  <a:cubicBezTo>
                    <a:pt x="2188" y="2078"/>
                    <a:pt x="2202" y="2088"/>
                    <a:pt x="2216" y="2101"/>
                  </a:cubicBezTo>
                  <a:cubicBezTo>
                    <a:pt x="2229" y="2114"/>
                    <a:pt x="2238" y="2128"/>
                    <a:pt x="2244" y="2141"/>
                  </a:cubicBezTo>
                  <a:cubicBezTo>
                    <a:pt x="2250" y="2155"/>
                    <a:pt x="2252" y="2169"/>
                    <a:pt x="2251" y="2183"/>
                  </a:cubicBezTo>
                  <a:cubicBezTo>
                    <a:pt x="2250" y="2196"/>
                    <a:pt x="2246" y="2210"/>
                    <a:pt x="2239" y="2224"/>
                  </a:cubicBezTo>
                  <a:cubicBezTo>
                    <a:pt x="2232" y="2238"/>
                    <a:pt x="2221" y="2252"/>
                    <a:pt x="2208" y="2265"/>
                  </a:cubicBezTo>
                  <a:close/>
                  <a:moveTo>
                    <a:pt x="2176" y="2237"/>
                  </a:moveTo>
                  <a:cubicBezTo>
                    <a:pt x="2184" y="2228"/>
                    <a:pt x="2192" y="2219"/>
                    <a:pt x="2198" y="2210"/>
                  </a:cubicBezTo>
                  <a:cubicBezTo>
                    <a:pt x="2204" y="2201"/>
                    <a:pt x="2208" y="2191"/>
                    <a:pt x="2210" y="2182"/>
                  </a:cubicBezTo>
                  <a:cubicBezTo>
                    <a:pt x="2212" y="2172"/>
                    <a:pt x="2212" y="2163"/>
                    <a:pt x="2209" y="2153"/>
                  </a:cubicBezTo>
                  <a:cubicBezTo>
                    <a:pt x="2206" y="2143"/>
                    <a:pt x="2199" y="2134"/>
                    <a:pt x="2190" y="2124"/>
                  </a:cubicBezTo>
                  <a:cubicBezTo>
                    <a:pt x="2181" y="2116"/>
                    <a:pt x="2172" y="2110"/>
                    <a:pt x="2163" y="2107"/>
                  </a:cubicBezTo>
                  <a:cubicBezTo>
                    <a:pt x="2154" y="2103"/>
                    <a:pt x="2144" y="2103"/>
                    <a:pt x="2135" y="2104"/>
                  </a:cubicBezTo>
                  <a:cubicBezTo>
                    <a:pt x="2125" y="2106"/>
                    <a:pt x="2115" y="2109"/>
                    <a:pt x="2106" y="2115"/>
                  </a:cubicBezTo>
                  <a:cubicBezTo>
                    <a:pt x="2096" y="2121"/>
                    <a:pt x="2087" y="2128"/>
                    <a:pt x="2078" y="2137"/>
                  </a:cubicBezTo>
                  <a:cubicBezTo>
                    <a:pt x="2069" y="2146"/>
                    <a:pt x="2062" y="2155"/>
                    <a:pt x="2056" y="2164"/>
                  </a:cubicBezTo>
                  <a:cubicBezTo>
                    <a:pt x="2050" y="2173"/>
                    <a:pt x="2046" y="2183"/>
                    <a:pt x="2044" y="2192"/>
                  </a:cubicBezTo>
                  <a:cubicBezTo>
                    <a:pt x="2042" y="2202"/>
                    <a:pt x="2042" y="2211"/>
                    <a:pt x="2045" y="2221"/>
                  </a:cubicBezTo>
                  <a:cubicBezTo>
                    <a:pt x="2048" y="2231"/>
                    <a:pt x="2054" y="2240"/>
                    <a:pt x="2064" y="2250"/>
                  </a:cubicBezTo>
                  <a:cubicBezTo>
                    <a:pt x="2072" y="2258"/>
                    <a:pt x="2081" y="2264"/>
                    <a:pt x="2090" y="2267"/>
                  </a:cubicBezTo>
                  <a:cubicBezTo>
                    <a:pt x="2100" y="2271"/>
                    <a:pt x="2109" y="2271"/>
                    <a:pt x="2119" y="2270"/>
                  </a:cubicBezTo>
                  <a:cubicBezTo>
                    <a:pt x="2128" y="2268"/>
                    <a:pt x="2138" y="2265"/>
                    <a:pt x="2148" y="2259"/>
                  </a:cubicBezTo>
                  <a:cubicBezTo>
                    <a:pt x="2157" y="2253"/>
                    <a:pt x="2166" y="2246"/>
                    <a:pt x="2176" y="2237"/>
                  </a:cubicBezTo>
                  <a:close/>
                  <a:moveTo>
                    <a:pt x="2553" y="2454"/>
                  </a:moveTo>
                  <a:cubicBezTo>
                    <a:pt x="2552" y="2455"/>
                    <a:pt x="2551" y="2455"/>
                    <a:pt x="2550" y="2456"/>
                  </a:cubicBezTo>
                  <a:cubicBezTo>
                    <a:pt x="2548" y="2457"/>
                    <a:pt x="2546" y="2458"/>
                    <a:pt x="2544" y="2460"/>
                  </a:cubicBezTo>
                  <a:lnTo>
                    <a:pt x="2346" y="2564"/>
                  </a:lnTo>
                  <a:cubicBezTo>
                    <a:pt x="2344" y="2565"/>
                    <a:pt x="2343" y="2565"/>
                    <a:pt x="2341" y="2565"/>
                  </a:cubicBezTo>
                  <a:cubicBezTo>
                    <a:pt x="2339" y="2565"/>
                    <a:pt x="2338" y="2565"/>
                    <a:pt x="2336" y="2564"/>
                  </a:cubicBezTo>
                  <a:cubicBezTo>
                    <a:pt x="2334" y="2563"/>
                    <a:pt x="2332" y="2562"/>
                    <a:pt x="2329" y="2559"/>
                  </a:cubicBezTo>
                  <a:cubicBezTo>
                    <a:pt x="2327" y="2557"/>
                    <a:pt x="2324" y="2554"/>
                    <a:pt x="2320" y="2551"/>
                  </a:cubicBezTo>
                  <a:cubicBezTo>
                    <a:pt x="2317" y="2547"/>
                    <a:pt x="2314" y="2544"/>
                    <a:pt x="2311" y="2541"/>
                  </a:cubicBezTo>
                  <a:cubicBezTo>
                    <a:pt x="2309" y="2539"/>
                    <a:pt x="2308" y="2536"/>
                    <a:pt x="2307" y="2534"/>
                  </a:cubicBezTo>
                  <a:cubicBezTo>
                    <a:pt x="2306" y="2532"/>
                    <a:pt x="2305" y="2531"/>
                    <a:pt x="2305" y="2529"/>
                  </a:cubicBezTo>
                  <a:cubicBezTo>
                    <a:pt x="2305" y="2528"/>
                    <a:pt x="2306" y="2526"/>
                    <a:pt x="2307" y="2525"/>
                  </a:cubicBezTo>
                  <a:lnTo>
                    <a:pt x="2389" y="2376"/>
                  </a:lnTo>
                  <a:lnTo>
                    <a:pt x="2390" y="2374"/>
                  </a:lnTo>
                  <a:lnTo>
                    <a:pt x="2388" y="2375"/>
                  </a:lnTo>
                  <a:lnTo>
                    <a:pt x="2242" y="2460"/>
                  </a:lnTo>
                  <a:cubicBezTo>
                    <a:pt x="2240" y="2460"/>
                    <a:pt x="2238" y="2461"/>
                    <a:pt x="2237" y="2461"/>
                  </a:cubicBezTo>
                  <a:cubicBezTo>
                    <a:pt x="2235" y="2461"/>
                    <a:pt x="2233" y="2461"/>
                    <a:pt x="2231" y="2460"/>
                  </a:cubicBezTo>
                  <a:cubicBezTo>
                    <a:pt x="2229" y="2458"/>
                    <a:pt x="2227" y="2457"/>
                    <a:pt x="2224" y="2455"/>
                  </a:cubicBezTo>
                  <a:cubicBezTo>
                    <a:pt x="2222" y="2452"/>
                    <a:pt x="2219" y="2449"/>
                    <a:pt x="2215" y="2446"/>
                  </a:cubicBezTo>
                  <a:cubicBezTo>
                    <a:pt x="2212" y="2442"/>
                    <a:pt x="2209" y="2439"/>
                    <a:pt x="2207" y="2437"/>
                  </a:cubicBezTo>
                  <a:cubicBezTo>
                    <a:pt x="2205" y="2434"/>
                    <a:pt x="2203" y="2432"/>
                    <a:pt x="2202" y="2430"/>
                  </a:cubicBezTo>
                  <a:cubicBezTo>
                    <a:pt x="2201" y="2428"/>
                    <a:pt x="2201" y="2426"/>
                    <a:pt x="2201" y="2425"/>
                  </a:cubicBezTo>
                  <a:cubicBezTo>
                    <a:pt x="2201" y="2423"/>
                    <a:pt x="2201" y="2422"/>
                    <a:pt x="2202" y="2420"/>
                  </a:cubicBezTo>
                  <a:lnTo>
                    <a:pt x="2307" y="2222"/>
                  </a:lnTo>
                  <a:cubicBezTo>
                    <a:pt x="2308" y="2220"/>
                    <a:pt x="2309" y="2218"/>
                    <a:pt x="2310" y="2217"/>
                  </a:cubicBezTo>
                  <a:cubicBezTo>
                    <a:pt x="2311" y="2215"/>
                    <a:pt x="2312" y="2214"/>
                    <a:pt x="2313" y="2213"/>
                  </a:cubicBezTo>
                  <a:cubicBezTo>
                    <a:pt x="2314" y="2212"/>
                    <a:pt x="2315" y="2212"/>
                    <a:pt x="2316" y="2212"/>
                  </a:cubicBezTo>
                  <a:cubicBezTo>
                    <a:pt x="2317" y="2211"/>
                    <a:pt x="2318" y="2212"/>
                    <a:pt x="2320" y="2212"/>
                  </a:cubicBezTo>
                  <a:cubicBezTo>
                    <a:pt x="2321" y="2213"/>
                    <a:pt x="2323" y="2214"/>
                    <a:pt x="2325" y="2216"/>
                  </a:cubicBezTo>
                  <a:cubicBezTo>
                    <a:pt x="2327" y="2218"/>
                    <a:pt x="2330" y="2220"/>
                    <a:pt x="2332" y="2223"/>
                  </a:cubicBezTo>
                  <a:cubicBezTo>
                    <a:pt x="2336" y="2226"/>
                    <a:pt x="2338" y="2229"/>
                    <a:pt x="2340" y="2231"/>
                  </a:cubicBezTo>
                  <a:cubicBezTo>
                    <a:pt x="2342" y="2233"/>
                    <a:pt x="2343" y="2235"/>
                    <a:pt x="2344" y="2237"/>
                  </a:cubicBezTo>
                  <a:cubicBezTo>
                    <a:pt x="2344" y="2238"/>
                    <a:pt x="2345" y="2239"/>
                    <a:pt x="2344" y="2241"/>
                  </a:cubicBezTo>
                  <a:cubicBezTo>
                    <a:pt x="2344" y="2242"/>
                    <a:pt x="2343" y="2243"/>
                    <a:pt x="2343" y="2245"/>
                  </a:cubicBezTo>
                  <a:lnTo>
                    <a:pt x="2250" y="2414"/>
                  </a:lnTo>
                  <a:lnTo>
                    <a:pt x="2249" y="2416"/>
                  </a:lnTo>
                  <a:lnTo>
                    <a:pt x="2251" y="2415"/>
                  </a:lnTo>
                  <a:lnTo>
                    <a:pt x="2417" y="2319"/>
                  </a:lnTo>
                  <a:cubicBezTo>
                    <a:pt x="2418" y="2318"/>
                    <a:pt x="2420" y="2317"/>
                    <a:pt x="2421" y="2317"/>
                  </a:cubicBezTo>
                  <a:cubicBezTo>
                    <a:pt x="2422" y="2317"/>
                    <a:pt x="2424" y="2317"/>
                    <a:pt x="2425" y="2318"/>
                  </a:cubicBezTo>
                  <a:cubicBezTo>
                    <a:pt x="2427" y="2318"/>
                    <a:pt x="2428" y="2320"/>
                    <a:pt x="2430" y="2321"/>
                  </a:cubicBezTo>
                  <a:cubicBezTo>
                    <a:pt x="2432" y="2323"/>
                    <a:pt x="2435" y="2325"/>
                    <a:pt x="2438" y="2328"/>
                  </a:cubicBezTo>
                  <a:cubicBezTo>
                    <a:pt x="2440" y="2331"/>
                    <a:pt x="2443" y="2333"/>
                    <a:pt x="2444" y="2335"/>
                  </a:cubicBezTo>
                  <a:cubicBezTo>
                    <a:pt x="2446" y="2337"/>
                    <a:pt x="2447" y="2339"/>
                    <a:pt x="2448" y="2341"/>
                  </a:cubicBezTo>
                  <a:cubicBezTo>
                    <a:pt x="2448" y="2342"/>
                    <a:pt x="2449" y="2343"/>
                    <a:pt x="2448" y="2345"/>
                  </a:cubicBezTo>
                  <a:cubicBezTo>
                    <a:pt x="2448" y="2346"/>
                    <a:pt x="2448" y="2347"/>
                    <a:pt x="2447" y="2348"/>
                  </a:cubicBezTo>
                  <a:lnTo>
                    <a:pt x="2354" y="2518"/>
                  </a:lnTo>
                  <a:lnTo>
                    <a:pt x="2352" y="2520"/>
                  </a:lnTo>
                  <a:lnTo>
                    <a:pt x="2354" y="2518"/>
                  </a:lnTo>
                  <a:lnTo>
                    <a:pt x="2523" y="2425"/>
                  </a:lnTo>
                  <a:cubicBezTo>
                    <a:pt x="2524" y="2424"/>
                    <a:pt x="2526" y="2424"/>
                    <a:pt x="2527" y="2423"/>
                  </a:cubicBezTo>
                  <a:cubicBezTo>
                    <a:pt x="2528" y="2423"/>
                    <a:pt x="2530" y="2423"/>
                    <a:pt x="2531" y="2424"/>
                  </a:cubicBezTo>
                  <a:cubicBezTo>
                    <a:pt x="2533" y="2425"/>
                    <a:pt x="2535" y="2426"/>
                    <a:pt x="2537" y="2428"/>
                  </a:cubicBezTo>
                  <a:cubicBezTo>
                    <a:pt x="2539" y="2429"/>
                    <a:pt x="2541" y="2432"/>
                    <a:pt x="2544" y="2435"/>
                  </a:cubicBezTo>
                  <a:cubicBezTo>
                    <a:pt x="2547" y="2438"/>
                    <a:pt x="2549" y="2440"/>
                    <a:pt x="2551" y="2442"/>
                  </a:cubicBezTo>
                  <a:cubicBezTo>
                    <a:pt x="2553" y="2444"/>
                    <a:pt x="2554" y="2445"/>
                    <a:pt x="2554" y="2447"/>
                  </a:cubicBezTo>
                  <a:cubicBezTo>
                    <a:pt x="2555" y="2448"/>
                    <a:pt x="2555" y="2450"/>
                    <a:pt x="2555" y="2451"/>
                  </a:cubicBezTo>
                  <a:cubicBezTo>
                    <a:pt x="2555" y="2452"/>
                    <a:pt x="2554" y="2453"/>
                    <a:pt x="2553" y="2454"/>
                  </a:cubicBezTo>
                  <a:close/>
                  <a:moveTo>
                    <a:pt x="2551" y="2771"/>
                  </a:moveTo>
                  <a:cubicBezTo>
                    <a:pt x="2549" y="2772"/>
                    <a:pt x="2548" y="2773"/>
                    <a:pt x="2546" y="2773"/>
                  </a:cubicBezTo>
                  <a:cubicBezTo>
                    <a:pt x="2545" y="2772"/>
                    <a:pt x="2543" y="2772"/>
                    <a:pt x="2541" y="2770"/>
                  </a:cubicBezTo>
                  <a:cubicBezTo>
                    <a:pt x="2539" y="2769"/>
                    <a:pt x="2536" y="2767"/>
                    <a:pt x="2533" y="2764"/>
                  </a:cubicBezTo>
                  <a:cubicBezTo>
                    <a:pt x="2530" y="2761"/>
                    <a:pt x="2528" y="2758"/>
                    <a:pt x="2526" y="2756"/>
                  </a:cubicBezTo>
                  <a:cubicBezTo>
                    <a:pt x="2525" y="2754"/>
                    <a:pt x="2524" y="2752"/>
                    <a:pt x="2524" y="2750"/>
                  </a:cubicBezTo>
                  <a:cubicBezTo>
                    <a:pt x="2524" y="2749"/>
                    <a:pt x="2524" y="2747"/>
                    <a:pt x="2526" y="2746"/>
                  </a:cubicBezTo>
                  <a:lnTo>
                    <a:pt x="2542" y="2730"/>
                  </a:lnTo>
                  <a:cubicBezTo>
                    <a:pt x="2527" y="2730"/>
                    <a:pt x="2514" y="2728"/>
                    <a:pt x="2501" y="2724"/>
                  </a:cubicBezTo>
                  <a:cubicBezTo>
                    <a:pt x="2488" y="2719"/>
                    <a:pt x="2477" y="2712"/>
                    <a:pt x="2468" y="2703"/>
                  </a:cubicBezTo>
                  <a:cubicBezTo>
                    <a:pt x="2459" y="2695"/>
                    <a:pt x="2453" y="2686"/>
                    <a:pt x="2448" y="2677"/>
                  </a:cubicBezTo>
                  <a:cubicBezTo>
                    <a:pt x="2444" y="2668"/>
                    <a:pt x="2441" y="2659"/>
                    <a:pt x="2440" y="2650"/>
                  </a:cubicBezTo>
                  <a:cubicBezTo>
                    <a:pt x="2440" y="2641"/>
                    <a:pt x="2441" y="2632"/>
                    <a:pt x="2444" y="2624"/>
                  </a:cubicBezTo>
                  <a:cubicBezTo>
                    <a:pt x="2448" y="2615"/>
                    <a:pt x="2453" y="2607"/>
                    <a:pt x="2461" y="2599"/>
                  </a:cubicBezTo>
                  <a:cubicBezTo>
                    <a:pt x="2470" y="2590"/>
                    <a:pt x="2480" y="2584"/>
                    <a:pt x="2490" y="2581"/>
                  </a:cubicBezTo>
                  <a:cubicBezTo>
                    <a:pt x="2500" y="2579"/>
                    <a:pt x="2511" y="2578"/>
                    <a:pt x="2522" y="2581"/>
                  </a:cubicBezTo>
                  <a:cubicBezTo>
                    <a:pt x="2533" y="2583"/>
                    <a:pt x="2545" y="2588"/>
                    <a:pt x="2557" y="2596"/>
                  </a:cubicBezTo>
                  <a:cubicBezTo>
                    <a:pt x="2569" y="2604"/>
                    <a:pt x="2581" y="2614"/>
                    <a:pt x="2594" y="2626"/>
                  </a:cubicBezTo>
                  <a:lnTo>
                    <a:pt x="2616" y="2648"/>
                  </a:lnTo>
                  <a:lnTo>
                    <a:pt x="2628" y="2636"/>
                  </a:lnTo>
                  <a:cubicBezTo>
                    <a:pt x="2634" y="2630"/>
                    <a:pt x="2639" y="2624"/>
                    <a:pt x="2642" y="2618"/>
                  </a:cubicBezTo>
                  <a:cubicBezTo>
                    <a:pt x="2646" y="2612"/>
                    <a:pt x="2647" y="2606"/>
                    <a:pt x="2648" y="2600"/>
                  </a:cubicBezTo>
                  <a:cubicBezTo>
                    <a:pt x="2648" y="2594"/>
                    <a:pt x="2647" y="2587"/>
                    <a:pt x="2644" y="2581"/>
                  </a:cubicBezTo>
                  <a:cubicBezTo>
                    <a:pt x="2641" y="2575"/>
                    <a:pt x="2636" y="2569"/>
                    <a:pt x="2629" y="2562"/>
                  </a:cubicBezTo>
                  <a:cubicBezTo>
                    <a:pt x="2622" y="2555"/>
                    <a:pt x="2614" y="2549"/>
                    <a:pt x="2607" y="2545"/>
                  </a:cubicBezTo>
                  <a:cubicBezTo>
                    <a:pt x="2600" y="2541"/>
                    <a:pt x="2593" y="2538"/>
                    <a:pt x="2586" y="2536"/>
                  </a:cubicBezTo>
                  <a:cubicBezTo>
                    <a:pt x="2580" y="2533"/>
                    <a:pt x="2574" y="2532"/>
                    <a:pt x="2570" y="2531"/>
                  </a:cubicBezTo>
                  <a:cubicBezTo>
                    <a:pt x="2565" y="2529"/>
                    <a:pt x="2562" y="2528"/>
                    <a:pt x="2561" y="2527"/>
                  </a:cubicBezTo>
                  <a:cubicBezTo>
                    <a:pt x="2560" y="2526"/>
                    <a:pt x="2559" y="2525"/>
                    <a:pt x="2559" y="2524"/>
                  </a:cubicBezTo>
                  <a:cubicBezTo>
                    <a:pt x="2559" y="2522"/>
                    <a:pt x="2559" y="2521"/>
                    <a:pt x="2559" y="2520"/>
                  </a:cubicBezTo>
                  <a:cubicBezTo>
                    <a:pt x="2560" y="2518"/>
                    <a:pt x="2561" y="2516"/>
                    <a:pt x="2562" y="2515"/>
                  </a:cubicBezTo>
                  <a:cubicBezTo>
                    <a:pt x="2563" y="2513"/>
                    <a:pt x="2565" y="2511"/>
                    <a:pt x="2566" y="2510"/>
                  </a:cubicBezTo>
                  <a:cubicBezTo>
                    <a:pt x="2569" y="2507"/>
                    <a:pt x="2572" y="2504"/>
                    <a:pt x="2574" y="2503"/>
                  </a:cubicBezTo>
                  <a:cubicBezTo>
                    <a:pt x="2576" y="2502"/>
                    <a:pt x="2579" y="2501"/>
                    <a:pt x="2582" y="2501"/>
                  </a:cubicBezTo>
                  <a:cubicBezTo>
                    <a:pt x="2585" y="2501"/>
                    <a:pt x="2589" y="2502"/>
                    <a:pt x="2595" y="2504"/>
                  </a:cubicBezTo>
                  <a:cubicBezTo>
                    <a:pt x="2601" y="2506"/>
                    <a:pt x="2608" y="2509"/>
                    <a:pt x="2615" y="2512"/>
                  </a:cubicBezTo>
                  <a:cubicBezTo>
                    <a:pt x="2621" y="2515"/>
                    <a:pt x="2628" y="2519"/>
                    <a:pt x="2635" y="2524"/>
                  </a:cubicBezTo>
                  <a:cubicBezTo>
                    <a:pt x="2643" y="2529"/>
                    <a:pt x="2649" y="2535"/>
                    <a:pt x="2655" y="2541"/>
                  </a:cubicBezTo>
                  <a:cubicBezTo>
                    <a:pt x="2667" y="2552"/>
                    <a:pt x="2675" y="2563"/>
                    <a:pt x="2681" y="2574"/>
                  </a:cubicBezTo>
                  <a:cubicBezTo>
                    <a:pt x="2686" y="2584"/>
                    <a:pt x="2689" y="2595"/>
                    <a:pt x="2689" y="2605"/>
                  </a:cubicBezTo>
                  <a:cubicBezTo>
                    <a:pt x="2689" y="2615"/>
                    <a:pt x="2686" y="2625"/>
                    <a:pt x="2681" y="2634"/>
                  </a:cubicBezTo>
                  <a:cubicBezTo>
                    <a:pt x="2676" y="2644"/>
                    <a:pt x="2668" y="2654"/>
                    <a:pt x="2658" y="2664"/>
                  </a:cubicBezTo>
                  <a:lnTo>
                    <a:pt x="2551" y="2771"/>
                  </a:lnTo>
                  <a:close/>
                  <a:moveTo>
                    <a:pt x="2594" y="2669"/>
                  </a:moveTo>
                  <a:lnTo>
                    <a:pt x="2570" y="2644"/>
                  </a:lnTo>
                  <a:cubicBezTo>
                    <a:pt x="2562" y="2636"/>
                    <a:pt x="2554" y="2630"/>
                    <a:pt x="2547" y="2625"/>
                  </a:cubicBezTo>
                  <a:cubicBezTo>
                    <a:pt x="2539" y="2621"/>
                    <a:pt x="2533" y="2618"/>
                    <a:pt x="2526" y="2617"/>
                  </a:cubicBezTo>
                  <a:cubicBezTo>
                    <a:pt x="2519" y="2616"/>
                    <a:pt x="2513" y="2616"/>
                    <a:pt x="2508" y="2618"/>
                  </a:cubicBezTo>
                  <a:cubicBezTo>
                    <a:pt x="2502" y="2620"/>
                    <a:pt x="2497" y="2623"/>
                    <a:pt x="2492" y="2628"/>
                  </a:cubicBezTo>
                  <a:cubicBezTo>
                    <a:pt x="2484" y="2636"/>
                    <a:pt x="2480" y="2645"/>
                    <a:pt x="2480" y="2655"/>
                  </a:cubicBezTo>
                  <a:cubicBezTo>
                    <a:pt x="2481" y="2666"/>
                    <a:pt x="2486" y="2675"/>
                    <a:pt x="2495" y="2685"/>
                  </a:cubicBezTo>
                  <a:cubicBezTo>
                    <a:pt x="2503" y="2692"/>
                    <a:pt x="2512" y="2698"/>
                    <a:pt x="2522" y="2700"/>
                  </a:cubicBezTo>
                  <a:cubicBezTo>
                    <a:pt x="2533" y="2703"/>
                    <a:pt x="2546" y="2704"/>
                    <a:pt x="2561" y="2703"/>
                  </a:cubicBezTo>
                  <a:lnTo>
                    <a:pt x="2594" y="266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407" name="Freeform 154"/>
            <p:cNvSpPr>
              <a:spLocks noEditPoints="1"/>
            </p:cNvSpPr>
            <p:nvPr/>
          </p:nvSpPr>
          <p:spPr bwMode="auto">
            <a:xfrm>
              <a:off x="1787" y="1596"/>
              <a:ext cx="144" cy="152"/>
            </a:xfrm>
            <a:custGeom>
              <a:avLst/>
              <a:gdLst>
                <a:gd name="T0" fmla="*/ 5 w 1367"/>
                <a:gd name="T1" fmla="*/ 235 h 1442"/>
                <a:gd name="T2" fmla="*/ 229 w 1367"/>
                <a:gd name="T3" fmla="*/ 1 h 1442"/>
                <a:gd name="T4" fmla="*/ 252 w 1367"/>
                <a:gd name="T5" fmla="*/ 33 h 1442"/>
                <a:gd name="T6" fmla="*/ 292 w 1367"/>
                <a:gd name="T7" fmla="*/ 212 h 1442"/>
                <a:gd name="T8" fmla="*/ 102 w 1367"/>
                <a:gd name="T9" fmla="*/ 332 h 1442"/>
                <a:gd name="T10" fmla="*/ 180 w 1367"/>
                <a:gd name="T11" fmla="*/ 186 h 1442"/>
                <a:gd name="T12" fmla="*/ 204 w 1367"/>
                <a:gd name="T13" fmla="*/ 160 h 1442"/>
                <a:gd name="T14" fmla="*/ 349 w 1367"/>
                <a:gd name="T15" fmla="*/ 85 h 1442"/>
                <a:gd name="T16" fmla="*/ 316 w 1367"/>
                <a:gd name="T17" fmla="*/ 186 h 1442"/>
                <a:gd name="T18" fmla="*/ 282 w 1367"/>
                <a:gd name="T19" fmla="*/ 512 h 1442"/>
                <a:gd name="T20" fmla="*/ 216 w 1367"/>
                <a:gd name="T21" fmla="*/ 452 h 1442"/>
                <a:gd name="T22" fmla="*/ 271 w 1367"/>
                <a:gd name="T23" fmla="*/ 330 h 1442"/>
                <a:gd name="T24" fmla="*/ 396 w 1367"/>
                <a:gd name="T25" fmla="*/ 348 h 1442"/>
                <a:gd name="T26" fmla="*/ 309 w 1367"/>
                <a:gd name="T27" fmla="*/ 275 h 1442"/>
                <a:gd name="T28" fmla="*/ 330 w 1367"/>
                <a:gd name="T29" fmla="*/ 250 h 1442"/>
                <a:gd name="T30" fmla="*/ 437 w 1367"/>
                <a:gd name="T31" fmla="*/ 354 h 1442"/>
                <a:gd name="T32" fmla="*/ 295 w 1367"/>
                <a:gd name="T33" fmla="*/ 374 h 1442"/>
                <a:gd name="T34" fmla="*/ 271 w 1367"/>
                <a:gd name="T35" fmla="*/ 449 h 1442"/>
                <a:gd name="T36" fmla="*/ 524 w 1367"/>
                <a:gd name="T37" fmla="*/ 743 h 1442"/>
                <a:gd name="T38" fmla="*/ 485 w 1367"/>
                <a:gd name="T39" fmla="*/ 713 h 1442"/>
                <a:gd name="T40" fmla="*/ 420 w 1367"/>
                <a:gd name="T41" fmla="*/ 638 h 1442"/>
                <a:gd name="T42" fmla="*/ 381 w 1367"/>
                <a:gd name="T43" fmla="*/ 609 h 1442"/>
                <a:gd name="T44" fmla="*/ 494 w 1367"/>
                <a:gd name="T45" fmla="*/ 390 h 1442"/>
                <a:gd name="T46" fmla="*/ 523 w 1367"/>
                <a:gd name="T47" fmla="*/ 419 h 1442"/>
                <a:gd name="T48" fmla="*/ 599 w 1367"/>
                <a:gd name="T49" fmla="*/ 496 h 1442"/>
                <a:gd name="T50" fmla="*/ 627 w 1367"/>
                <a:gd name="T51" fmla="*/ 523 h 1442"/>
                <a:gd name="T52" fmla="*/ 705 w 1367"/>
                <a:gd name="T53" fmla="*/ 602 h 1442"/>
                <a:gd name="T54" fmla="*/ 733 w 1367"/>
                <a:gd name="T55" fmla="*/ 629 h 1442"/>
                <a:gd name="T56" fmla="*/ 705 w 1367"/>
                <a:gd name="T57" fmla="*/ 934 h 1442"/>
                <a:gd name="T58" fmla="*/ 627 w 1367"/>
                <a:gd name="T59" fmla="*/ 856 h 1442"/>
                <a:gd name="T60" fmla="*/ 735 w 1367"/>
                <a:gd name="T61" fmla="*/ 775 h 1442"/>
                <a:gd name="T62" fmla="*/ 822 w 1367"/>
                <a:gd name="T63" fmla="*/ 760 h 1442"/>
                <a:gd name="T64" fmla="*/ 738 w 1367"/>
                <a:gd name="T65" fmla="*/ 702 h 1442"/>
                <a:gd name="T66" fmla="*/ 774 w 1367"/>
                <a:gd name="T67" fmla="*/ 683 h 1442"/>
                <a:gd name="T68" fmla="*/ 859 w 1367"/>
                <a:gd name="T69" fmla="*/ 813 h 1442"/>
                <a:gd name="T70" fmla="*/ 705 w 1367"/>
                <a:gd name="T71" fmla="*/ 795 h 1442"/>
                <a:gd name="T72" fmla="*/ 739 w 1367"/>
                <a:gd name="T73" fmla="*/ 882 h 1442"/>
                <a:gd name="T74" fmla="*/ 1220 w 1367"/>
                <a:gd name="T75" fmla="*/ 1079 h 1442"/>
                <a:gd name="T76" fmla="*/ 1088 w 1367"/>
                <a:gd name="T77" fmla="*/ 957 h 1442"/>
                <a:gd name="T78" fmla="*/ 991 w 1367"/>
                <a:gd name="T79" fmla="*/ 1173 h 1442"/>
                <a:gd name="T80" fmla="*/ 1063 w 1367"/>
                <a:gd name="T81" fmla="*/ 1067 h 1442"/>
                <a:gd name="T82" fmla="*/ 1158 w 1367"/>
                <a:gd name="T83" fmla="*/ 1137 h 1442"/>
                <a:gd name="T84" fmla="*/ 1044 w 1367"/>
                <a:gd name="T85" fmla="*/ 1249 h 1442"/>
                <a:gd name="T86" fmla="*/ 913 w 1367"/>
                <a:gd name="T87" fmla="*/ 1084 h 1442"/>
                <a:gd name="T88" fmla="*/ 1200 w 1367"/>
                <a:gd name="T89" fmla="*/ 965 h 1442"/>
                <a:gd name="T90" fmla="*/ 1238 w 1367"/>
                <a:gd name="T91" fmla="*/ 1072 h 1442"/>
                <a:gd name="T92" fmla="*/ 1266 w 1367"/>
                <a:gd name="T93" fmla="*/ 1211 h 1442"/>
                <a:gd name="T94" fmla="*/ 1102 w 1367"/>
                <a:gd name="T95" fmla="*/ 1332 h 1442"/>
                <a:gd name="T96" fmla="*/ 1183 w 1367"/>
                <a:gd name="T97" fmla="*/ 1188 h 1442"/>
                <a:gd name="T98" fmla="*/ 1244 w 1367"/>
                <a:gd name="T99" fmla="*/ 1175 h 1442"/>
                <a:gd name="T100" fmla="*/ 1363 w 1367"/>
                <a:gd name="T101" fmla="*/ 1099 h 1442"/>
                <a:gd name="T102" fmla="*/ 1327 w 1367"/>
                <a:gd name="T103" fmla="*/ 1198 h 1442"/>
                <a:gd name="T104" fmla="*/ 1201 w 1367"/>
                <a:gd name="T105" fmla="*/ 1392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7" h="1442">
                  <a:moveTo>
                    <a:pt x="33" y="252"/>
                  </a:moveTo>
                  <a:cubicBezTo>
                    <a:pt x="32" y="253"/>
                    <a:pt x="31" y="254"/>
                    <a:pt x="29" y="254"/>
                  </a:cubicBezTo>
                  <a:cubicBezTo>
                    <a:pt x="28" y="254"/>
                    <a:pt x="27" y="254"/>
                    <a:pt x="25" y="253"/>
                  </a:cubicBezTo>
                  <a:cubicBezTo>
                    <a:pt x="24" y="252"/>
                    <a:pt x="22" y="251"/>
                    <a:pt x="20" y="249"/>
                  </a:cubicBezTo>
                  <a:cubicBezTo>
                    <a:pt x="17" y="248"/>
                    <a:pt x="15" y="246"/>
                    <a:pt x="12" y="243"/>
                  </a:cubicBezTo>
                  <a:cubicBezTo>
                    <a:pt x="9" y="240"/>
                    <a:pt x="7" y="237"/>
                    <a:pt x="5" y="235"/>
                  </a:cubicBezTo>
                  <a:cubicBezTo>
                    <a:pt x="3" y="233"/>
                    <a:pt x="2" y="231"/>
                    <a:pt x="1" y="229"/>
                  </a:cubicBezTo>
                  <a:cubicBezTo>
                    <a:pt x="1" y="227"/>
                    <a:pt x="0" y="226"/>
                    <a:pt x="0" y="225"/>
                  </a:cubicBezTo>
                  <a:cubicBezTo>
                    <a:pt x="1" y="224"/>
                    <a:pt x="1" y="223"/>
                    <a:pt x="2" y="222"/>
                  </a:cubicBezTo>
                  <a:lnTo>
                    <a:pt x="222" y="2"/>
                  </a:lnTo>
                  <a:cubicBezTo>
                    <a:pt x="223" y="1"/>
                    <a:pt x="224" y="1"/>
                    <a:pt x="225" y="1"/>
                  </a:cubicBezTo>
                  <a:cubicBezTo>
                    <a:pt x="226" y="0"/>
                    <a:pt x="228" y="1"/>
                    <a:pt x="229" y="1"/>
                  </a:cubicBezTo>
                  <a:cubicBezTo>
                    <a:pt x="231" y="2"/>
                    <a:pt x="233" y="4"/>
                    <a:pt x="235" y="5"/>
                  </a:cubicBezTo>
                  <a:cubicBezTo>
                    <a:pt x="237" y="7"/>
                    <a:pt x="240" y="9"/>
                    <a:pt x="243" y="12"/>
                  </a:cubicBezTo>
                  <a:cubicBezTo>
                    <a:pt x="246" y="15"/>
                    <a:pt x="248" y="17"/>
                    <a:pt x="250" y="20"/>
                  </a:cubicBezTo>
                  <a:cubicBezTo>
                    <a:pt x="251" y="22"/>
                    <a:pt x="252" y="24"/>
                    <a:pt x="253" y="25"/>
                  </a:cubicBezTo>
                  <a:cubicBezTo>
                    <a:pt x="254" y="27"/>
                    <a:pt x="254" y="28"/>
                    <a:pt x="254" y="29"/>
                  </a:cubicBezTo>
                  <a:cubicBezTo>
                    <a:pt x="254" y="31"/>
                    <a:pt x="253" y="32"/>
                    <a:pt x="252" y="33"/>
                  </a:cubicBezTo>
                  <a:lnTo>
                    <a:pt x="33" y="252"/>
                  </a:lnTo>
                  <a:close/>
                  <a:moveTo>
                    <a:pt x="311" y="203"/>
                  </a:moveTo>
                  <a:cubicBezTo>
                    <a:pt x="309" y="205"/>
                    <a:pt x="307" y="206"/>
                    <a:pt x="306" y="208"/>
                  </a:cubicBezTo>
                  <a:cubicBezTo>
                    <a:pt x="304" y="209"/>
                    <a:pt x="303" y="210"/>
                    <a:pt x="301" y="211"/>
                  </a:cubicBezTo>
                  <a:cubicBezTo>
                    <a:pt x="299" y="212"/>
                    <a:pt x="298" y="212"/>
                    <a:pt x="297" y="212"/>
                  </a:cubicBezTo>
                  <a:cubicBezTo>
                    <a:pt x="295" y="212"/>
                    <a:pt x="293" y="212"/>
                    <a:pt x="292" y="212"/>
                  </a:cubicBezTo>
                  <a:lnTo>
                    <a:pt x="259" y="204"/>
                  </a:lnTo>
                  <a:lnTo>
                    <a:pt x="122" y="341"/>
                  </a:lnTo>
                  <a:cubicBezTo>
                    <a:pt x="121" y="342"/>
                    <a:pt x="120" y="343"/>
                    <a:pt x="118" y="343"/>
                  </a:cubicBezTo>
                  <a:cubicBezTo>
                    <a:pt x="117" y="343"/>
                    <a:pt x="116" y="343"/>
                    <a:pt x="115" y="342"/>
                  </a:cubicBezTo>
                  <a:cubicBezTo>
                    <a:pt x="113" y="342"/>
                    <a:pt x="111" y="341"/>
                    <a:pt x="109" y="339"/>
                  </a:cubicBezTo>
                  <a:cubicBezTo>
                    <a:pt x="107" y="337"/>
                    <a:pt x="104" y="335"/>
                    <a:pt x="102" y="332"/>
                  </a:cubicBezTo>
                  <a:cubicBezTo>
                    <a:pt x="99" y="329"/>
                    <a:pt x="96" y="327"/>
                    <a:pt x="95" y="325"/>
                  </a:cubicBezTo>
                  <a:cubicBezTo>
                    <a:pt x="93" y="323"/>
                    <a:pt x="92" y="321"/>
                    <a:pt x="91" y="319"/>
                  </a:cubicBezTo>
                  <a:cubicBezTo>
                    <a:pt x="91" y="318"/>
                    <a:pt x="91" y="316"/>
                    <a:pt x="91" y="315"/>
                  </a:cubicBezTo>
                  <a:cubicBezTo>
                    <a:pt x="91" y="314"/>
                    <a:pt x="91" y="313"/>
                    <a:pt x="92" y="312"/>
                  </a:cubicBezTo>
                  <a:lnTo>
                    <a:pt x="211" y="193"/>
                  </a:lnTo>
                  <a:lnTo>
                    <a:pt x="180" y="186"/>
                  </a:lnTo>
                  <a:cubicBezTo>
                    <a:pt x="177" y="186"/>
                    <a:pt x="175" y="184"/>
                    <a:pt x="176" y="181"/>
                  </a:cubicBezTo>
                  <a:cubicBezTo>
                    <a:pt x="176" y="179"/>
                    <a:pt x="179" y="175"/>
                    <a:pt x="184" y="170"/>
                  </a:cubicBezTo>
                  <a:cubicBezTo>
                    <a:pt x="186" y="168"/>
                    <a:pt x="188" y="166"/>
                    <a:pt x="190" y="164"/>
                  </a:cubicBezTo>
                  <a:cubicBezTo>
                    <a:pt x="192" y="163"/>
                    <a:pt x="193" y="162"/>
                    <a:pt x="195" y="161"/>
                  </a:cubicBezTo>
                  <a:cubicBezTo>
                    <a:pt x="196" y="161"/>
                    <a:pt x="198" y="160"/>
                    <a:pt x="199" y="160"/>
                  </a:cubicBezTo>
                  <a:cubicBezTo>
                    <a:pt x="201" y="160"/>
                    <a:pt x="202" y="160"/>
                    <a:pt x="204" y="160"/>
                  </a:cubicBezTo>
                  <a:lnTo>
                    <a:pt x="237" y="168"/>
                  </a:lnTo>
                  <a:lnTo>
                    <a:pt x="329" y="76"/>
                  </a:lnTo>
                  <a:cubicBezTo>
                    <a:pt x="330" y="75"/>
                    <a:pt x="331" y="75"/>
                    <a:pt x="332" y="74"/>
                  </a:cubicBezTo>
                  <a:cubicBezTo>
                    <a:pt x="333" y="74"/>
                    <a:pt x="334" y="74"/>
                    <a:pt x="336" y="75"/>
                  </a:cubicBezTo>
                  <a:cubicBezTo>
                    <a:pt x="337" y="75"/>
                    <a:pt x="339" y="77"/>
                    <a:pt x="341" y="78"/>
                  </a:cubicBezTo>
                  <a:cubicBezTo>
                    <a:pt x="343" y="80"/>
                    <a:pt x="346" y="82"/>
                    <a:pt x="349" y="85"/>
                  </a:cubicBezTo>
                  <a:cubicBezTo>
                    <a:pt x="352" y="88"/>
                    <a:pt x="354" y="90"/>
                    <a:pt x="356" y="93"/>
                  </a:cubicBezTo>
                  <a:cubicBezTo>
                    <a:pt x="357" y="95"/>
                    <a:pt x="358" y="96"/>
                    <a:pt x="359" y="98"/>
                  </a:cubicBezTo>
                  <a:cubicBezTo>
                    <a:pt x="360" y="100"/>
                    <a:pt x="360" y="101"/>
                    <a:pt x="360" y="102"/>
                  </a:cubicBezTo>
                  <a:cubicBezTo>
                    <a:pt x="359" y="103"/>
                    <a:pt x="359" y="104"/>
                    <a:pt x="358" y="105"/>
                  </a:cubicBezTo>
                  <a:lnTo>
                    <a:pt x="284" y="179"/>
                  </a:lnTo>
                  <a:lnTo>
                    <a:pt x="316" y="186"/>
                  </a:lnTo>
                  <a:cubicBezTo>
                    <a:pt x="319" y="186"/>
                    <a:pt x="320" y="188"/>
                    <a:pt x="320" y="191"/>
                  </a:cubicBezTo>
                  <a:cubicBezTo>
                    <a:pt x="319" y="194"/>
                    <a:pt x="316" y="197"/>
                    <a:pt x="311" y="203"/>
                  </a:cubicBezTo>
                  <a:close/>
                  <a:moveTo>
                    <a:pt x="299" y="520"/>
                  </a:moveTo>
                  <a:cubicBezTo>
                    <a:pt x="298" y="521"/>
                    <a:pt x="296" y="522"/>
                    <a:pt x="295" y="521"/>
                  </a:cubicBezTo>
                  <a:cubicBezTo>
                    <a:pt x="293" y="521"/>
                    <a:pt x="291" y="520"/>
                    <a:pt x="289" y="519"/>
                  </a:cubicBezTo>
                  <a:cubicBezTo>
                    <a:pt x="287" y="518"/>
                    <a:pt x="285" y="516"/>
                    <a:pt x="282" y="512"/>
                  </a:cubicBezTo>
                  <a:cubicBezTo>
                    <a:pt x="279" y="509"/>
                    <a:pt x="276" y="507"/>
                    <a:pt x="275" y="504"/>
                  </a:cubicBezTo>
                  <a:cubicBezTo>
                    <a:pt x="273" y="502"/>
                    <a:pt x="272" y="500"/>
                    <a:pt x="272" y="499"/>
                  </a:cubicBezTo>
                  <a:cubicBezTo>
                    <a:pt x="272" y="497"/>
                    <a:pt x="273" y="496"/>
                    <a:pt x="274" y="495"/>
                  </a:cubicBezTo>
                  <a:lnTo>
                    <a:pt x="290" y="479"/>
                  </a:lnTo>
                  <a:cubicBezTo>
                    <a:pt x="276" y="479"/>
                    <a:pt x="262" y="477"/>
                    <a:pt x="250" y="473"/>
                  </a:cubicBezTo>
                  <a:cubicBezTo>
                    <a:pt x="237" y="468"/>
                    <a:pt x="226" y="461"/>
                    <a:pt x="216" y="452"/>
                  </a:cubicBezTo>
                  <a:cubicBezTo>
                    <a:pt x="208" y="443"/>
                    <a:pt x="201" y="435"/>
                    <a:pt x="197" y="426"/>
                  </a:cubicBezTo>
                  <a:cubicBezTo>
                    <a:pt x="192" y="417"/>
                    <a:pt x="190" y="408"/>
                    <a:pt x="189" y="399"/>
                  </a:cubicBezTo>
                  <a:cubicBezTo>
                    <a:pt x="188" y="390"/>
                    <a:pt x="190" y="381"/>
                    <a:pt x="193" y="373"/>
                  </a:cubicBezTo>
                  <a:cubicBezTo>
                    <a:pt x="196" y="364"/>
                    <a:pt x="202" y="356"/>
                    <a:pt x="210" y="348"/>
                  </a:cubicBezTo>
                  <a:cubicBezTo>
                    <a:pt x="219" y="339"/>
                    <a:pt x="228" y="333"/>
                    <a:pt x="238" y="330"/>
                  </a:cubicBezTo>
                  <a:cubicBezTo>
                    <a:pt x="249" y="327"/>
                    <a:pt x="259" y="327"/>
                    <a:pt x="271" y="330"/>
                  </a:cubicBezTo>
                  <a:cubicBezTo>
                    <a:pt x="282" y="332"/>
                    <a:pt x="293" y="337"/>
                    <a:pt x="306" y="345"/>
                  </a:cubicBezTo>
                  <a:cubicBezTo>
                    <a:pt x="318" y="353"/>
                    <a:pt x="330" y="363"/>
                    <a:pt x="342" y="375"/>
                  </a:cubicBezTo>
                  <a:lnTo>
                    <a:pt x="364" y="397"/>
                  </a:lnTo>
                  <a:lnTo>
                    <a:pt x="376" y="385"/>
                  </a:lnTo>
                  <a:cubicBezTo>
                    <a:pt x="383" y="378"/>
                    <a:pt x="387" y="372"/>
                    <a:pt x="391" y="366"/>
                  </a:cubicBezTo>
                  <a:cubicBezTo>
                    <a:pt x="394" y="360"/>
                    <a:pt x="396" y="354"/>
                    <a:pt x="396" y="348"/>
                  </a:cubicBezTo>
                  <a:cubicBezTo>
                    <a:pt x="397" y="342"/>
                    <a:pt x="395" y="336"/>
                    <a:pt x="392" y="330"/>
                  </a:cubicBezTo>
                  <a:cubicBezTo>
                    <a:pt x="389" y="324"/>
                    <a:pt x="384" y="317"/>
                    <a:pt x="378" y="311"/>
                  </a:cubicBezTo>
                  <a:cubicBezTo>
                    <a:pt x="370" y="303"/>
                    <a:pt x="363" y="298"/>
                    <a:pt x="356" y="294"/>
                  </a:cubicBezTo>
                  <a:cubicBezTo>
                    <a:pt x="348" y="290"/>
                    <a:pt x="341" y="287"/>
                    <a:pt x="335" y="284"/>
                  </a:cubicBezTo>
                  <a:cubicBezTo>
                    <a:pt x="329" y="282"/>
                    <a:pt x="323" y="281"/>
                    <a:pt x="319" y="279"/>
                  </a:cubicBezTo>
                  <a:cubicBezTo>
                    <a:pt x="314" y="278"/>
                    <a:pt x="311" y="277"/>
                    <a:pt x="309" y="275"/>
                  </a:cubicBezTo>
                  <a:cubicBezTo>
                    <a:pt x="309" y="275"/>
                    <a:pt x="308" y="273"/>
                    <a:pt x="308" y="272"/>
                  </a:cubicBezTo>
                  <a:cubicBezTo>
                    <a:pt x="307" y="271"/>
                    <a:pt x="308" y="270"/>
                    <a:pt x="308" y="268"/>
                  </a:cubicBezTo>
                  <a:cubicBezTo>
                    <a:pt x="308" y="267"/>
                    <a:pt x="309" y="265"/>
                    <a:pt x="310" y="264"/>
                  </a:cubicBezTo>
                  <a:cubicBezTo>
                    <a:pt x="312" y="262"/>
                    <a:pt x="313" y="260"/>
                    <a:pt x="315" y="258"/>
                  </a:cubicBezTo>
                  <a:cubicBezTo>
                    <a:pt x="318" y="255"/>
                    <a:pt x="320" y="253"/>
                    <a:pt x="323" y="252"/>
                  </a:cubicBezTo>
                  <a:cubicBezTo>
                    <a:pt x="325" y="251"/>
                    <a:pt x="327" y="250"/>
                    <a:pt x="330" y="250"/>
                  </a:cubicBezTo>
                  <a:cubicBezTo>
                    <a:pt x="334" y="250"/>
                    <a:pt x="338" y="251"/>
                    <a:pt x="344" y="253"/>
                  </a:cubicBezTo>
                  <a:cubicBezTo>
                    <a:pt x="350" y="255"/>
                    <a:pt x="356" y="257"/>
                    <a:pt x="363" y="261"/>
                  </a:cubicBezTo>
                  <a:cubicBezTo>
                    <a:pt x="370" y="264"/>
                    <a:pt x="377" y="268"/>
                    <a:pt x="384" y="273"/>
                  </a:cubicBezTo>
                  <a:cubicBezTo>
                    <a:pt x="391" y="278"/>
                    <a:pt x="398" y="283"/>
                    <a:pt x="404" y="290"/>
                  </a:cubicBezTo>
                  <a:cubicBezTo>
                    <a:pt x="415" y="301"/>
                    <a:pt x="424" y="312"/>
                    <a:pt x="429" y="323"/>
                  </a:cubicBezTo>
                  <a:cubicBezTo>
                    <a:pt x="435" y="333"/>
                    <a:pt x="437" y="344"/>
                    <a:pt x="437" y="354"/>
                  </a:cubicBezTo>
                  <a:cubicBezTo>
                    <a:pt x="437" y="363"/>
                    <a:pt x="435" y="373"/>
                    <a:pt x="429" y="383"/>
                  </a:cubicBezTo>
                  <a:cubicBezTo>
                    <a:pt x="424" y="393"/>
                    <a:pt x="417" y="402"/>
                    <a:pt x="407" y="412"/>
                  </a:cubicBezTo>
                  <a:lnTo>
                    <a:pt x="299" y="520"/>
                  </a:lnTo>
                  <a:close/>
                  <a:moveTo>
                    <a:pt x="343" y="418"/>
                  </a:moveTo>
                  <a:lnTo>
                    <a:pt x="318" y="393"/>
                  </a:lnTo>
                  <a:cubicBezTo>
                    <a:pt x="310" y="385"/>
                    <a:pt x="303" y="379"/>
                    <a:pt x="295" y="374"/>
                  </a:cubicBezTo>
                  <a:cubicBezTo>
                    <a:pt x="288" y="370"/>
                    <a:pt x="281" y="367"/>
                    <a:pt x="275" y="366"/>
                  </a:cubicBezTo>
                  <a:cubicBezTo>
                    <a:pt x="268" y="364"/>
                    <a:pt x="262" y="365"/>
                    <a:pt x="256" y="367"/>
                  </a:cubicBezTo>
                  <a:cubicBezTo>
                    <a:pt x="251" y="368"/>
                    <a:pt x="246" y="372"/>
                    <a:pt x="241" y="377"/>
                  </a:cubicBezTo>
                  <a:cubicBezTo>
                    <a:pt x="233" y="385"/>
                    <a:pt x="229" y="394"/>
                    <a:pt x="229" y="404"/>
                  </a:cubicBezTo>
                  <a:cubicBezTo>
                    <a:pt x="229" y="414"/>
                    <a:pt x="234" y="424"/>
                    <a:pt x="244" y="434"/>
                  </a:cubicBezTo>
                  <a:cubicBezTo>
                    <a:pt x="251" y="441"/>
                    <a:pt x="260" y="446"/>
                    <a:pt x="271" y="449"/>
                  </a:cubicBezTo>
                  <a:cubicBezTo>
                    <a:pt x="281" y="452"/>
                    <a:pt x="294" y="453"/>
                    <a:pt x="309" y="452"/>
                  </a:cubicBezTo>
                  <a:lnTo>
                    <a:pt x="343" y="418"/>
                  </a:lnTo>
                  <a:close/>
                  <a:moveTo>
                    <a:pt x="731" y="632"/>
                  </a:moveTo>
                  <a:cubicBezTo>
                    <a:pt x="731" y="633"/>
                    <a:pt x="730" y="634"/>
                    <a:pt x="728" y="635"/>
                  </a:cubicBezTo>
                  <a:cubicBezTo>
                    <a:pt x="727" y="636"/>
                    <a:pt x="725" y="637"/>
                    <a:pt x="722" y="638"/>
                  </a:cubicBezTo>
                  <a:lnTo>
                    <a:pt x="524" y="743"/>
                  </a:lnTo>
                  <a:cubicBezTo>
                    <a:pt x="523" y="743"/>
                    <a:pt x="521" y="744"/>
                    <a:pt x="520" y="744"/>
                  </a:cubicBezTo>
                  <a:cubicBezTo>
                    <a:pt x="518" y="744"/>
                    <a:pt x="516" y="744"/>
                    <a:pt x="514" y="743"/>
                  </a:cubicBezTo>
                  <a:cubicBezTo>
                    <a:pt x="513" y="742"/>
                    <a:pt x="510" y="740"/>
                    <a:pt x="508" y="738"/>
                  </a:cubicBezTo>
                  <a:cubicBezTo>
                    <a:pt x="505" y="736"/>
                    <a:pt x="502" y="733"/>
                    <a:pt x="499" y="730"/>
                  </a:cubicBezTo>
                  <a:cubicBezTo>
                    <a:pt x="495" y="726"/>
                    <a:pt x="492" y="723"/>
                    <a:pt x="490" y="720"/>
                  </a:cubicBezTo>
                  <a:cubicBezTo>
                    <a:pt x="488" y="717"/>
                    <a:pt x="486" y="715"/>
                    <a:pt x="485" y="713"/>
                  </a:cubicBezTo>
                  <a:cubicBezTo>
                    <a:pt x="484" y="711"/>
                    <a:pt x="484" y="709"/>
                    <a:pt x="484" y="708"/>
                  </a:cubicBezTo>
                  <a:cubicBezTo>
                    <a:pt x="484" y="706"/>
                    <a:pt x="484" y="705"/>
                    <a:pt x="485" y="703"/>
                  </a:cubicBezTo>
                  <a:lnTo>
                    <a:pt x="567" y="554"/>
                  </a:lnTo>
                  <a:lnTo>
                    <a:pt x="568" y="552"/>
                  </a:lnTo>
                  <a:lnTo>
                    <a:pt x="567" y="554"/>
                  </a:lnTo>
                  <a:lnTo>
                    <a:pt x="420" y="638"/>
                  </a:lnTo>
                  <a:cubicBezTo>
                    <a:pt x="419" y="639"/>
                    <a:pt x="417" y="640"/>
                    <a:pt x="415" y="640"/>
                  </a:cubicBezTo>
                  <a:cubicBezTo>
                    <a:pt x="414" y="640"/>
                    <a:pt x="412" y="639"/>
                    <a:pt x="410" y="638"/>
                  </a:cubicBezTo>
                  <a:cubicBezTo>
                    <a:pt x="408" y="637"/>
                    <a:pt x="406" y="636"/>
                    <a:pt x="403" y="633"/>
                  </a:cubicBezTo>
                  <a:cubicBezTo>
                    <a:pt x="400" y="631"/>
                    <a:pt x="397" y="628"/>
                    <a:pt x="394" y="625"/>
                  </a:cubicBezTo>
                  <a:cubicBezTo>
                    <a:pt x="390" y="621"/>
                    <a:pt x="387" y="618"/>
                    <a:pt x="385" y="615"/>
                  </a:cubicBezTo>
                  <a:cubicBezTo>
                    <a:pt x="383" y="613"/>
                    <a:pt x="382" y="611"/>
                    <a:pt x="381" y="609"/>
                  </a:cubicBezTo>
                  <a:cubicBezTo>
                    <a:pt x="380" y="607"/>
                    <a:pt x="379" y="605"/>
                    <a:pt x="379" y="603"/>
                  </a:cubicBezTo>
                  <a:cubicBezTo>
                    <a:pt x="379" y="602"/>
                    <a:pt x="380" y="600"/>
                    <a:pt x="381" y="599"/>
                  </a:cubicBezTo>
                  <a:lnTo>
                    <a:pt x="485" y="401"/>
                  </a:lnTo>
                  <a:cubicBezTo>
                    <a:pt x="487" y="399"/>
                    <a:pt x="488" y="397"/>
                    <a:pt x="489" y="396"/>
                  </a:cubicBezTo>
                  <a:cubicBezTo>
                    <a:pt x="490" y="394"/>
                    <a:pt x="490" y="393"/>
                    <a:pt x="491" y="392"/>
                  </a:cubicBezTo>
                  <a:cubicBezTo>
                    <a:pt x="492" y="391"/>
                    <a:pt x="493" y="390"/>
                    <a:pt x="494" y="390"/>
                  </a:cubicBezTo>
                  <a:cubicBezTo>
                    <a:pt x="496" y="390"/>
                    <a:pt x="497" y="390"/>
                    <a:pt x="498" y="391"/>
                  </a:cubicBezTo>
                  <a:cubicBezTo>
                    <a:pt x="500" y="392"/>
                    <a:pt x="502" y="393"/>
                    <a:pt x="504" y="395"/>
                  </a:cubicBezTo>
                  <a:cubicBezTo>
                    <a:pt x="506" y="397"/>
                    <a:pt x="508" y="399"/>
                    <a:pt x="511" y="402"/>
                  </a:cubicBezTo>
                  <a:cubicBezTo>
                    <a:pt x="514" y="405"/>
                    <a:pt x="517" y="408"/>
                    <a:pt x="519" y="410"/>
                  </a:cubicBezTo>
                  <a:cubicBezTo>
                    <a:pt x="520" y="412"/>
                    <a:pt x="522" y="414"/>
                    <a:pt x="522" y="415"/>
                  </a:cubicBezTo>
                  <a:cubicBezTo>
                    <a:pt x="523" y="417"/>
                    <a:pt x="523" y="418"/>
                    <a:pt x="523" y="419"/>
                  </a:cubicBezTo>
                  <a:cubicBezTo>
                    <a:pt x="522" y="421"/>
                    <a:pt x="522" y="422"/>
                    <a:pt x="521" y="423"/>
                  </a:cubicBezTo>
                  <a:lnTo>
                    <a:pt x="428" y="593"/>
                  </a:lnTo>
                  <a:lnTo>
                    <a:pt x="427" y="595"/>
                  </a:lnTo>
                  <a:lnTo>
                    <a:pt x="429" y="593"/>
                  </a:lnTo>
                  <a:lnTo>
                    <a:pt x="596" y="498"/>
                  </a:lnTo>
                  <a:cubicBezTo>
                    <a:pt x="597" y="497"/>
                    <a:pt x="598" y="496"/>
                    <a:pt x="599" y="496"/>
                  </a:cubicBezTo>
                  <a:cubicBezTo>
                    <a:pt x="601" y="496"/>
                    <a:pt x="602" y="496"/>
                    <a:pt x="604" y="497"/>
                  </a:cubicBezTo>
                  <a:cubicBezTo>
                    <a:pt x="605" y="497"/>
                    <a:pt x="607" y="498"/>
                    <a:pt x="609" y="500"/>
                  </a:cubicBezTo>
                  <a:cubicBezTo>
                    <a:pt x="611" y="502"/>
                    <a:pt x="613" y="504"/>
                    <a:pt x="616" y="507"/>
                  </a:cubicBezTo>
                  <a:cubicBezTo>
                    <a:pt x="619" y="510"/>
                    <a:pt x="621" y="512"/>
                    <a:pt x="623" y="514"/>
                  </a:cubicBezTo>
                  <a:cubicBezTo>
                    <a:pt x="625" y="516"/>
                    <a:pt x="626" y="518"/>
                    <a:pt x="626" y="519"/>
                  </a:cubicBezTo>
                  <a:cubicBezTo>
                    <a:pt x="627" y="521"/>
                    <a:pt x="627" y="522"/>
                    <a:pt x="627" y="523"/>
                  </a:cubicBezTo>
                  <a:cubicBezTo>
                    <a:pt x="627" y="524"/>
                    <a:pt x="626" y="526"/>
                    <a:pt x="626" y="527"/>
                  </a:cubicBezTo>
                  <a:lnTo>
                    <a:pt x="532" y="696"/>
                  </a:lnTo>
                  <a:lnTo>
                    <a:pt x="531" y="698"/>
                  </a:lnTo>
                  <a:lnTo>
                    <a:pt x="533" y="697"/>
                  </a:lnTo>
                  <a:lnTo>
                    <a:pt x="702" y="604"/>
                  </a:lnTo>
                  <a:cubicBezTo>
                    <a:pt x="703" y="603"/>
                    <a:pt x="704" y="602"/>
                    <a:pt x="705" y="602"/>
                  </a:cubicBezTo>
                  <a:cubicBezTo>
                    <a:pt x="707" y="602"/>
                    <a:pt x="708" y="602"/>
                    <a:pt x="710" y="603"/>
                  </a:cubicBezTo>
                  <a:cubicBezTo>
                    <a:pt x="711" y="603"/>
                    <a:pt x="713" y="605"/>
                    <a:pt x="715" y="606"/>
                  </a:cubicBezTo>
                  <a:cubicBezTo>
                    <a:pt x="717" y="608"/>
                    <a:pt x="720" y="611"/>
                    <a:pt x="723" y="614"/>
                  </a:cubicBezTo>
                  <a:cubicBezTo>
                    <a:pt x="726" y="616"/>
                    <a:pt x="728" y="619"/>
                    <a:pt x="730" y="621"/>
                  </a:cubicBezTo>
                  <a:cubicBezTo>
                    <a:pt x="731" y="622"/>
                    <a:pt x="732" y="624"/>
                    <a:pt x="733" y="626"/>
                  </a:cubicBezTo>
                  <a:cubicBezTo>
                    <a:pt x="733" y="627"/>
                    <a:pt x="733" y="628"/>
                    <a:pt x="733" y="629"/>
                  </a:cubicBezTo>
                  <a:cubicBezTo>
                    <a:pt x="733" y="630"/>
                    <a:pt x="733" y="631"/>
                    <a:pt x="731" y="632"/>
                  </a:cubicBezTo>
                  <a:close/>
                  <a:moveTo>
                    <a:pt x="729" y="950"/>
                  </a:moveTo>
                  <a:cubicBezTo>
                    <a:pt x="728" y="951"/>
                    <a:pt x="726" y="952"/>
                    <a:pt x="725" y="951"/>
                  </a:cubicBezTo>
                  <a:cubicBezTo>
                    <a:pt x="723" y="951"/>
                    <a:pt x="721" y="950"/>
                    <a:pt x="719" y="949"/>
                  </a:cubicBezTo>
                  <a:cubicBezTo>
                    <a:pt x="717" y="948"/>
                    <a:pt x="715" y="945"/>
                    <a:pt x="711" y="942"/>
                  </a:cubicBezTo>
                  <a:cubicBezTo>
                    <a:pt x="708" y="939"/>
                    <a:pt x="706" y="937"/>
                    <a:pt x="705" y="934"/>
                  </a:cubicBezTo>
                  <a:cubicBezTo>
                    <a:pt x="703" y="932"/>
                    <a:pt x="702" y="930"/>
                    <a:pt x="702" y="929"/>
                  </a:cubicBezTo>
                  <a:cubicBezTo>
                    <a:pt x="702" y="927"/>
                    <a:pt x="703" y="926"/>
                    <a:pt x="704" y="924"/>
                  </a:cubicBezTo>
                  <a:lnTo>
                    <a:pt x="720" y="909"/>
                  </a:lnTo>
                  <a:cubicBezTo>
                    <a:pt x="706" y="909"/>
                    <a:pt x="692" y="907"/>
                    <a:pt x="680" y="903"/>
                  </a:cubicBezTo>
                  <a:cubicBezTo>
                    <a:pt x="667" y="898"/>
                    <a:pt x="656" y="891"/>
                    <a:pt x="646" y="882"/>
                  </a:cubicBezTo>
                  <a:cubicBezTo>
                    <a:pt x="638" y="873"/>
                    <a:pt x="631" y="865"/>
                    <a:pt x="627" y="856"/>
                  </a:cubicBezTo>
                  <a:cubicBezTo>
                    <a:pt x="622" y="847"/>
                    <a:pt x="620" y="838"/>
                    <a:pt x="619" y="829"/>
                  </a:cubicBezTo>
                  <a:cubicBezTo>
                    <a:pt x="618" y="820"/>
                    <a:pt x="620" y="811"/>
                    <a:pt x="623" y="803"/>
                  </a:cubicBezTo>
                  <a:cubicBezTo>
                    <a:pt x="626" y="794"/>
                    <a:pt x="632" y="786"/>
                    <a:pt x="640" y="778"/>
                  </a:cubicBezTo>
                  <a:cubicBezTo>
                    <a:pt x="648" y="769"/>
                    <a:pt x="658" y="763"/>
                    <a:pt x="668" y="760"/>
                  </a:cubicBezTo>
                  <a:cubicBezTo>
                    <a:pt x="679" y="757"/>
                    <a:pt x="689" y="757"/>
                    <a:pt x="701" y="759"/>
                  </a:cubicBezTo>
                  <a:cubicBezTo>
                    <a:pt x="712" y="762"/>
                    <a:pt x="723" y="767"/>
                    <a:pt x="735" y="775"/>
                  </a:cubicBezTo>
                  <a:cubicBezTo>
                    <a:pt x="748" y="783"/>
                    <a:pt x="760" y="793"/>
                    <a:pt x="772" y="805"/>
                  </a:cubicBezTo>
                  <a:lnTo>
                    <a:pt x="794" y="827"/>
                  </a:lnTo>
                  <a:lnTo>
                    <a:pt x="806" y="814"/>
                  </a:lnTo>
                  <a:cubicBezTo>
                    <a:pt x="813" y="808"/>
                    <a:pt x="817" y="802"/>
                    <a:pt x="821" y="796"/>
                  </a:cubicBezTo>
                  <a:cubicBezTo>
                    <a:pt x="824" y="790"/>
                    <a:pt x="826" y="784"/>
                    <a:pt x="826" y="778"/>
                  </a:cubicBezTo>
                  <a:cubicBezTo>
                    <a:pt x="826" y="772"/>
                    <a:pt x="825" y="766"/>
                    <a:pt x="822" y="760"/>
                  </a:cubicBezTo>
                  <a:cubicBezTo>
                    <a:pt x="819" y="754"/>
                    <a:pt x="814" y="747"/>
                    <a:pt x="807" y="741"/>
                  </a:cubicBezTo>
                  <a:cubicBezTo>
                    <a:pt x="800" y="733"/>
                    <a:pt x="793" y="728"/>
                    <a:pt x="786" y="724"/>
                  </a:cubicBezTo>
                  <a:cubicBezTo>
                    <a:pt x="778" y="720"/>
                    <a:pt x="771" y="717"/>
                    <a:pt x="765" y="714"/>
                  </a:cubicBezTo>
                  <a:cubicBezTo>
                    <a:pt x="759" y="712"/>
                    <a:pt x="753" y="710"/>
                    <a:pt x="748" y="709"/>
                  </a:cubicBezTo>
                  <a:cubicBezTo>
                    <a:pt x="744" y="708"/>
                    <a:pt x="741" y="707"/>
                    <a:pt x="739" y="705"/>
                  </a:cubicBezTo>
                  <a:cubicBezTo>
                    <a:pt x="738" y="704"/>
                    <a:pt x="738" y="703"/>
                    <a:pt x="738" y="702"/>
                  </a:cubicBezTo>
                  <a:cubicBezTo>
                    <a:pt x="737" y="701"/>
                    <a:pt x="738" y="700"/>
                    <a:pt x="738" y="698"/>
                  </a:cubicBezTo>
                  <a:cubicBezTo>
                    <a:pt x="738" y="697"/>
                    <a:pt x="739" y="695"/>
                    <a:pt x="740" y="693"/>
                  </a:cubicBezTo>
                  <a:cubicBezTo>
                    <a:pt x="742" y="692"/>
                    <a:pt x="743" y="690"/>
                    <a:pt x="745" y="688"/>
                  </a:cubicBezTo>
                  <a:cubicBezTo>
                    <a:pt x="748" y="685"/>
                    <a:pt x="750" y="683"/>
                    <a:pt x="753" y="682"/>
                  </a:cubicBezTo>
                  <a:cubicBezTo>
                    <a:pt x="755" y="681"/>
                    <a:pt x="757" y="680"/>
                    <a:pt x="760" y="680"/>
                  </a:cubicBezTo>
                  <a:cubicBezTo>
                    <a:pt x="763" y="680"/>
                    <a:pt x="768" y="681"/>
                    <a:pt x="774" y="683"/>
                  </a:cubicBezTo>
                  <a:cubicBezTo>
                    <a:pt x="780" y="685"/>
                    <a:pt x="786" y="687"/>
                    <a:pt x="793" y="691"/>
                  </a:cubicBezTo>
                  <a:cubicBezTo>
                    <a:pt x="800" y="694"/>
                    <a:pt x="807" y="698"/>
                    <a:pt x="814" y="703"/>
                  </a:cubicBezTo>
                  <a:cubicBezTo>
                    <a:pt x="821" y="708"/>
                    <a:pt x="828" y="713"/>
                    <a:pt x="834" y="720"/>
                  </a:cubicBezTo>
                  <a:cubicBezTo>
                    <a:pt x="845" y="731"/>
                    <a:pt x="854" y="742"/>
                    <a:pt x="859" y="753"/>
                  </a:cubicBezTo>
                  <a:cubicBezTo>
                    <a:pt x="865" y="763"/>
                    <a:pt x="867" y="773"/>
                    <a:pt x="867" y="783"/>
                  </a:cubicBezTo>
                  <a:cubicBezTo>
                    <a:pt x="867" y="793"/>
                    <a:pt x="864" y="803"/>
                    <a:pt x="859" y="813"/>
                  </a:cubicBezTo>
                  <a:cubicBezTo>
                    <a:pt x="854" y="823"/>
                    <a:pt x="847" y="832"/>
                    <a:pt x="837" y="842"/>
                  </a:cubicBezTo>
                  <a:lnTo>
                    <a:pt x="729" y="950"/>
                  </a:lnTo>
                  <a:close/>
                  <a:moveTo>
                    <a:pt x="773" y="848"/>
                  </a:moveTo>
                  <a:lnTo>
                    <a:pt x="748" y="823"/>
                  </a:lnTo>
                  <a:cubicBezTo>
                    <a:pt x="740" y="815"/>
                    <a:pt x="732" y="809"/>
                    <a:pt x="725" y="804"/>
                  </a:cubicBezTo>
                  <a:cubicBezTo>
                    <a:pt x="718" y="800"/>
                    <a:pt x="711" y="797"/>
                    <a:pt x="705" y="795"/>
                  </a:cubicBezTo>
                  <a:cubicBezTo>
                    <a:pt x="698" y="794"/>
                    <a:pt x="692" y="795"/>
                    <a:pt x="686" y="796"/>
                  </a:cubicBezTo>
                  <a:cubicBezTo>
                    <a:pt x="681" y="798"/>
                    <a:pt x="676" y="802"/>
                    <a:pt x="671" y="807"/>
                  </a:cubicBezTo>
                  <a:cubicBezTo>
                    <a:pt x="663" y="815"/>
                    <a:pt x="659" y="824"/>
                    <a:pt x="659" y="834"/>
                  </a:cubicBezTo>
                  <a:cubicBezTo>
                    <a:pt x="659" y="844"/>
                    <a:pt x="664" y="854"/>
                    <a:pt x="674" y="863"/>
                  </a:cubicBezTo>
                  <a:cubicBezTo>
                    <a:pt x="681" y="871"/>
                    <a:pt x="690" y="876"/>
                    <a:pt x="701" y="879"/>
                  </a:cubicBezTo>
                  <a:cubicBezTo>
                    <a:pt x="711" y="882"/>
                    <a:pt x="724" y="882"/>
                    <a:pt x="739" y="882"/>
                  </a:cubicBezTo>
                  <a:lnTo>
                    <a:pt x="773" y="848"/>
                  </a:lnTo>
                  <a:close/>
                  <a:moveTo>
                    <a:pt x="1238" y="1072"/>
                  </a:moveTo>
                  <a:cubicBezTo>
                    <a:pt x="1236" y="1074"/>
                    <a:pt x="1234" y="1076"/>
                    <a:pt x="1232" y="1077"/>
                  </a:cubicBezTo>
                  <a:cubicBezTo>
                    <a:pt x="1230" y="1079"/>
                    <a:pt x="1228" y="1080"/>
                    <a:pt x="1227" y="1080"/>
                  </a:cubicBezTo>
                  <a:cubicBezTo>
                    <a:pt x="1225" y="1081"/>
                    <a:pt x="1224" y="1081"/>
                    <a:pt x="1223" y="1081"/>
                  </a:cubicBezTo>
                  <a:cubicBezTo>
                    <a:pt x="1221" y="1081"/>
                    <a:pt x="1220" y="1080"/>
                    <a:pt x="1220" y="1079"/>
                  </a:cubicBezTo>
                  <a:cubicBezTo>
                    <a:pt x="1218" y="1078"/>
                    <a:pt x="1217" y="1075"/>
                    <a:pt x="1216" y="1069"/>
                  </a:cubicBezTo>
                  <a:cubicBezTo>
                    <a:pt x="1215" y="1063"/>
                    <a:pt x="1213" y="1057"/>
                    <a:pt x="1210" y="1048"/>
                  </a:cubicBezTo>
                  <a:cubicBezTo>
                    <a:pt x="1207" y="1040"/>
                    <a:pt x="1203" y="1031"/>
                    <a:pt x="1198" y="1021"/>
                  </a:cubicBezTo>
                  <a:cubicBezTo>
                    <a:pt x="1192" y="1011"/>
                    <a:pt x="1184" y="1001"/>
                    <a:pt x="1173" y="990"/>
                  </a:cubicBezTo>
                  <a:cubicBezTo>
                    <a:pt x="1161" y="978"/>
                    <a:pt x="1147" y="969"/>
                    <a:pt x="1133" y="963"/>
                  </a:cubicBezTo>
                  <a:cubicBezTo>
                    <a:pt x="1118" y="958"/>
                    <a:pt x="1103" y="956"/>
                    <a:pt x="1088" y="957"/>
                  </a:cubicBezTo>
                  <a:cubicBezTo>
                    <a:pt x="1073" y="958"/>
                    <a:pt x="1058" y="962"/>
                    <a:pt x="1043" y="970"/>
                  </a:cubicBezTo>
                  <a:cubicBezTo>
                    <a:pt x="1028" y="977"/>
                    <a:pt x="1014" y="988"/>
                    <a:pt x="1001" y="1001"/>
                  </a:cubicBezTo>
                  <a:cubicBezTo>
                    <a:pt x="986" y="1015"/>
                    <a:pt x="976" y="1030"/>
                    <a:pt x="968" y="1046"/>
                  </a:cubicBezTo>
                  <a:cubicBezTo>
                    <a:pt x="961" y="1061"/>
                    <a:pt x="957" y="1076"/>
                    <a:pt x="957" y="1091"/>
                  </a:cubicBezTo>
                  <a:cubicBezTo>
                    <a:pt x="956" y="1106"/>
                    <a:pt x="959" y="1121"/>
                    <a:pt x="965" y="1135"/>
                  </a:cubicBezTo>
                  <a:cubicBezTo>
                    <a:pt x="970" y="1148"/>
                    <a:pt x="979" y="1161"/>
                    <a:pt x="991" y="1173"/>
                  </a:cubicBezTo>
                  <a:cubicBezTo>
                    <a:pt x="998" y="1180"/>
                    <a:pt x="1006" y="1187"/>
                    <a:pt x="1015" y="1192"/>
                  </a:cubicBezTo>
                  <a:cubicBezTo>
                    <a:pt x="1024" y="1198"/>
                    <a:pt x="1034" y="1202"/>
                    <a:pt x="1043" y="1205"/>
                  </a:cubicBezTo>
                  <a:lnTo>
                    <a:pt x="1110" y="1138"/>
                  </a:lnTo>
                  <a:lnTo>
                    <a:pt x="1057" y="1085"/>
                  </a:lnTo>
                  <a:cubicBezTo>
                    <a:pt x="1055" y="1083"/>
                    <a:pt x="1054" y="1081"/>
                    <a:pt x="1055" y="1078"/>
                  </a:cubicBezTo>
                  <a:cubicBezTo>
                    <a:pt x="1056" y="1075"/>
                    <a:pt x="1059" y="1071"/>
                    <a:pt x="1063" y="1067"/>
                  </a:cubicBezTo>
                  <a:cubicBezTo>
                    <a:pt x="1066" y="1064"/>
                    <a:pt x="1068" y="1063"/>
                    <a:pt x="1069" y="1061"/>
                  </a:cubicBezTo>
                  <a:cubicBezTo>
                    <a:pt x="1071" y="1060"/>
                    <a:pt x="1073" y="1059"/>
                    <a:pt x="1074" y="1059"/>
                  </a:cubicBezTo>
                  <a:cubicBezTo>
                    <a:pt x="1076" y="1058"/>
                    <a:pt x="1077" y="1058"/>
                    <a:pt x="1078" y="1058"/>
                  </a:cubicBezTo>
                  <a:cubicBezTo>
                    <a:pt x="1080" y="1058"/>
                    <a:pt x="1081" y="1059"/>
                    <a:pt x="1082" y="1060"/>
                  </a:cubicBezTo>
                  <a:lnTo>
                    <a:pt x="1154" y="1133"/>
                  </a:lnTo>
                  <a:cubicBezTo>
                    <a:pt x="1156" y="1134"/>
                    <a:pt x="1157" y="1136"/>
                    <a:pt x="1158" y="1137"/>
                  </a:cubicBezTo>
                  <a:cubicBezTo>
                    <a:pt x="1158" y="1139"/>
                    <a:pt x="1159" y="1141"/>
                    <a:pt x="1159" y="1143"/>
                  </a:cubicBezTo>
                  <a:cubicBezTo>
                    <a:pt x="1159" y="1145"/>
                    <a:pt x="1159" y="1147"/>
                    <a:pt x="1158" y="1149"/>
                  </a:cubicBezTo>
                  <a:cubicBezTo>
                    <a:pt x="1157" y="1152"/>
                    <a:pt x="1155" y="1154"/>
                    <a:pt x="1153" y="1156"/>
                  </a:cubicBezTo>
                  <a:lnTo>
                    <a:pt x="1066" y="1243"/>
                  </a:lnTo>
                  <a:cubicBezTo>
                    <a:pt x="1063" y="1246"/>
                    <a:pt x="1060" y="1248"/>
                    <a:pt x="1056" y="1250"/>
                  </a:cubicBezTo>
                  <a:cubicBezTo>
                    <a:pt x="1053" y="1251"/>
                    <a:pt x="1049" y="1250"/>
                    <a:pt x="1044" y="1249"/>
                  </a:cubicBezTo>
                  <a:cubicBezTo>
                    <a:pt x="1038" y="1247"/>
                    <a:pt x="1032" y="1244"/>
                    <a:pt x="1025" y="1241"/>
                  </a:cubicBezTo>
                  <a:cubicBezTo>
                    <a:pt x="1017" y="1238"/>
                    <a:pt x="1010" y="1234"/>
                    <a:pt x="1003" y="1229"/>
                  </a:cubicBezTo>
                  <a:cubicBezTo>
                    <a:pt x="996" y="1225"/>
                    <a:pt x="989" y="1220"/>
                    <a:pt x="982" y="1215"/>
                  </a:cubicBezTo>
                  <a:cubicBezTo>
                    <a:pt x="976" y="1210"/>
                    <a:pt x="969" y="1204"/>
                    <a:pt x="964" y="1199"/>
                  </a:cubicBezTo>
                  <a:cubicBezTo>
                    <a:pt x="946" y="1181"/>
                    <a:pt x="933" y="1162"/>
                    <a:pt x="924" y="1143"/>
                  </a:cubicBezTo>
                  <a:cubicBezTo>
                    <a:pt x="916" y="1124"/>
                    <a:pt x="912" y="1104"/>
                    <a:pt x="913" y="1084"/>
                  </a:cubicBezTo>
                  <a:cubicBezTo>
                    <a:pt x="913" y="1065"/>
                    <a:pt x="918" y="1045"/>
                    <a:pt x="927" y="1026"/>
                  </a:cubicBezTo>
                  <a:cubicBezTo>
                    <a:pt x="936" y="1007"/>
                    <a:pt x="949" y="988"/>
                    <a:pt x="967" y="971"/>
                  </a:cubicBezTo>
                  <a:cubicBezTo>
                    <a:pt x="985" y="953"/>
                    <a:pt x="1004" y="939"/>
                    <a:pt x="1024" y="930"/>
                  </a:cubicBezTo>
                  <a:cubicBezTo>
                    <a:pt x="1045" y="921"/>
                    <a:pt x="1065" y="916"/>
                    <a:pt x="1085" y="915"/>
                  </a:cubicBezTo>
                  <a:cubicBezTo>
                    <a:pt x="1105" y="915"/>
                    <a:pt x="1125" y="919"/>
                    <a:pt x="1145" y="927"/>
                  </a:cubicBezTo>
                  <a:cubicBezTo>
                    <a:pt x="1165" y="935"/>
                    <a:pt x="1183" y="948"/>
                    <a:pt x="1200" y="965"/>
                  </a:cubicBezTo>
                  <a:cubicBezTo>
                    <a:pt x="1209" y="974"/>
                    <a:pt x="1216" y="983"/>
                    <a:pt x="1222" y="992"/>
                  </a:cubicBezTo>
                  <a:cubicBezTo>
                    <a:pt x="1229" y="1001"/>
                    <a:pt x="1234" y="1010"/>
                    <a:pt x="1237" y="1018"/>
                  </a:cubicBezTo>
                  <a:cubicBezTo>
                    <a:pt x="1241" y="1026"/>
                    <a:pt x="1244" y="1033"/>
                    <a:pt x="1246" y="1039"/>
                  </a:cubicBezTo>
                  <a:cubicBezTo>
                    <a:pt x="1247" y="1046"/>
                    <a:pt x="1248" y="1051"/>
                    <a:pt x="1248" y="1054"/>
                  </a:cubicBezTo>
                  <a:cubicBezTo>
                    <a:pt x="1248" y="1057"/>
                    <a:pt x="1247" y="1060"/>
                    <a:pt x="1246" y="1062"/>
                  </a:cubicBezTo>
                  <a:cubicBezTo>
                    <a:pt x="1245" y="1065"/>
                    <a:pt x="1242" y="1068"/>
                    <a:pt x="1238" y="1072"/>
                  </a:cubicBezTo>
                  <a:close/>
                  <a:moveTo>
                    <a:pt x="1318" y="1210"/>
                  </a:moveTo>
                  <a:cubicBezTo>
                    <a:pt x="1316" y="1212"/>
                    <a:pt x="1314" y="1213"/>
                    <a:pt x="1313" y="1215"/>
                  </a:cubicBezTo>
                  <a:cubicBezTo>
                    <a:pt x="1311" y="1216"/>
                    <a:pt x="1309" y="1217"/>
                    <a:pt x="1308" y="1218"/>
                  </a:cubicBezTo>
                  <a:cubicBezTo>
                    <a:pt x="1306" y="1219"/>
                    <a:pt x="1305" y="1219"/>
                    <a:pt x="1303" y="1219"/>
                  </a:cubicBezTo>
                  <a:cubicBezTo>
                    <a:pt x="1302" y="1219"/>
                    <a:pt x="1300" y="1219"/>
                    <a:pt x="1299" y="1219"/>
                  </a:cubicBezTo>
                  <a:lnTo>
                    <a:pt x="1266" y="1211"/>
                  </a:lnTo>
                  <a:lnTo>
                    <a:pt x="1129" y="1348"/>
                  </a:lnTo>
                  <a:cubicBezTo>
                    <a:pt x="1128" y="1349"/>
                    <a:pt x="1127" y="1350"/>
                    <a:pt x="1125" y="1350"/>
                  </a:cubicBezTo>
                  <a:cubicBezTo>
                    <a:pt x="1124" y="1350"/>
                    <a:pt x="1123" y="1350"/>
                    <a:pt x="1121" y="1349"/>
                  </a:cubicBezTo>
                  <a:cubicBezTo>
                    <a:pt x="1120" y="1349"/>
                    <a:pt x="1118" y="1348"/>
                    <a:pt x="1116" y="1346"/>
                  </a:cubicBezTo>
                  <a:cubicBezTo>
                    <a:pt x="1114" y="1344"/>
                    <a:pt x="1111" y="1342"/>
                    <a:pt x="1109" y="1339"/>
                  </a:cubicBezTo>
                  <a:cubicBezTo>
                    <a:pt x="1106" y="1336"/>
                    <a:pt x="1103" y="1334"/>
                    <a:pt x="1102" y="1332"/>
                  </a:cubicBezTo>
                  <a:cubicBezTo>
                    <a:pt x="1100" y="1330"/>
                    <a:pt x="1099" y="1328"/>
                    <a:pt x="1098" y="1326"/>
                  </a:cubicBezTo>
                  <a:cubicBezTo>
                    <a:pt x="1098" y="1325"/>
                    <a:pt x="1097" y="1323"/>
                    <a:pt x="1098" y="1322"/>
                  </a:cubicBezTo>
                  <a:cubicBezTo>
                    <a:pt x="1098" y="1321"/>
                    <a:pt x="1098" y="1320"/>
                    <a:pt x="1099" y="1319"/>
                  </a:cubicBezTo>
                  <a:lnTo>
                    <a:pt x="1218" y="1200"/>
                  </a:lnTo>
                  <a:lnTo>
                    <a:pt x="1187" y="1193"/>
                  </a:lnTo>
                  <a:cubicBezTo>
                    <a:pt x="1184" y="1193"/>
                    <a:pt x="1182" y="1191"/>
                    <a:pt x="1183" y="1188"/>
                  </a:cubicBezTo>
                  <a:cubicBezTo>
                    <a:pt x="1183" y="1186"/>
                    <a:pt x="1186" y="1182"/>
                    <a:pt x="1191" y="1177"/>
                  </a:cubicBezTo>
                  <a:cubicBezTo>
                    <a:pt x="1193" y="1175"/>
                    <a:pt x="1195" y="1173"/>
                    <a:pt x="1197" y="1171"/>
                  </a:cubicBezTo>
                  <a:cubicBezTo>
                    <a:pt x="1199" y="1170"/>
                    <a:pt x="1200" y="1169"/>
                    <a:pt x="1202" y="1168"/>
                  </a:cubicBezTo>
                  <a:cubicBezTo>
                    <a:pt x="1203" y="1167"/>
                    <a:pt x="1205" y="1167"/>
                    <a:pt x="1206" y="1167"/>
                  </a:cubicBezTo>
                  <a:cubicBezTo>
                    <a:pt x="1208" y="1167"/>
                    <a:pt x="1209" y="1167"/>
                    <a:pt x="1211" y="1167"/>
                  </a:cubicBezTo>
                  <a:lnTo>
                    <a:pt x="1244" y="1175"/>
                  </a:lnTo>
                  <a:lnTo>
                    <a:pt x="1336" y="1083"/>
                  </a:lnTo>
                  <a:cubicBezTo>
                    <a:pt x="1336" y="1082"/>
                    <a:pt x="1338" y="1081"/>
                    <a:pt x="1339" y="1081"/>
                  </a:cubicBezTo>
                  <a:cubicBezTo>
                    <a:pt x="1340" y="1081"/>
                    <a:pt x="1341" y="1081"/>
                    <a:pt x="1343" y="1082"/>
                  </a:cubicBezTo>
                  <a:cubicBezTo>
                    <a:pt x="1344" y="1082"/>
                    <a:pt x="1346" y="1083"/>
                    <a:pt x="1348" y="1085"/>
                  </a:cubicBezTo>
                  <a:cubicBezTo>
                    <a:pt x="1350" y="1087"/>
                    <a:pt x="1353" y="1089"/>
                    <a:pt x="1356" y="1092"/>
                  </a:cubicBezTo>
                  <a:cubicBezTo>
                    <a:pt x="1359" y="1095"/>
                    <a:pt x="1361" y="1097"/>
                    <a:pt x="1363" y="1099"/>
                  </a:cubicBezTo>
                  <a:cubicBezTo>
                    <a:pt x="1364" y="1102"/>
                    <a:pt x="1365" y="1103"/>
                    <a:pt x="1366" y="1105"/>
                  </a:cubicBezTo>
                  <a:cubicBezTo>
                    <a:pt x="1367" y="1106"/>
                    <a:pt x="1367" y="1108"/>
                    <a:pt x="1366" y="1109"/>
                  </a:cubicBezTo>
                  <a:cubicBezTo>
                    <a:pt x="1366" y="1110"/>
                    <a:pt x="1366" y="1111"/>
                    <a:pt x="1365" y="1112"/>
                  </a:cubicBezTo>
                  <a:lnTo>
                    <a:pt x="1291" y="1186"/>
                  </a:lnTo>
                  <a:lnTo>
                    <a:pt x="1323" y="1193"/>
                  </a:lnTo>
                  <a:cubicBezTo>
                    <a:pt x="1326" y="1193"/>
                    <a:pt x="1327" y="1195"/>
                    <a:pt x="1327" y="1198"/>
                  </a:cubicBezTo>
                  <a:cubicBezTo>
                    <a:pt x="1326" y="1200"/>
                    <a:pt x="1323" y="1204"/>
                    <a:pt x="1318" y="1210"/>
                  </a:cubicBezTo>
                  <a:close/>
                  <a:moveTo>
                    <a:pt x="1239" y="1429"/>
                  </a:moveTo>
                  <a:cubicBezTo>
                    <a:pt x="1231" y="1438"/>
                    <a:pt x="1224" y="1442"/>
                    <a:pt x="1218" y="1442"/>
                  </a:cubicBezTo>
                  <a:cubicBezTo>
                    <a:pt x="1213" y="1442"/>
                    <a:pt x="1206" y="1438"/>
                    <a:pt x="1199" y="1431"/>
                  </a:cubicBezTo>
                  <a:cubicBezTo>
                    <a:pt x="1192" y="1424"/>
                    <a:pt x="1188" y="1418"/>
                    <a:pt x="1188" y="1412"/>
                  </a:cubicBezTo>
                  <a:cubicBezTo>
                    <a:pt x="1188" y="1407"/>
                    <a:pt x="1192" y="1400"/>
                    <a:pt x="1201" y="1392"/>
                  </a:cubicBezTo>
                  <a:cubicBezTo>
                    <a:pt x="1209" y="1383"/>
                    <a:pt x="1216" y="1379"/>
                    <a:pt x="1221" y="1379"/>
                  </a:cubicBezTo>
                  <a:cubicBezTo>
                    <a:pt x="1227" y="1379"/>
                    <a:pt x="1233" y="1383"/>
                    <a:pt x="1241" y="1390"/>
                  </a:cubicBezTo>
                  <a:cubicBezTo>
                    <a:pt x="1248" y="1397"/>
                    <a:pt x="1251" y="1404"/>
                    <a:pt x="1251" y="1409"/>
                  </a:cubicBezTo>
                  <a:cubicBezTo>
                    <a:pt x="1251" y="1414"/>
                    <a:pt x="1247" y="1421"/>
                    <a:pt x="1239" y="1429"/>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408" name="Freeform 155"/>
            <p:cNvSpPr>
              <a:spLocks noEditPoints="1"/>
            </p:cNvSpPr>
            <p:nvPr/>
          </p:nvSpPr>
          <p:spPr bwMode="auto">
            <a:xfrm>
              <a:off x="304" y="2371"/>
              <a:ext cx="367" cy="373"/>
            </a:xfrm>
            <a:custGeom>
              <a:avLst/>
              <a:gdLst>
                <a:gd name="T0" fmla="*/ 327 w 3474"/>
                <a:gd name="T1" fmla="*/ 227 h 3531"/>
                <a:gd name="T2" fmla="*/ 456 w 3474"/>
                <a:gd name="T3" fmla="*/ 392 h 3531"/>
                <a:gd name="T4" fmla="*/ 238 w 3474"/>
                <a:gd name="T5" fmla="*/ 468 h 3531"/>
                <a:gd name="T6" fmla="*/ 384 w 3474"/>
                <a:gd name="T7" fmla="*/ 332 h 3531"/>
                <a:gd name="T8" fmla="*/ 544 w 3474"/>
                <a:gd name="T9" fmla="*/ 616 h 3531"/>
                <a:gd name="T10" fmla="*/ 484 w 3474"/>
                <a:gd name="T11" fmla="*/ 684 h 3531"/>
                <a:gd name="T12" fmla="*/ 605 w 3474"/>
                <a:gd name="T13" fmla="*/ 502 h 3531"/>
                <a:gd name="T14" fmla="*/ 615 w 3474"/>
                <a:gd name="T15" fmla="*/ 824 h 3531"/>
                <a:gd name="T16" fmla="*/ 565 w 3474"/>
                <a:gd name="T17" fmla="*/ 749 h 3531"/>
                <a:gd name="T18" fmla="*/ 685 w 3474"/>
                <a:gd name="T19" fmla="*/ 600 h 3531"/>
                <a:gd name="T20" fmla="*/ 744 w 3474"/>
                <a:gd name="T21" fmla="*/ 695 h 3531"/>
                <a:gd name="T22" fmla="*/ 670 w 3474"/>
                <a:gd name="T23" fmla="*/ 803 h 3531"/>
                <a:gd name="T24" fmla="*/ 701 w 3474"/>
                <a:gd name="T25" fmla="*/ 831 h 3531"/>
                <a:gd name="T26" fmla="*/ 1036 w 3474"/>
                <a:gd name="T27" fmla="*/ 780 h 3531"/>
                <a:gd name="T28" fmla="*/ 769 w 3474"/>
                <a:gd name="T29" fmla="*/ 940 h 3531"/>
                <a:gd name="T30" fmla="*/ 1007 w 3474"/>
                <a:gd name="T31" fmla="*/ 1171 h 3531"/>
                <a:gd name="T32" fmla="*/ 891 w 3474"/>
                <a:gd name="T33" fmla="*/ 1028 h 3531"/>
                <a:gd name="T34" fmla="*/ 1016 w 3474"/>
                <a:gd name="T35" fmla="*/ 977 h 3531"/>
                <a:gd name="T36" fmla="*/ 1265 w 3474"/>
                <a:gd name="T37" fmla="*/ 1226 h 3531"/>
                <a:gd name="T38" fmla="*/ 1198 w 3474"/>
                <a:gd name="T39" fmla="*/ 1095 h 3531"/>
                <a:gd name="T40" fmla="*/ 1173 w 3474"/>
                <a:gd name="T41" fmla="*/ 1393 h 3531"/>
                <a:gd name="T42" fmla="*/ 1519 w 3474"/>
                <a:gd name="T43" fmla="*/ 1546 h 3531"/>
                <a:gd name="T44" fmla="*/ 1649 w 3474"/>
                <a:gd name="T45" fmla="*/ 1421 h 3531"/>
                <a:gd name="T46" fmla="*/ 1659 w 3474"/>
                <a:gd name="T47" fmla="*/ 1615 h 3531"/>
                <a:gd name="T48" fmla="*/ 1648 w 3474"/>
                <a:gd name="T49" fmla="*/ 1539 h 3531"/>
                <a:gd name="T50" fmla="*/ 1730 w 3474"/>
                <a:gd name="T51" fmla="*/ 1628 h 3531"/>
                <a:gd name="T52" fmla="*/ 1768 w 3474"/>
                <a:gd name="T53" fmla="*/ 1661 h 3531"/>
                <a:gd name="T54" fmla="*/ 1857 w 3474"/>
                <a:gd name="T55" fmla="*/ 1624 h 3531"/>
                <a:gd name="T56" fmla="*/ 1834 w 3474"/>
                <a:gd name="T57" fmla="*/ 2003 h 3531"/>
                <a:gd name="T58" fmla="*/ 1791 w 3474"/>
                <a:gd name="T59" fmla="*/ 1780 h 3531"/>
                <a:gd name="T60" fmla="*/ 1796 w 3474"/>
                <a:gd name="T61" fmla="*/ 1825 h 3531"/>
                <a:gd name="T62" fmla="*/ 1884 w 3474"/>
                <a:gd name="T63" fmla="*/ 2069 h 3531"/>
                <a:gd name="T64" fmla="*/ 2235 w 3474"/>
                <a:gd name="T65" fmla="*/ 1975 h 3531"/>
                <a:gd name="T66" fmla="*/ 1952 w 3474"/>
                <a:gd name="T67" fmla="*/ 2134 h 3531"/>
                <a:gd name="T68" fmla="*/ 2236 w 3474"/>
                <a:gd name="T69" fmla="*/ 2192 h 3531"/>
                <a:gd name="T70" fmla="*/ 2225 w 3474"/>
                <a:gd name="T71" fmla="*/ 2116 h 3531"/>
                <a:gd name="T72" fmla="*/ 2307 w 3474"/>
                <a:gd name="T73" fmla="*/ 2205 h 3531"/>
                <a:gd name="T74" fmla="*/ 2345 w 3474"/>
                <a:gd name="T75" fmla="*/ 2238 h 3531"/>
                <a:gd name="T76" fmla="*/ 2434 w 3474"/>
                <a:gd name="T77" fmla="*/ 2201 h 3531"/>
                <a:gd name="T78" fmla="*/ 2371 w 3474"/>
                <a:gd name="T79" fmla="*/ 2354 h 3531"/>
                <a:gd name="T80" fmla="*/ 2484 w 3474"/>
                <a:gd name="T81" fmla="*/ 2438 h 3531"/>
                <a:gd name="T82" fmla="*/ 2402 w 3474"/>
                <a:gd name="T83" fmla="*/ 2561 h 3531"/>
                <a:gd name="T84" fmla="*/ 2632 w 3474"/>
                <a:gd name="T85" fmla="*/ 2568 h 3531"/>
                <a:gd name="T86" fmla="*/ 2665 w 3474"/>
                <a:gd name="T87" fmla="*/ 2402 h 3531"/>
                <a:gd name="T88" fmla="*/ 2726 w 3474"/>
                <a:gd name="T89" fmla="*/ 2902 h 3531"/>
                <a:gd name="T90" fmla="*/ 2639 w 3474"/>
                <a:gd name="T91" fmla="*/ 2813 h 3531"/>
                <a:gd name="T92" fmla="*/ 2741 w 3474"/>
                <a:gd name="T93" fmla="*/ 2685 h 3531"/>
                <a:gd name="T94" fmla="*/ 2828 w 3474"/>
                <a:gd name="T95" fmla="*/ 2783 h 3531"/>
                <a:gd name="T96" fmla="*/ 2766 w 3474"/>
                <a:gd name="T97" fmla="*/ 2864 h 3531"/>
                <a:gd name="T98" fmla="*/ 2867 w 3474"/>
                <a:gd name="T99" fmla="*/ 2802 h 3531"/>
                <a:gd name="T100" fmla="*/ 2982 w 3474"/>
                <a:gd name="T101" fmla="*/ 2799 h 3531"/>
                <a:gd name="T102" fmla="*/ 2842 w 3474"/>
                <a:gd name="T103" fmla="*/ 3018 h 3531"/>
                <a:gd name="T104" fmla="*/ 2905 w 3474"/>
                <a:gd name="T105" fmla="*/ 3141 h 3531"/>
                <a:gd name="T106" fmla="*/ 3045 w 3474"/>
                <a:gd name="T107" fmla="*/ 2983 h 3531"/>
                <a:gd name="T108" fmla="*/ 3126 w 3474"/>
                <a:gd name="T109" fmla="*/ 3043 h 3531"/>
                <a:gd name="T110" fmla="*/ 3175 w 3474"/>
                <a:gd name="T111" fmla="*/ 3395 h 3531"/>
                <a:gd name="T112" fmla="*/ 3106 w 3474"/>
                <a:gd name="T113" fmla="*/ 3171 h 3531"/>
                <a:gd name="T114" fmla="*/ 3410 w 3474"/>
                <a:gd name="T115" fmla="*/ 3159 h 3531"/>
                <a:gd name="T116" fmla="*/ 3166 w 3474"/>
                <a:gd name="T117" fmla="*/ 3319 h 3531"/>
                <a:gd name="T118" fmla="*/ 3355 w 3474"/>
                <a:gd name="T119" fmla="*/ 3296 h 3531"/>
                <a:gd name="T120" fmla="*/ 3470 w 3474"/>
                <a:gd name="T121" fmla="*/ 3282 h 3531"/>
                <a:gd name="T122" fmla="*/ 3322 w 3474"/>
                <a:gd name="T123" fmla="*/ 3502 h 3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74" h="3531">
                  <a:moveTo>
                    <a:pt x="288" y="281"/>
                  </a:moveTo>
                  <a:cubicBezTo>
                    <a:pt x="268" y="301"/>
                    <a:pt x="248" y="315"/>
                    <a:pt x="228" y="325"/>
                  </a:cubicBezTo>
                  <a:cubicBezTo>
                    <a:pt x="208" y="335"/>
                    <a:pt x="189" y="340"/>
                    <a:pt x="169" y="340"/>
                  </a:cubicBezTo>
                  <a:cubicBezTo>
                    <a:pt x="150" y="340"/>
                    <a:pt x="131" y="335"/>
                    <a:pt x="112" y="326"/>
                  </a:cubicBezTo>
                  <a:cubicBezTo>
                    <a:pt x="93" y="316"/>
                    <a:pt x="73" y="302"/>
                    <a:pt x="54" y="282"/>
                  </a:cubicBezTo>
                  <a:lnTo>
                    <a:pt x="5" y="234"/>
                  </a:lnTo>
                  <a:cubicBezTo>
                    <a:pt x="3" y="231"/>
                    <a:pt x="1" y="228"/>
                    <a:pt x="1" y="224"/>
                  </a:cubicBezTo>
                  <a:cubicBezTo>
                    <a:pt x="0" y="219"/>
                    <a:pt x="2" y="215"/>
                    <a:pt x="7" y="210"/>
                  </a:cubicBezTo>
                  <a:lnTo>
                    <a:pt x="211" y="6"/>
                  </a:lnTo>
                  <a:cubicBezTo>
                    <a:pt x="215" y="2"/>
                    <a:pt x="220" y="0"/>
                    <a:pt x="224" y="0"/>
                  </a:cubicBezTo>
                  <a:cubicBezTo>
                    <a:pt x="228" y="1"/>
                    <a:pt x="231" y="3"/>
                    <a:pt x="234" y="5"/>
                  </a:cubicBezTo>
                  <a:lnTo>
                    <a:pt x="286" y="57"/>
                  </a:lnTo>
                  <a:cubicBezTo>
                    <a:pt x="306" y="77"/>
                    <a:pt x="320" y="96"/>
                    <a:pt x="329" y="115"/>
                  </a:cubicBezTo>
                  <a:cubicBezTo>
                    <a:pt x="337" y="134"/>
                    <a:pt x="341" y="153"/>
                    <a:pt x="341" y="171"/>
                  </a:cubicBezTo>
                  <a:cubicBezTo>
                    <a:pt x="340" y="190"/>
                    <a:pt x="336" y="209"/>
                    <a:pt x="327" y="227"/>
                  </a:cubicBezTo>
                  <a:cubicBezTo>
                    <a:pt x="318" y="246"/>
                    <a:pt x="305" y="264"/>
                    <a:pt x="288" y="281"/>
                  </a:cubicBezTo>
                  <a:close/>
                  <a:moveTo>
                    <a:pt x="255" y="250"/>
                  </a:moveTo>
                  <a:cubicBezTo>
                    <a:pt x="267" y="238"/>
                    <a:pt x="277" y="225"/>
                    <a:pt x="284" y="211"/>
                  </a:cubicBezTo>
                  <a:cubicBezTo>
                    <a:pt x="292" y="197"/>
                    <a:pt x="297" y="183"/>
                    <a:pt x="298" y="169"/>
                  </a:cubicBezTo>
                  <a:cubicBezTo>
                    <a:pt x="299" y="155"/>
                    <a:pt x="297" y="140"/>
                    <a:pt x="291" y="126"/>
                  </a:cubicBezTo>
                  <a:cubicBezTo>
                    <a:pt x="285" y="111"/>
                    <a:pt x="275" y="96"/>
                    <a:pt x="259" y="81"/>
                  </a:cubicBezTo>
                  <a:lnTo>
                    <a:pt x="228" y="50"/>
                  </a:lnTo>
                  <a:lnTo>
                    <a:pt x="50" y="228"/>
                  </a:lnTo>
                  <a:lnTo>
                    <a:pt x="81" y="259"/>
                  </a:lnTo>
                  <a:cubicBezTo>
                    <a:pt x="96" y="274"/>
                    <a:pt x="110" y="284"/>
                    <a:pt x="124" y="290"/>
                  </a:cubicBezTo>
                  <a:cubicBezTo>
                    <a:pt x="137" y="297"/>
                    <a:pt x="151" y="300"/>
                    <a:pt x="166" y="299"/>
                  </a:cubicBezTo>
                  <a:cubicBezTo>
                    <a:pt x="180" y="298"/>
                    <a:pt x="194" y="293"/>
                    <a:pt x="209" y="285"/>
                  </a:cubicBezTo>
                  <a:cubicBezTo>
                    <a:pt x="224" y="277"/>
                    <a:pt x="239" y="266"/>
                    <a:pt x="255" y="250"/>
                  </a:cubicBezTo>
                  <a:close/>
                  <a:moveTo>
                    <a:pt x="463" y="386"/>
                  </a:moveTo>
                  <a:cubicBezTo>
                    <a:pt x="461" y="388"/>
                    <a:pt x="458" y="390"/>
                    <a:pt x="456" y="392"/>
                  </a:cubicBezTo>
                  <a:cubicBezTo>
                    <a:pt x="455" y="394"/>
                    <a:pt x="453" y="395"/>
                    <a:pt x="452" y="395"/>
                  </a:cubicBezTo>
                  <a:cubicBezTo>
                    <a:pt x="450" y="396"/>
                    <a:pt x="449" y="396"/>
                    <a:pt x="448" y="396"/>
                  </a:cubicBezTo>
                  <a:cubicBezTo>
                    <a:pt x="447" y="396"/>
                    <a:pt x="446" y="396"/>
                    <a:pt x="445" y="395"/>
                  </a:cubicBezTo>
                  <a:cubicBezTo>
                    <a:pt x="444" y="394"/>
                    <a:pt x="443" y="393"/>
                    <a:pt x="442" y="391"/>
                  </a:cubicBezTo>
                  <a:cubicBezTo>
                    <a:pt x="441" y="389"/>
                    <a:pt x="440" y="387"/>
                    <a:pt x="439" y="384"/>
                  </a:cubicBezTo>
                  <a:cubicBezTo>
                    <a:pt x="438" y="382"/>
                    <a:pt x="437" y="380"/>
                    <a:pt x="435" y="377"/>
                  </a:cubicBezTo>
                  <a:cubicBezTo>
                    <a:pt x="433" y="375"/>
                    <a:pt x="431" y="372"/>
                    <a:pt x="429" y="370"/>
                  </a:cubicBezTo>
                  <a:cubicBezTo>
                    <a:pt x="426" y="367"/>
                    <a:pt x="422" y="364"/>
                    <a:pt x="418" y="363"/>
                  </a:cubicBezTo>
                  <a:cubicBezTo>
                    <a:pt x="414" y="361"/>
                    <a:pt x="409" y="360"/>
                    <a:pt x="404" y="360"/>
                  </a:cubicBezTo>
                  <a:cubicBezTo>
                    <a:pt x="398" y="359"/>
                    <a:pt x="391" y="360"/>
                    <a:pt x="383" y="361"/>
                  </a:cubicBezTo>
                  <a:cubicBezTo>
                    <a:pt x="375" y="362"/>
                    <a:pt x="366" y="363"/>
                    <a:pt x="355" y="366"/>
                  </a:cubicBezTo>
                  <a:lnTo>
                    <a:pt x="251" y="470"/>
                  </a:lnTo>
                  <a:cubicBezTo>
                    <a:pt x="250" y="471"/>
                    <a:pt x="249" y="472"/>
                    <a:pt x="248" y="472"/>
                  </a:cubicBezTo>
                  <a:cubicBezTo>
                    <a:pt x="246" y="472"/>
                    <a:pt x="245" y="472"/>
                    <a:pt x="244" y="471"/>
                  </a:cubicBezTo>
                  <a:cubicBezTo>
                    <a:pt x="242" y="471"/>
                    <a:pt x="240" y="470"/>
                    <a:pt x="238" y="468"/>
                  </a:cubicBezTo>
                  <a:cubicBezTo>
                    <a:pt x="236" y="466"/>
                    <a:pt x="233" y="464"/>
                    <a:pt x="230" y="461"/>
                  </a:cubicBezTo>
                  <a:cubicBezTo>
                    <a:pt x="228" y="458"/>
                    <a:pt x="225" y="456"/>
                    <a:pt x="224" y="454"/>
                  </a:cubicBezTo>
                  <a:cubicBezTo>
                    <a:pt x="222" y="452"/>
                    <a:pt x="221" y="450"/>
                    <a:pt x="220" y="448"/>
                  </a:cubicBezTo>
                  <a:cubicBezTo>
                    <a:pt x="220" y="447"/>
                    <a:pt x="219" y="445"/>
                    <a:pt x="220" y="444"/>
                  </a:cubicBezTo>
                  <a:cubicBezTo>
                    <a:pt x="220" y="443"/>
                    <a:pt x="221" y="442"/>
                    <a:pt x="221" y="441"/>
                  </a:cubicBezTo>
                  <a:lnTo>
                    <a:pt x="381" y="282"/>
                  </a:lnTo>
                  <a:cubicBezTo>
                    <a:pt x="382" y="281"/>
                    <a:pt x="382" y="281"/>
                    <a:pt x="383" y="280"/>
                  </a:cubicBezTo>
                  <a:cubicBezTo>
                    <a:pt x="384" y="280"/>
                    <a:pt x="386" y="280"/>
                    <a:pt x="387" y="281"/>
                  </a:cubicBezTo>
                  <a:cubicBezTo>
                    <a:pt x="389" y="281"/>
                    <a:pt x="391" y="282"/>
                    <a:pt x="393" y="284"/>
                  </a:cubicBezTo>
                  <a:cubicBezTo>
                    <a:pt x="394" y="285"/>
                    <a:pt x="397" y="287"/>
                    <a:pt x="399" y="290"/>
                  </a:cubicBezTo>
                  <a:cubicBezTo>
                    <a:pt x="402" y="292"/>
                    <a:pt x="404" y="295"/>
                    <a:pt x="405" y="297"/>
                  </a:cubicBezTo>
                  <a:cubicBezTo>
                    <a:pt x="407" y="298"/>
                    <a:pt x="408" y="300"/>
                    <a:pt x="408" y="302"/>
                  </a:cubicBezTo>
                  <a:cubicBezTo>
                    <a:pt x="409" y="303"/>
                    <a:pt x="409" y="304"/>
                    <a:pt x="409" y="305"/>
                  </a:cubicBezTo>
                  <a:cubicBezTo>
                    <a:pt x="408" y="307"/>
                    <a:pt x="408" y="308"/>
                    <a:pt x="407" y="308"/>
                  </a:cubicBezTo>
                  <a:lnTo>
                    <a:pt x="384" y="332"/>
                  </a:lnTo>
                  <a:cubicBezTo>
                    <a:pt x="394" y="330"/>
                    <a:pt x="404" y="329"/>
                    <a:pt x="412" y="328"/>
                  </a:cubicBezTo>
                  <a:cubicBezTo>
                    <a:pt x="419" y="328"/>
                    <a:pt x="426" y="329"/>
                    <a:pt x="432" y="330"/>
                  </a:cubicBezTo>
                  <a:cubicBezTo>
                    <a:pt x="438" y="331"/>
                    <a:pt x="443" y="333"/>
                    <a:pt x="447" y="335"/>
                  </a:cubicBezTo>
                  <a:cubicBezTo>
                    <a:pt x="451" y="338"/>
                    <a:pt x="455" y="341"/>
                    <a:pt x="458" y="344"/>
                  </a:cubicBezTo>
                  <a:cubicBezTo>
                    <a:pt x="460" y="346"/>
                    <a:pt x="462" y="347"/>
                    <a:pt x="463" y="349"/>
                  </a:cubicBezTo>
                  <a:cubicBezTo>
                    <a:pt x="465" y="352"/>
                    <a:pt x="467" y="354"/>
                    <a:pt x="468" y="357"/>
                  </a:cubicBezTo>
                  <a:cubicBezTo>
                    <a:pt x="470" y="359"/>
                    <a:pt x="471" y="362"/>
                    <a:pt x="473" y="364"/>
                  </a:cubicBezTo>
                  <a:cubicBezTo>
                    <a:pt x="474" y="366"/>
                    <a:pt x="474" y="368"/>
                    <a:pt x="474" y="369"/>
                  </a:cubicBezTo>
                  <a:cubicBezTo>
                    <a:pt x="475" y="371"/>
                    <a:pt x="474" y="372"/>
                    <a:pt x="474" y="372"/>
                  </a:cubicBezTo>
                  <a:cubicBezTo>
                    <a:pt x="474" y="373"/>
                    <a:pt x="473" y="374"/>
                    <a:pt x="473" y="375"/>
                  </a:cubicBezTo>
                  <a:cubicBezTo>
                    <a:pt x="472" y="376"/>
                    <a:pt x="471" y="377"/>
                    <a:pt x="469" y="379"/>
                  </a:cubicBezTo>
                  <a:cubicBezTo>
                    <a:pt x="468" y="381"/>
                    <a:pt x="466" y="383"/>
                    <a:pt x="463" y="386"/>
                  </a:cubicBezTo>
                  <a:close/>
                  <a:moveTo>
                    <a:pt x="568" y="615"/>
                  </a:moveTo>
                  <a:cubicBezTo>
                    <a:pt x="564" y="620"/>
                    <a:pt x="559" y="622"/>
                    <a:pt x="555" y="621"/>
                  </a:cubicBezTo>
                  <a:cubicBezTo>
                    <a:pt x="551" y="621"/>
                    <a:pt x="547" y="619"/>
                    <a:pt x="544" y="616"/>
                  </a:cubicBezTo>
                  <a:lnTo>
                    <a:pt x="439" y="512"/>
                  </a:lnTo>
                  <a:cubicBezTo>
                    <a:pt x="430" y="520"/>
                    <a:pt x="423" y="529"/>
                    <a:pt x="418" y="538"/>
                  </a:cubicBezTo>
                  <a:cubicBezTo>
                    <a:pt x="413" y="547"/>
                    <a:pt x="410" y="556"/>
                    <a:pt x="409" y="565"/>
                  </a:cubicBezTo>
                  <a:cubicBezTo>
                    <a:pt x="408" y="574"/>
                    <a:pt x="409" y="584"/>
                    <a:pt x="413" y="593"/>
                  </a:cubicBezTo>
                  <a:cubicBezTo>
                    <a:pt x="417" y="602"/>
                    <a:pt x="424" y="612"/>
                    <a:pt x="434" y="621"/>
                  </a:cubicBezTo>
                  <a:cubicBezTo>
                    <a:pt x="441" y="629"/>
                    <a:pt x="448" y="635"/>
                    <a:pt x="456" y="640"/>
                  </a:cubicBezTo>
                  <a:cubicBezTo>
                    <a:pt x="463" y="645"/>
                    <a:pt x="469" y="648"/>
                    <a:pt x="475" y="651"/>
                  </a:cubicBezTo>
                  <a:cubicBezTo>
                    <a:pt x="481" y="654"/>
                    <a:pt x="486" y="656"/>
                    <a:pt x="490" y="658"/>
                  </a:cubicBezTo>
                  <a:cubicBezTo>
                    <a:pt x="494" y="659"/>
                    <a:pt x="497" y="661"/>
                    <a:pt x="498" y="662"/>
                  </a:cubicBezTo>
                  <a:cubicBezTo>
                    <a:pt x="499" y="663"/>
                    <a:pt x="499" y="664"/>
                    <a:pt x="500" y="665"/>
                  </a:cubicBezTo>
                  <a:cubicBezTo>
                    <a:pt x="500" y="666"/>
                    <a:pt x="500" y="667"/>
                    <a:pt x="499" y="668"/>
                  </a:cubicBezTo>
                  <a:cubicBezTo>
                    <a:pt x="499" y="669"/>
                    <a:pt x="498" y="671"/>
                    <a:pt x="497" y="672"/>
                  </a:cubicBezTo>
                  <a:cubicBezTo>
                    <a:pt x="495" y="674"/>
                    <a:pt x="494" y="676"/>
                    <a:pt x="492" y="678"/>
                  </a:cubicBezTo>
                  <a:cubicBezTo>
                    <a:pt x="490" y="680"/>
                    <a:pt x="489" y="681"/>
                    <a:pt x="487" y="682"/>
                  </a:cubicBezTo>
                  <a:cubicBezTo>
                    <a:pt x="486" y="683"/>
                    <a:pt x="485" y="684"/>
                    <a:pt x="484" y="684"/>
                  </a:cubicBezTo>
                  <a:cubicBezTo>
                    <a:pt x="483" y="685"/>
                    <a:pt x="482" y="686"/>
                    <a:pt x="481" y="686"/>
                  </a:cubicBezTo>
                  <a:cubicBezTo>
                    <a:pt x="480" y="686"/>
                    <a:pt x="478" y="686"/>
                    <a:pt x="477" y="686"/>
                  </a:cubicBezTo>
                  <a:cubicBezTo>
                    <a:pt x="476" y="686"/>
                    <a:pt x="473" y="686"/>
                    <a:pt x="468" y="684"/>
                  </a:cubicBezTo>
                  <a:cubicBezTo>
                    <a:pt x="464" y="682"/>
                    <a:pt x="458" y="679"/>
                    <a:pt x="451" y="676"/>
                  </a:cubicBezTo>
                  <a:cubicBezTo>
                    <a:pt x="445" y="672"/>
                    <a:pt x="438" y="668"/>
                    <a:pt x="430" y="662"/>
                  </a:cubicBezTo>
                  <a:cubicBezTo>
                    <a:pt x="422" y="656"/>
                    <a:pt x="415" y="650"/>
                    <a:pt x="407" y="642"/>
                  </a:cubicBezTo>
                  <a:cubicBezTo>
                    <a:pt x="394" y="629"/>
                    <a:pt x="384" y="616"/>
                    <a:pt x="378" y="603"/>
                  </a:cubicBezTo>
                  <a:cubicBezTo>
                    <a:pt x="372" y="589"/>
                    <a:pt x="369" y="575"/>
                    <a:pt x="370" y="561"/>
                  </a:cubicBezTo>
                  <a:cubicBezTo>
                    <a:pt x="370" y="548"/>
                    <a:pt x="374" y="533"/>
                    <a:pt x="381" y="519"/>
                  </a:cubicBezTo>
                  <a:cubicBezTo>
                    <a:pt x="389" y="505"/>
                    <a:pt x="400" y="491"/>
                    <a:pt x="414" y="476"/>
                  </a:cubicBezTo>
                  <a:cubicBezTo>
                    <a:pt x="428" y="463"/>
                    <a:pt x="442" y="452"/>
                    <a:pt x="456" y="445"/>
                  </a:cubicBezTo>
                  <a:cubicBezTo>
                    <a:pt x="471" y="437"/>
                    <a:pt x="485" y="433"/>
                    <a:pt x="499" y="432"/>
                  </a:cubicBezTo>
                  <a:cubicBezTo>
                    <a:pt x="514" y="431"/>
                    <a:pt x="528" y="433"/>
                    <a:pt x="541" y="439"/>
                  </a:cubicBezTo>
                  <a:cubicBezTo>
                    <a:pt x="554" y="444"/>
                    <a:pt x="567" y="453"/>
                    <a:pt x="579" y="464"/>
                  </a:cubicBezTo>
                  <a:cubicBezTo>
                    <a:pt x="591" y="477"/>
                    <a:pt x="600" y="490"/>
                    <a:pt x="605" y="502"/>
                  </a:cubicBezTo>
                  <a:cubicBezTo>
                    <a:pt x="609" y="515"/>
                    <a:pt x="611" y="528"/>
                    <a:pt x="610" y="540"/>
                  </a:cubicBezTo>
                  <a:cubicBezTo>
                    <a:pt x="609" y="553"/>
                    <a:pt x="605" y="565"/>
                    <a:pt x="599" y="576"/>
                  </a:cubicBezTo>
                  <a:cubicBezTo>
                    <a:pt x="592" y="588"/>
                    <a:pt x="584" y="599"/>
                    <a:pt x="573" y="610"/>
                  </a:cubicBezTo>
                  <a:lnTo>
                    <a:pt x="568" y="615"/>
                  </a:lnTo>
                  <a:close/>
                  <a:moveTo>
                    <a:pt x="547" y="577"/>
                  </a:moveTo>
                  <a:cubicBezTo>
                    <a:pt x="563" y="562"/>
                    <a:pt x="572" y="547"/>
                    <a:pt x="573" y="531"/>
                  </a:cubicBezTo>
                  <a:cubicBezTo>
                    <a:pt x="575" y="515"/>
                    <a:pt x="569" y="500"/>
                    <a:pt x="554" y="486"/>
                  </a:cubicBezTo>
                  <a:cubicBezTo>
                    <a:pt x="547" y="478"/>
                    <a:pt x="540" y="473"/>
                    <a:pt x="531" y="471"/>
                  </a:cubicBezTo>
                  <a:cubicBezTo>
                    <a:pt x="523" y="468"/>
                    <a:pt x="515" y="467"/>
                    <a:pt x="507" y="468"/>
                  </a:cubicBezTo>
                  <a:cubicBezTo>
                    <a:pt x="499" y="469"/>
                    <a:pt x="491" y="471"/>
                    <a:pt x="483" y="475"/>
                  </a:cubicBezTo>
                  <a:cubicBezTo>
                    <a:pt x="475" y="479"/>
                    <a:pt x="467" y="484"/>
                    <a:pt x="461" y="490"/>
                  </a:cubicBezTo>
                  <a:lnTo>
                    <a:pt x="547" y="577"/>
                  </a:lnTo>
                  <a:close/>
                  <a:moveTo>
                    <a:pt x="670" y="803"/>
                  </a:moveTo>
                  <a:cubicBezTo>
                    <a:pt x="662" y="811"/>
                    <a:pt x="653" y="817"/>
                    <a:pt x="644" y="820"/>
                  </a:cubicBezTo>
                  <a:cubicBezTo>
                    <a:pt x="635" y="824"/>
                    <a:pt x="625" y="825"/>
                    <a:pt x="615" y="824"/>
                  </a:cubicBezTo>
                  <a:cubicBezTo>
                    <a:pt x="605" y="823"/>
                    <a:pt x="595" y="819"/>
                    <a:pt x="585" y="814"/>
                  </a:cubicBezTo>
                  <a:cubicBezTo>
                    <a:pt x="575" y="808"/>
                    <a:pt x="566" y="801"/>
                    <a:pt x="557" y="792"/>
                  </a:cubicBezTo>
                  <a:cubicBezTo>
                    <a:pt x="551" y="786"/>
                    <a:pt x="546" y="780"/>
                    <a:pt x="542" y="774"/>
                  </a:cubicBezTo>
                  <a:cubicBezTo>
                    <a:pt x="538" y="768"/>
                    <a:pt x="534" y="763"/>
                    <a:pt x="531" y="757"/>
                  </a:cubicBezTo>
                  <a:cubicBezTo>
                    <a:pt x="529" y="752"/>
                    <a:pt x="527" y="747"/>
                    <a:pt x="525" y="743"/>
                  </a:cubicBezTo>
                  <a:cubicBezTo>
                    <a:pt x="524" y="738"/>
                    <a:pt x="523" y="735"/>
                    <a:pt x="523" y="733"/>
                  </a:cubicBezTo>
                  <a:cubicBezTo>
                    <a:pt x="523" y="730"/>
                    <a:pt x="524" y="727"/>
                    <a:pt x="525" y="725"/>
                  </a:cubicBezTo>
                  <a:cubicBezTo>
                    <a:pt x="527" y="722"/>
                    <a:pt x="529" y="719"/>
                    <a:pt x="533" y="715"/>
                  </a:cubicBezTo>
                  <a:cubicBezTo>
                    <a:pt x="535" y="713"/>
                    <a:pt x="537" y="711"/>
                    <a:pt x="539" y="710"/>
                  </a:cubicBezTo>
                  <a:cubicBezTo>
                    <a:pt x="541" y="709"/>
                    <a:pt x="542" y="708"/>
                    <a:pt x="544" y="707"/>
                  </a:cubicBezTo>
                  <a:cubicBezTo>
                    <a:pt x="545" y="706"/>
                    <a:pt x="546" y="706"/>
                    <a:pt x="547" y="707"/>
                  </a:cubicBezTo>
                  <a:cubicBezTo>
                    <a:pt x="548" y="707"/>
                    <a:pt x="549" y="707"/>
                    <a:pt x="550" y="708"/>
                  </a:cubicBezTo>
                  <a:cubicBezTo>
                    <a:pt x="551" y="709"/>
                    <a:pt x="552" y="712"/>
                    <a:pt x="553" y="716"/>
                  </a:cubicBezTo>
                  <a:cubicBezTo>
                    <a:pt x="554" y="720"/>
                    <a:pt x="556" y="725"/>
                    <a:pt x="557" y="731"/>
                  </a:cubicBezTo>
                  <a:cubicBezTo>
                    <a:pt x="559" y="736"/>
                    <a:pt x="562" y="743"/>
                    <a:pt x="565" y="749"/>
                  </a:cubicBezTo>
                  <a:cubicBezTo>
                    <a:pt x="569" y="756"/>
                    <a:pt x="574" y="763"/>
                    <a:pt x="581" y="769"/>
                  </a:cubicBezTo>
                  <a:cubicBezTo>
                    <a:pt x="585" y="774"/>
                    <a:pt x="590" y="778"/>
                    <a:pt x="596" y="781"/>
                  </a:cubicBezTo>
                  <a:cubicBezTo>
                    <a:pt x="601" y="784"/>
                    <a:pt x="606" y="786"/>
                    <a:pt x="611" y="787"/>
                  </a:cubicBezTo>
                  <a:cubicBezTo>
                    <a:pt x="616" y="788"/>
                    <a:pt x="621" y="787"/>
                    <a:pt x="625" y="786"/>
                  </a:cubicBezTo>
                  <a:cubicBezTo>
                    <a:pt x="630" y="784"/>
                    <a:pt x="635" y="781"/>
                    <a:pt x="639" y="777"/>
                  </a:cubicBezTo>
                  <a:cubicBezTo>
                    <a:pt x="643" y="772"/>
                    <a:pt x="646" y="767"/>
                    <a:pt x="647" y="762"/>
                  </a:cubicBezTo>
                  <a:cubicBezTo>
                    <a:pt x="648" y="757"/>
                    <a:pt x="647" y="751"/>
                    <a:pt x="646" y="745"/>
                  </a:cubicBezTo>
                  <a:cubicBezTo>
                    <a:pt x="644" y="739"/>
                    <a:pt x="642" y="732"/>
                    <a:pt x="639" y="726"/>
                  </a:cubicBezTo>
                  <a:cubicBezTo>
                    <a:pt x="637" y="719"/>
                    <a:pt x="634" y="712"/>
                    <a:pt x="631" y="705"/>
                  </a:cubicBezTo>
                  <a:cubicBezTo>
                    <a:pt x="628" y="698"/>
                    <a:pt x="625" y="691"/>
                    <a:pt x="623" y="684"/>
                  </a:cubicBezTo>
                  <a:cubicBezTo>
                    <a:pt x="621" y="677"/>
                    <a:pt x="619" y="669"/>
                    <a:pt x="619" y="662"/>
                  </a:cubicBezTo>
                  <a:cubicBezTo>
                    <a:pt x="619" y="654"/>
                    <a:pt x="620" y="647"/>
                    <a:pt x="623" y="640"/>
                  </a:cubicBezTo>
                  <a:cubicBezTo>
                    <a:pt x="626" y="632"/>
                    <a:pt x="631" y="625"/>
                    <a:pt x="638" y="618"/>
                  </a:cubicBezTo>
                  <a:cubicBezTo>
                    <a:pt x="644" y="612"/>
                    <a:pt x="651" y="607"/>
                    <a:pt x="660" y="604"/>
                  </a:cubicBezTo>
                  <a:cubicBezTo>
                    <a:pt x="668" y="600"/>
                    <a:pt x="676" y="599"/>
                    <a:pt x="685" y="600"/>
                  </a:cubicBezTo>
                  <a:cubicBezTo>
                    <a:pt x="695" y="600"/>
                    <a:pt x="704" y="603"/>
                    <a:pt x="714" y="607"/>
                  </a:cubicBezTo>
                  <a:cubicBezTo>
                    <a:pt x="724" y="612"/>
                    <a:pt x="733" y="619"/>
                    <a:pt x="743" y="629"/>
                  </a:cubicBezTo>
                  <a:cubicBezTo>
                    <a:pt x="747" y="633"/>
                    <a:pt x="751" y="638"/>
                    <a:pt x="755" y="643"/>
                  </a:cubicBezTo>
                  <a:cubicBezTo>
                    <a:pt x="758" y="648"/>
                    <a:pt x="761" y="652"/>
                    <a:pt x="764" y="657"/>
                  </a:cubicBezTo>
                  <a:cubicBezTo>
                    <a:pt x="766" y="661"/>
                    <a:pt x="768" y="665"/>
                    <a:pt x="769" y="669"/>
                  </a:cubicBezTo>
                  <a:cubicBezTo>
                    <a:pt x="770" y="673"/>
                    <a:pt x="771" y="675"/>
                    <a:pt x="771" y="678"/>
                  </a:cubicBezTo>
                  <a:cubicBezTo>
                    <a:pt x="771" y="680"/>
                    <a:pt x="771" y="681"/>
                    <a:pt x="771" y="683"/>
                  </a:cubicBezTo>
                  <a:cubicBezTo>
                    <a:pt x="771" y="684"/>
                    <a:pt x="770" y="685"/>
                    <a:pt x="770" y="686"/>
                  </a:cubicBezTo>
                  <a:cubicBezTo>
                    <a:pt x="769" y="687"/>
                    <a:pt x="768" y="688"/>
                    <a:pt x="767" y="690"/>
                  </a:cubicBezTo>
                  <a:cubicBezTo>
                    <a:pt x="766" y="691"/>
                    <a:pt x="764" y="693"/>
                    <a:pt x="762" y="695"/>
                  </a:cubicBezTo>
                  <a:cubicBezTo>
                    <a:pt x="760" y="697"/>
                    <a:pt x="759" y="698"/>
                    <a:pt x="757" y="700"/>
                  </a:cubicBezTo>
                  <a:cubicBezTo>
                    <a:pt x="755" y="701"/>
                    <a:pt x="754" y="702"/>
                    <a:pt x="752" y="702"/>
                  </a:cubicBezTo>
                  <a:cubicBezTo>
                    <a:pt x="751" y="703"/>
                    <a:pt x="750" y="703"/>
                    <a:pt x="749" y="703"/>
                  </a:cubicBezTo>
                  <a:cubicBezTo>
                    <a:pt x="748" y="703"/>
                    <a:pt x="747" y="702"/>
                    <a:pt x="746" y="702"/>
                  </a:cubicBezTo>
                  <a:cubicBezTo>
                    <a:pt x="745" y="701"/>
                    <a:pt x="744" y="698"/>
                    <a:pt x="744" y="695"/>
                  </a:cubicBezTo>
                  <a:cubicBezTo>
                    <a:pt x="743" y="692"/>
                    <a:pt x="742" y="688"/>
                    <a:pt x="740" y="683"/>
                  </a:cubicBezTo>
                  <a:cubicBezTo>
                    <a:pt x="738" y="678"/>
                    <a:pt x="736" y="673"/>
                    <a:pt x="733" y="668"/>
                  </a:cubicBezTo>
                  <a:cubicBezTo>
                    <a:pt x="730" y="662"/>
                    <a:pt x="726" y="657"/>
                    <a:pt x="720" y="651"/>
                  </a:cubicBezTo>
                  <a:cubicBezTo>
                    <a:pt x="715" y="646"/>
                    <a:pt x="710" y="642"/>
                    <a:pt x="705" y="640"/>
                  </a:cubicBezTo>
                  <a:cubicBezTo>
                    <a:pt x="701" y="637"/>
                    <a:pt x="696" y="635"/>
                    <a:pt x="691" y="635"/>
                  </a:cubicBezTo>
                  <a:cubicBezTo>
                    <a:pt x="687" y="635"/>
                    <a:pt x="683" y="635"/>
                    <a:pt x="679" y="637"/>
                  </a:cubicBezTo>
                  <a:cubicBezTo>
                    <a:pt x="674" y="639"/>
                    <a:pt x="671" y="641"/>
                    <a:pt x="667" y="644"/>
                  </a:cubicBezTo>
                  <a:cubicBezTo>
                    <a:pt x="663" y="649"/>
                    <a:pt x="660" y="654"/>
                    <a:pt x="659" y="659"/>
                  </a:cubicBezTo>
                  <a:cubicBezTo>
                    <a:pt x="659" y="665"/>
                    <a:pt x="659" y="671"/>
                    <a:pt x="660" y="677"/>
                  </a:cubicBezTo>
                  <a:cubicBezTo>
                    <a:pt x="662" y="683"/>
                    <a:pt x="664" y="689"/>
                    <a:pt x="667" y="696"/>
                  </a:cubicBezTo>
                  <a:cubicBezTo>
                    <a:pt x="670" y="703"/>
                    <a:pt x="673" y="710"/>
                    <a:pt x="676" y="717"/>
                  </a:cubicBezTo>
                  <a:cubicBezTo>
                    <a:pt x="679" y="724"/>
                    <a:pt x="682" y="731"/>
                    <a:pt x="684" y="738"/>
                  </a:cubicBezTo>
                  <a:cubicBezTo>
                    <a:pt x="686" y="746"/>
                    <a:pt x="688" y="753"/>
                    <a:pt x="688" y="760"/>
                  </a:cubicBezTo>
                  <a:cubicBezTo>
                    <a:pt x="688" y="768"/>
                    <a:pt x="687" y="775"/>
                    <a:pt x="684" y="782"/>
                  </a:cubicBezTo>
                  <a:cubicBezTo>
                    <a:pt x="682" y="789"/>
                    <a:pt x="677" y="796"/>
                    <a:pt x="670" y="803"/>
                  </a:cubicBezTo>
                  <a:close/>
                  <a:moveTo>
                    <a:pt x="799" y="1019"/>
                  </a:moveTo>
                  <a:cubicBezTo>
                    <a:pt x="798" y="1020"/>
                    <a:pt x="797" y="1020"/>
                    <a:pt x="796" y="1021"/>
                  </a:cubicBezTo>
                  <a:cubicBezTo>
                    <a:pt x="795" y="1021"/>
                    <a:pt x="794" y="1021"/>
                    <a:pt x="792" y="1020"/>
                  </a:cubicBezTo>
                  <a:cubicBezTo>
                    <a:pt x="791" y="1020"/>
                    <a:pt x="789" y="1019"/>
                    <a:pt x="787" y="1017"/>
                  </a:cubicBezTo>
                  <a:cubicBezTo>
                    <a:pt x="785" y="1016"/>
                    <a:pt x="783" y="1014"/>
                    <a:pt x="781" y="1011"/>
                  </a:cubicBezTo>
                  <a:cubicBezTo>
                    <a:pt x="778" y="1009"/>
                    <a:pt x="776" y="1007"/>
                    <a:pt x="775" y="1005"/>
                  </a:cubicBezTo>
                  <a:cubicBezTo>
                    <a:pt x="774" y="1003"/>
                    <a:pt x="773" y="1001"/>
                    <a:pt x="772" y="1000"/>
                  </a:cubicBezTo>
                  <a:cubicBezTo>
                    <a:pt x="771" y="998"/>
                    <a:pt x="771" y="997"/>
                    <a:pt x="771" y="996"/>
                  </a:cubicBezTo>
                  <a:cubicBezTo>
                    <a:pt x="771" y="995"/>
                    <a:pt x="772" y="994"/>
                    <a:pt x="773" y="993"/>
                  </a:cubicBezTo>
                  <a:lnTo>
                    <a:pt x="794" y="972"/>
                  </a:lnTo>
                  <a:cubicBezTo>
                    <a:pt x="777" y="972"/>
                    <a:pt x="761" y="971"/>
                    <a:pt x="747" y="967"/>
                  </a:cubicBezTo>
                  <a:cubicBezTo>
                    <a:pt x="733" y="963"/>
                    <a:pt x="720" y="956"/>
                    <a:pt x="710" y="945"/>
                  </a:cubicBezTo>
                  <a:cubicBezTo>
                    <a:pt x="698" y="933"/>
                    <a:pt x="690" y="921"/>
                    <a:pt x="686" y="908"/>
                  </a:cubicBezTo>
                  <a:cubicBezTo>
                    <a:pt x="683" y="895"/>
                    <a:pt x="682" y="883"/>
                    <a:pt x="685" y="870"/>
                  </a:cubicBezTo>
                  <a:cubicBezTo>
                    <a:pt x="687" y="857"/>
                    <a:pt x="693" y="844"/>
                    <a:pt x="701" y="831"/>
                  </a:cubicBezTo>
                  <a:cubicBezTo>
                    <a:pt x="709" y="818"/>
                    <a:pt x="719" y="806"/>
                    <a:pt x="730" y="795"/>
                  </a:cubicBezTo>
                  <a:cubicBezTo>
                    <a:pt x="744" y="781"/>
                    <a:pt x="758" y="770"/>
                    <a:pt x="772" y="762"/>
                  </a:cubicBezTo>
                  <a:cubicBezTo>
                    <a:pt x="786" y="754"/>
                    <a:pt x="799" y="749"/>
                    <a:pt x="813" y="747"/>
                  </a:cubicBezTo>
                  <a:cubicBezTo>
                    <a:pt x="827" y="745"/>
                    <a:pt x="840" y="746"/>
                    <a:pt x="852" y="751"/>
                  </a:cubicBezTo>
                  <a:cubicBezTo>
                    <a:pt x="865" y="755"/>
                    <a:pt x="877" y="763"/>
                    <a:pt x="888" y="774"/>
                  </a:cubicBezTo>
                  <a:cubicBezTo>
                    <a:pt x="898" y="783"/>
                    <a:pt x="904" y="794"/>
                    <a:pt x="908" y="806"/>
                  </a:cubicBezTo>
                  <a:cubicBezTo>
                    <a:pt x="911" y="817"/>
                    <a:pt x="913" y="831"/>
                    <a:pt x="913" y="846"/>
                  </a:cubicBezTo>
                  <a:lnTo>
                    <a:pt x="1005" y="754"/>
                  </a:lnTo>
                  <a:cubicBezTo>
                    <a:pt x="1006" y="753"/>
                    <a:pt x="1007" y="753"/>
                    <a:pt x="1008" y="752"/>
                  </a:cubicBezTo>
                  <a:cubicBezTo>
                    <a:pt x="1009" y="752"/>
                    <a:pt x="1011" y="752"/>
                    <a:pt x="1012" y="753"/>
                  </a:cubicBezTo>
                  <a:cubicBezTo>
                    <a:pt x="1014" y="754"/>
                    <a:pt x="1016" y="755"/>
                    <a:pt x="1018" y="756"/>
                  </a:cubicBezTo>
                  <a:cubicBezTo>
                    <a:pt x="1020" y="758"/>
                    <a:pt x="1022" y="760"/>
                    <a:pt x="1025" y="763"/>
                  </a:cubicBezTo>
                  <a:cubicBezTo>
                    <a:pt x="1028" y="766"/>
                    <a:pt x="1030" y="768"/>
                    <a:pt x="1032" y="770"/>
                  </a:cubicBezTo>
                  <a:cubicBezTo>
                    <a:pt x="1034" y="773"/>
                    <a:pt x="1035" y="774"/>
                    <a:pt x="1035" y="776"/>
                  </a:cubicBezTo>
                  <a:cubicBezTo>
                    <a:pt x="1036" y="777"/>
                    <a:pt x="1036" y="779"/>
                    <a:pt x="1036" y="780"/>
                  </a:cubicBezTo>
                  <a:cubicBezTo>
                    <a:pt x="1036" y="781"/>
                    <a:pt x="1035" y="782"/>
                    <a:pt x="1034" y="783"/>
                  </a:cubicBezTo>
                  <a:lnTo>
                    <a:pt x="799" y="1019"/>
                  </a:lnTo>
                  <a:close/>
                  <a:moveTo>
                    <a:pt x="882" y="878"/>
                  </a:moveTo>
                  <a:cubicBezTo>
                    <a:pt x="883" y="860"/>
                    <a:pt x="883" y="845"/>
                    <a:pt x="881" y="832"/>
                  </a:cubicBezTo>
                  <a:cubicBezTo>
                    <a:pt x="879" y="820"/>
                    <a:pt x="874" y="810"/>
                    <a:pt x="866" y="801"/>
                  </a:cubicBezTo>
                  <a:cubicBezTo>
                    <a:pt x="858" y="794"/>
                    <a:pt x="850" y="790"/>
                    <a:pt x="841" y="788"/>
                  </a:cubicBezTo>
                  <a:cubicBezTo>
                    <a:pt x="833" y="786"/>
                    <a:pt x="824" y="787"/>
                    <a:pt x="815" y="789"/>
                  </a:cubicBezTo>
                  <a:cubicBezTo>
                    <a:pt x="806" y="792"/>
                    <a:pt x="797" y="796"/>
                    <a:pt x="788" y="802"/>
                  </a:cubicBezTo>
                  <a:cubicBezTo>
                    <a:pt x="779" y="808"/>
                    <a:pt x="771" y="814"/>
                    <a:pt x="764" y="822"/>
                  </a:cubicBezTo>
                  <a:cubicBezTo>
                    <a:pt x="756" y="830"/>
                    <a:pt x="748" y="838"/>
                    <a:pt x="742" y="847"/>
                  </a:cubicBezTo>
                  <a:cubicBezTo>
                    <a:pt x="736" y="856"/>
                    <a:pt x="731" y="865"/>
                    <a:pt x="728" y="874"/>
                  </a:cubicBezTo>
                  <a:cubicBezTo>
                    <a:pt x="725" y="883"/>
                    <a:pt x="724" y="892"/>
                    <a:pt x="726" y="901"/>
                  </a:cubicBezTo>
                  <a:cubicBezTo>
                    <a:pt x="727" y="909"/>
                    <a:pt x="732" y="917"/>
                    <a:pt x="740" y="925"/>
                  </a:cubicBezTo>
                  <a:cubicBezTo>
                    <a:pt x="743" y="929"/>
                    <a:pt x="748" y="932"/>
                    <a:pt x="752" y="935"/>
                  </a:cubicBezTo>
                  <a:cubicBezTo>
                    <a:pt x="757" y="937"/>
                    <a:pt x="763" y="939"/>
                    <a:pt x="769" y="940"/>
                  </a:cubicBezTo>
                  <a:cubicBezTo>
                    <a:pt x="775" y="942"/>
                    <a:pt x="782" y="942"/>
                    <a:pt x="790" y="943"/>
                  </a:cubicBezTo>
                  <a:cubicBezTo>
                    <a:pt x="798" y="943"/>
                    <a:pt x="808" y="942"/>
                    <a:pt x="818" y="941"/>
                  </a:cubicBezTo>
                  <a:lnTo>
                    <a:pt x="882" y="878"/>
                  </a:lnTo>
                  <a:close/>
                  <a:moveTo>
                    <a:pt x="1077" y="1124"/>
                  </a:moveTo>
                  <a:cubicBezTo>
                    <a:pt x="1073" y="1129"/>
                    <a:pt x="1068" y="1131"/>
                    <a:pt x="1064" y="1130"/>
                  </a:cubicBezTo>
                  <a:cubicBezTo>
                    <a:pt x="1060" y="1130"/>
                    <a:pt x="1056" y="1128"/>
                    <a:pt x="1053" y="1125"/>
                  </a:cubicBezTo>
                  <a:lnTo>
                    <a:pt x="948" y="1021"/>
                  </a:lnTo>
                  <a:cubicBezTo>
                    <a:pt x="940" y="1030"/>
                    <a:pt x="932" y="1038"/>
                    <a:pt x="927" y="1047"/>
                  </a:cubicBezTo>
                  <a:cubicBezTo>
                    <a:pt x="922" y="1056"/>
                    <a:pt x="919" y="1065"/>
                    <a:pt x="918" y="1074"/>
                  </a:cubicBezTo>
                  <a:cubicBezTo>
                    <a:pt x="917" y="1084"/>
                    <a:pt x="918" y="1093"/>
                    <a:pt x="922" y="1102"/>
                  </a:cubicBezTo>
                  <a:cubicBezTo>
                    <a:pt x="926" y="1111"/>
                    <a:pt x="933" y="1121"/>
                    <a:pt x="943" y="1131"/>
                  </a:cubicBezTo>
                  <a:cubicBezTo>
                    <a:pt x="950" y="1138"/>
                    <a:pt x="958" y="1144"/>
                    <a:pt x="965" y="1149"/>
                  </a:cubicBezTo>
                  <a:cubicBezTo>
                    <a:pt x="972" y="1154"/>
                    <a:pt x="978" y="1157"/>
                    <a:pt x="984" y="1160"/>
                  </a:cubicBezTo>
                  <a:cubicBezTo>
                    <a:pt x="990" y="1163"/>
                    <a:pt x="995" y="1165"/>
                    <a:pt x="999" y="1167"/>
                  </a:cubicBezTo>
                  <a:cubicBezTo>
                    <a:pt x="1003" y="1168"/>
                    <a:pt x="1006" y="1170"/>
                    <a:pt x="1007" y="1171"/>
                  </a:cubicBezTo>
                  <a:cubicBezTo>
                    <a:pt x="1008" y="1172"/>
                    <a:pt x="1009" y="1173"/>
                    <a:pt x="1009" y="1174"/>
                  </a:cubicBezTo>
                  <a:cubicBezTo>
                    <a:pt x="1009" y="1175"/>
                    <a:pt x="1009" y="1176"/>
                    <a:pt x="1008" y="1177"/>
                  </a:cubicBezTo>
                  <a:cubicBezTo>
                    <a:pt x="1008" y="1178"/>
                    <a:pt x="1007" y="1180"/>
                    <a:pt x="1006" y="1182"/>
                  </a:cubicBezTo>
                  <a:cubicBezTo>
                    <a:pt x="1005" y="1183"/>
                    <a:pt x="1003" y="1185"/>
                    <a:pt x="1001" y="1187"/>
                  </a:cubicBezTo>
                  <a:cubicBezTo>
                    <a:pt x="999" y="1189"/>
                    <a:pt x="998" y="1190"/>
                    <a:pt x="997" y="1191"/>
                  </a:cubicBezTo>
                  <a:cubicBezTo>
                    <a:pt x="995" y="1192"/>
                    <a:pt x="994" y="1193"/>
                    <a:pt x="993" y="1194"/>
                  </a:cubicBezTo>
                  <a:cubicBezTo>
                    <a:pt x="992" y="1194"/>
                    <a:pt x="991" y="1195"/>
                    <a:pt x="990" y="1195"/>
                  </a:cubicBezTo>
                  <a:cubicBezTo>
                    <a:pt x="989" y="1195"/>
                    <a:pt x="988" y="1196"/>
                    <a:pt x="986" y="1196"/>
                  </a:cubicBezTo>
                  <a:cubicBezTo>
                    <a:pt x="985" y="1196"/>
                    <a:pt x="982" y="1195"/>
                    <a:pt x="977" y="1193"/>
                  </a:cubicBezTo>
                  <a:cubicBezTo>
                    <a:pt x="973" y="1191"/>
                    <a:pt x="967" y="1189"/>
                    <a:pt x="961" y="1185"/>
                  </a:cubicBezTo>
                  <a:cubicBezTo>
                    <a:pt x="954" y="1181"/>
                    <a:pt x="947" y="1177"/>
                    <a:pt x="939" y="1171"/>
                  </a:cubicBezTo>
                  <a:cubicBezTo>
                    <a:pt x="931" y="1166"/>
                    <a:pt x="924" y="1159"/>
                    <a:pt x="916" y="1152"/>
                  </a:cubicBezTo>
                  <a:cubicBezTo>
                    <a:pt x="903" y="1138"/>
                    <a:pt x="893" y="1125"/>
                    <a:pt x="887" y="1112"/>
                  </a:cubicBezTo>
                  <a:cubicBezTo>
                    <a:pt x="881" y="1098"/>
                    <a:pt x="878" y="1084"/>
                    <a:pt x="879" y="1071"/>
                  </a:cubicBezTo>
                  <a:cubicBezTo>
                    <a:pt x="879" y="1057"/>
                    <a:pt x="883" y="1043"/>
                    <a:pt x="891" y="1028"/>
                  </a:cubicBezTo>
                  <a:cubicBezTo>
                    <a:pt x="898" y="1014"/>
                    <a:pt x="909" y="1000"/>
                    <a:pt x="923" y="985"/>
                  </a:cubicBezTo>
                  <a:cubicBezTo>
                    <a:pt x="937" y="972"/>
                    <a:pt x="951" y="961"/>
                    <a:pt x="965" y="954"/>
                  </a:cubicBezTo>
                  <a:cubicBezTo>
                    <a:pt x="980" y="946"/>
                    <a:pt x="994" y="942"/>
                    <a:pt x="1008" y="941"/>
                  </a:cubicBezTo>
                  <a:cubicBezTo>
                    <a:pt x="1023" y="940"/>
                    <a:pt x="1037" y="943"/>
                    <a:pt x="1050" y="948"/>
                  </a:cubicBezTo>
                  <a:cubicBezTo>
                    <a:pt x="1064" y="953"/>
                    <a:pt x="1076" y="962"/>
                    <a:pt x="1088" y="973"/>
                  </a:cubicBezTo>
                  <a:cubicBezTo>
                    <a:pt x="1100" y="986"/>
                    <a:pt x="1109" y="999"/>
                    <a:pt x="1114" y="1011"/>
                  </a:cubicBezTo>
                  <a:cubicBezTo>
                    <a:pt x="1119" y="1024"/>
                    <a:pt x="1120" y="1037"/>
                    <a:pt x="1119" y="1049"/>
                  </a:cubicBezTo>
                  <a:cubicBezTo>
                    <a:pt x="1118" y="1062"/>
                    <a:pt x="1114" y="1074"/>
                    <a:pt x="1108" y="1086"/>
                  </a:cubicBezTo>
                  <a:cubicBezTo>
                    <a:pt x="1101" y="1097"/>
                    <a:pt x="1093" y="1108"/>
                    <a:pt x="1083" y="1119"/>
                  </a:cubicBezTo>
                  <a:lnTo>
                    <a:pt x="1077" y="1124"/>
                  </a:lnTo>
                  <a:close/>
                  <a:moveTo>
                    <a:pt x="1057" y="1086"/>
                  </a:moveTo>
                  <a:cubicBezTo>
                    <a:pt x="1072" y="1071"/>
                    <a:pt x="1081" y="1056"/>
                    <a:pt x="1082" y="1040"/>
                  </a:cubicBezTo>
                  <a:cubicBezTo>
                    <a:pt x="1084" y="1024"/>
                    <a:pt x="1078" y="1009"/>
                    <a:pt x="1064" y="995"/>
                  </a:cubicBezTo>
                  <a:cubicBezTo>
                    <a:pt x="1056" y="988"/>
                    <a:pt x="1049" y="983"/>
                    <a:pt x="1040" y="980"/>
                  </a:cubicBezTo>
                  <a:cubicBezTo>
                    <a:pt x="1032" y="977"/>
                    <a:pt x="1024" y="976"/>
                    <a:pt x="1016" y="977"/>
                  </a:cubicBezTo>
                  <a:cubicBezTo>
                    <a:pt x="1008" y="978"/>
                    <a:pt x="1000" y="980"/>
                    <a:pt x="992" y="984"/>
                  </a:cubicBezTo>
                  <a:cubicBezTo>
                    <a:pt x="984" y="988"/>
                    <a:pt x="976" y="993"/>
                    <a:pt x="970" y="999"/>
                  </a:cubicBezTo>
                  <a:lnTo>
                    <a:pt x="1057" y="1086"/>
                  </a:lnTo>
                  <a:close/>
                  <a:moveTo>
                    <a:pt x="1173" y="1393"/>
                  </a:moveTo>
                  <a:cubicBezTo>
                    <a:pt x="1172" y="1394"/>
                    <a:pt x="1171" y="1394"/>
                    <a:pt x="1170" y="1394"/>
                  </a:cubicBezTo>
                  <a:cubicBezTo>
                    <a:pt x="1169" y="1395"/>
                    <a:pt x="1168" y="1394"/>
                    <a:pt x="1166" y="1394"/>
                  </a:cubicBezTo>
                  <a:cubicBezTo>
                    <a:pt x="1164" y="1393"/>
                    <a:pt x="1163" y="1392"/>
                    <a:pt x="1161" y="1391"/>
                  </a:cubicBezTo>
                  <a:cubicBezTo>
                    <a:pt x="1158" y="1389"/>
                    <a:pt x="1156" y="1387"/>
                    <a:pt x="1153" y="1384"/>
                  </a:cubicBezTo>
                  <a:cubicBezTo>
                    <a:pt x="1150" y="1381"/>
                    <a:pt x="1148" y="1378"/>
                    <a:pt x="1146" y="1376"/>
                  </a:cubicBezTo>
                  <a:cubicBezTo>
                    <a:pt x="1145" y="1374"/>
                    <a:pt x="1143" y="1372"/>
                    <a:pt x="1143" y="1371"/>
                  </a:cubicBezTo>
                  <a:cubicBezTo>
                    <a:pt x="1142" y="1369"/>
                    <a:pt x="1142" y="1368"/>
                    <a:pt x="1142" y="1367"/>
                  </a:cubicBezTo>
                  <a:cubicBezTo>
                    <a:pt x="1142" y="1366"/>
                    <a:pt x="1143" y="1365"/>
                    <a:pt x="1144" y="1364"/>
                  </a:cubicBezTo>
                  <a:lnTo>
                    <a:pt x="1237" y="1270"/>
                  </a:lnTo>
                  <a:cubicBezTo>
                    <a:pt x="1246" y="1261"/>
                    <a:pt x="1253" y="1253"/>
                    <a:pt x="1257" y="1246"/>
                  </a:cubicBezTo>
                  <a:cubicBezTo>
                    <a:pt x="1261" y="1239"/>
                    <a:pt x="1264" y="1233"/>
                    <a:pt x="1265" y="1226"/>
                  </a:cubicBezTo>
                  <a:cubicBezTo>
                    <a:pt x="1266" y="1219"/>
                    <a:pt x="1266" y="1213"/>
                    <a:pt x="1264" y="1206"/>
                  </a:cubicBezTo>
                  <a:cubicBezTo>
                    <a:pt x="1261" y="1200"/>
                    <a:pt x="1258" y="1194"/>
                    <a:pt x="1252" y="1188"/>
                  </a:cubicBezTo>
                  <a:cubicBezTo>
                    <a:pt x="1245" y="1181"/>
                    <a:pt x="1235" y="1176"/>
                    <a:pt x="1222" y="1174"/>
                  </a:cubicBezTo>
                  <a:cubicBezTo>
                    <a:pt x="1210" y="1172"/>
                    <a:pt x="1194" y="1172"/>
                    <a:pt x="1176" y="1174"/>
                  </a:cubicBezTo>
                  <a:lnTo>
                    <a:pt x="1065" y="1285"/>
                  </a:lnTo>
                  <a:cubicBezTo>
                    <a:pt x="1064" y="1286"/>
                    <a:pt x="1063" y="1286"/>
                    <a:pt x="1062" y="1287"/>
                  </a:cubicBezTo>
                  <a:cubicBezTo>
                    <a:pt x="1061" y="1287"/>
                    <a:pt x="1060" y="1287"/>
                    <a:pt x="1058" y="1286"/>
                  </a:cubicBezTo>
                  <a:cubicBezTo>
                    <a:pt x="1057" y="1285"/>
                    <a:pt x="1055" y="1284"/>
                    <a:pt x="1053" y="1283"/>
                  </a:cubicBezTo>
                  <a:cubicBezTo>
                    <a:pt x="1051" y="1281"/>
                    <a:pt x="1048" y="1279"/>
                    <a:pt x="1045" y="1276"/>
                  </a:cubicBezTo>
                  <a:cubicBezTo>
                    <a:pt x="1042" y="1273"/>
                    <a:pt x="1040" y="1270"/>
                    <a:pt x="1038" y="1268"/>
                  </a:cubicBezTo>
                  <a:cubicBezTo>
                    <a:pt x="1037" y="1266"/>
                    <a:pt x="1036" y="1264"/>
                    <a:pt x="1035" y="1263"/>
                  </a:cubicBezTo>
                  <a:cubicBezTo>
                    <a:pt x="1034" y="1261"/>
                    <a:pt x="1034" y="1260"/>
                    <a:pt x="1034" y="1259"/>
                  </a:cubicBezTo>
                  <a:cubicBezTo>
                    <a:pt x="1035" y="1258"/>
                    <a:pt x="1035" y="1257"/>
                    <a:pt x="1036" y="1256"/>
                  </a:cubicBezTo>
                  <a:lnTo>
                    <a:pt x="1195" y="1097"/>
                  </a:lnTo>
                  <a:cubicBezTo>
                    <a:pt x="1196" y="1096"/>
                    <a:pt x="1197" y="1095"/>
                    <a:pt x="1198" y="1095"/>
                  </a:cubicBezTo>
                  <a:cubicBezTo>
                    <a:pt x="1199" y="1095"/>
                    <a:pt x="1200" y="1095"/>
                    <a:pt x="1202" y="1095"/>
                  </a:cubicBezTo>
                  <a:cubicBezTo>
                    <a:pt x="1204" y="1096"/>
                    <a:pt x="1205" y="1097"/>
                    <a:pt x="1207" y="1098"/>
                  </a:cubicBezTo>
                  <a:cubicBezTo>
                    <a:pt x="1209" y="1100"/>
                    <a:pt x="1211" y="1102"/>
                    <a:pt x="1214" y="1104"/>
                  </a:cubicBezTo>
                  <a:cubicBezTo>
                    <a:pt x="1216" y="1107"/>
                    <a:pt x="1219" y="1109"/>
                    <a:pt x="1220" y="1111"/>
                  </a:cubicBezTo>
                  <a:cubicBezTo>
                    <a:pt x="1222" y="1113"/>
                    <a:pt x="1223" y="1115"/>
                    <a:pt x="1223" y="1116"/>
                  </a:cubicBezTo>
                  <a:cubicBezTo>
                    <a:pt x="1223" y="1118"/>
                    <a:pt x="1224" y="1119"/>
                    <a:pt x="1223" y="1120"/>
                  </a:cubicBezTo>
                  <a:cubicBezTo>
                    <a:pt x="1223" y="1121"/>
                    <a:pt x="1222" y="1122"/>
                    <a:pt x="1221" y="1123"/>
                  </a:cubicBezTo>
                  <a:lnTo>
                    <a:pt x="1200" y="1144"/>
                  </a:lnTo>
                  <a:cubicBezTo>
                    <a:pt x="1219" y="1143"/>
                    <a:pt x="1236" y="1145"/>
                    <a:pt x="1249" y="1149"/>
                  </a:cubicBezTo>
                  <a:cubicBezTo>
                    <a:pt x="1263" y="1153"/>
                    <a:pt x="1274" y="1160"/>
                    <a:pt x="1283" y="1169"/>
                  </a:cubicBezTo>
                  <a:cubicBezTo>
                    <a:pt x="1294" y="1179"/>
                    <a:pt x="1301" y="1190"/>
                    <a:pt x="1305" y="1201"/>
                  </a:cubicBezTo>
                  <a:cubicBezTo>
                    <a:pt x="1308" y="1212"/>
                    <a:pt x="1309" y="1223"/>
                    <a:pt x="1308" y="1233"/>
                  </a:cubicBezTo>
                  <a:cubicBezTo>
                    <a:pt x="1306" y="1243"/>
                    <a:pt x="1302" y="1254"/>
                    <a:pt x="1296" y="1264"/>
                  </a:cubicBezTo>
                  <a:cubicBezTo>
                    <a:pt x="1290" y="1274"/>
                    <a:pt x="1281" y="1284"/>
                    <a:pt x="1270" y="1296"/>
                  </a:cubicBezTo>
                  <a:lnTo>
                    <a:pt x="1173" y="1393"/>
                  </a:lnTo>
                  <a:close/>
                  <a:moveTo>
                    <a:pt x="1642" y="1440"/>
                  </a:moveTo>
                  <a:cubicBezTo>
                    <a:pt x="1640" y="1442"/>
                    <a:pt x="1638" y="1444"/>
                    <a:pt x="1636" y="1445"/>
                  </a:cubicBezTo>
                  <a:cubicBezTo>
                    <a:pt x="1634" y="1447"/>
                    <a:pt x="1633" y="1447"/>
                    <a:pt x="1631" y="1448"/>
                  </a:cubicBezTo>
                  <a:cubicBezTo>
                    <a:pt x="1629" y="1448"/>
                    <a:pt x="1628" y="1448"/>
                    <a:pt x="1627" y="1448"/>
                  </a:cubicBezTo>
                  <a:cubicBezTo>
                    <a:pt x="1626" y="1448"/>
                    <a:pt x="1624" y="1447"/>
                    <a:pt x="1624" y="1446"/>
                  </a:cubicBezTo>
                  <a:lnTo>
                    <a:pt x="1540" y="1363"/>
                  </a:lnTo>
                  <a:lnTo>
                    <a:pt x="1462" y="1440"/>
                  </a:lnTo>
                  <a:lnTo>
                    <a:pt x="1541" y="1520"/>
                  </a:lnTo>
                  <a:cubicBezTo>
                    <a:pt x="1542" y="1520"/>
                    <a:pt x="1543" y="1521"/>
                    <a:pt x="1543" y="1523"/>
                  </a:cubicBezTo>
                  <a:cubicBezTo>
                    <a:pt x="1543" y="1524"/>
                    <a:pt x="1543" y="1525"/>
                    <a:pt x="1543" y="1527"/>
                  </a:cubicBezTo>
                  <a:cubicBezTo>
                    <a:pt x="1543" y="1528"/>
                    <a:pt x="1542" y="1530"/>
                    <a:pt x="1540" y="1532"/>
                  </a:cubicBezTo>
                  <a:cubicBezTo>
                    <a:pt x="1539" y="1533"/>
                    <a:pt x="1537" y="1536"/>
                    <a:pt x="1535" y="1538"/>
                  </a:cubicBezTo>
                  <a:cubicBezTo>
                    <a:pt x="1533" y="1540"/>
                    <a:pt x="1530" y="1542"/>
                    <a:pt x="1529" y="1544"/>
                  </a:cubicBezTo>
                  <a:cubicBezTo>
                    <a:pt x="1527" y="1545"/>
                    <a:pt x="1525" y="1546"/>
                    <a:pt x="1524" y="1546"/>
                  </a:cubicBezTo>
                  <a:cubicBezTo>
                    <a:pt x="1522" y="1547"/>
                    <a:pt x="1520" y="1547"/>
                    <a:pt x="1519" y="1546"/>
                  </a:cubicBezTo>
                  <a:cubicBezTo>
                    <a:pt x="1518" y="1546"/>
                    <a:pt x="1517" y="1546"/>
                    <a:pt x="1516" y="1545"/>
                  </a:cubicBezTo>
                  <a:lnTo>
                    <a:pt x="1437" y="1466"/>
                  </a:lnTo>
                  <a:lnTo>
                    <a:pt x="1342" y="1561"/>
                  </a:lnTo>
                  <a:cubicBezTo>
                    <a:pt x="1341" y="1562"/>
                    <a:pt x="1340" y="1562"/>
                    <a:pt x="1338" y="1563"/>
                  </a:cubicBezTo>
                  <a:cubicBezTo>
                    <a:pt x="1337" y="1563"/>
                    <a:pt x="1336" y="1563"/>
                    <a:pt x="1334" y="1562"/>
                  </a:cubicBezTo>
                  <a:cubicBezTo>
                    <a:pt x="1333" y="1561"/>
                    <a:pt x="1331" y="1560"/>
                    <a:pt x="1329" y="1558"/>
                  </a:cubicBezTo>
                  <a:cubicBezTo>
                    <a:pt x="1326" y="1557"/>
                    <a:pt x="1324" y="1554"/>
                    <a:pt x="1321" y="1551"/>
                  </a:cubicBezTo>
                  <a:cubicBezTo>
                    <a:pt x="1318" y="1549"/>
                    <a:pt x="1316" y="1546"/>
                    <a:pt x="1314" y="1544"/>
                  </a:cubicBezTo>
                  <a:cubicBezTo>
                    <a:pt x="1312" y="1541"/>
                    <a:pt x="1311" y="1539"/>
                    <a:pt x="1310" y="1538"/>
                  </a:cubicBezTo>
                  <a:cubicBezTo>
                    <a:pt x="1309" y="1536"/>
                    <a:pt x="1309" y="1535"/>
                    <a:pt x="1309" y="1534"/>
                  </a:cubicBezTo>
                  <a:cubicBezTo>
                    <a:pt x="1310" y="1532"/>
                    <a:pt x="1310" y="1531"/>
                    <a:pt x="1311" y="1531"/>
                  </a:cubicBezTo>
                  <a:lnTo>
                    <a:pt x="1523" y="1319"/>
                  </a:lnTo>
                  <a:cubicBezTo>
                    <a:pt x="1527" y="1314"/>
                    <a:pt x="1532" y="1312"/>
                    <a:pt x="1536" y="1313"/>
                  </a:cubicBezTo>
                  <a:cubicBezTo>
                    <a:pt x="1540" y="1313"/>
                    <a:pt x="1544" y="1315"/>
                    <a:pt x="1547" y="1318"/>
                  </a:cubicBezTo>
                  <a:lnTo>
                    <a:pt x="1649" y="1421"/>
                  </a:lnTo>
                  <a:cubicBezTo>
                    <a:pt x="1650" y="1421"/>
                    <a:pt x="1651" y="1422"/>
                    <a:pt x="1651" y="1424"/>
                  </a:cubicBezTo>
                  <a:cubicBezTo>
                    <a:pt x="1651" y="1425"/>
                    <a:pt x="1651" y="1426"/>
                    <a:pt x="1651" y="1428"/>
                  </a:cubicBezTo>
                  <a:cubicBezTo>
                    <a:pt x="1650" y="1430"/>
                    <a:pt x="1649" y="1431"/>
                    <a:pt x="1648" y="1433"/>
                  </a:cubicBezTo>
                  <a:cubicBezTo>
                    <a:pt x="1646" y="1435"/>
                    <a:pt x="1645" y="1437"/>
                    <a:pt x="1642" y="1440"/>
                  </a:cubicBezTo>
                  <a:close/>
                  <a:moveTo>
                    <a:pt x="1719" y="1641"/>
                  </a:moveTo>
                  <a:cubicBezTo>
                    <a:pt x="1716" y="1644"/>
                    <a:pt x="1714" y="1646"/>
                    <a:pt x="1712" y="1648"/>
                  </a:cubicBezTo>
                  <a:cubicBezTo>
                    <a:pt x="1710" y="1649"/>
                    <a:pt x="1709" y="1651"/>
                    <a:pt x="1707" y="1651"/>
                  </a:cubicBezTo>
                  <a:cubicBezTo>
                    <a:pt x="1706" y="1652"/>
                    <a:pt x="1705" y="1652"/>
                    <a:pt x="1704" y="1652"/>
                  </a:cubicBezTo>
                  <a:cubicBezTo>
                    <a:pt x="1703" y="1652"/>
                    <a:pt x="1702" y="1652"/>
                    <a:pt x="1701" y="1651"/>
                  </a:cubicBezTo>
                  <a:cubicBezTo>
                    <a:pt x="1700" y="1650"/>
                    <a:pt x="1699" y="1648"/>
                    <a:pt x="1698" y="1646"/>
                  </a:cubicBezTo>
                  <a:cubicBezTo>
                    <a:pt x="1697" y="1645"/>
                    <a:pt x="1696" y="1643"/>
                    <a:pt x="1695" y="1640"/>
                  </a:cubicBezTo>
                  <a:cubicBezTo>
                    <a:pt x="1694" y="1638"/>
                    <a:pt x="1692" y="1636"/>
                    <a:pt x="1691" y="1633"/>
                  </a:cubicBezTo>
                  <a:cubicBezTo>
                    <a:pt x="1689" y="1630"/>
                    <a:pt x="1687" y="1628"/>
                    <a:pt x="1685" y="1625"/>
                  </a:cubicBezTo>
                  <a:cubicBezTo>
                    <a:pt x="1682" y="1622"/>
                    <a:pt x="1678" y="1620"/>
                    <a:pt x="1674" y="1619"/>
                  </a:cubicBezTo>
                  <a:cubicBezTo>
                    <a:pt x="1670" y="1617"/>
                    <a:pt x="1665" y="1616"/>
                    <a:pt x="1659" y="1615"/>
                  </a:cubicBezTo>
                  <a:cubicBezTo>
                    <a:pt x="1654" y="1615"/>
                    <a:pt x="1647" y="1615"/>
                    <a:pt x="1639" y="1616"/>
                  </a:cubicBezTo>
                  <a:cubicBezTo>
                    <a:pt x="1631" y="1617"/>
                    <a:pt x="1622" y="1619"/>
                    <a:pt x="1611" y="1622"/>
                  </a:cubicBezTo>
                  <a:lnTo>
                    <a:pt x="1506" y="1726"/>
                  </a:lnTo>
                  <a:cubicBezTo>
                    <a:pt x="1506" y="1727"/>
                    <a:pt x="1504" y="1728"/>
                    <a:pt x="1503" y="1728"/>
                  </a:cubicBezTo>
                  <a:cubicBezTo>
                    <a:pt x="1502" y="1728"/>
                    <a:pt x="1501" y="1728"/>
                    <a:pt x="1499" y="1727"/>
                  </a:cubicBezTo>
                  <a:cubicBezTo>
                    <a:pt x="1498" y="1727"/>
                    <a:pt x="1496" y="1726"/>
                    <a:pt x="1494" y="1724"/>
                  </a:cubicBezTo>
                  <a:cubicBezTo>
                    <a:pt x="1492" y="1722"/>
                    <a:pt x="1489" y="1720"/>
                    <a:pt x="1486" y="1717"/>
                  </a:cubicBezTo>
                  <a:cubicBezTo>
                    <a:pt x="1483" y="1714"/>
                    <a:pt x="1481" y="1712"/>
                    <a:pt x="1480" y="1710"/>
                  </a:cubicBezTo>
                  <a:cubicBezTo>
                    <a:pt x="1478" y="1707"/>
                    <a:pt x="1477" y="1706"/>
                    <a:pt x="1476" y="1704"/>
                  </a:cubicBezTo>
                  <a:cubicBezTo>
                    <a:pt x="1475" y="1702"/>
                    <a:pt x="1475" y="1701"/>
                    <a:pt x="1476" y="1700"/>
                  </a:cubicBezTo>
                  <a:cubicBezTo>
                    <a:pt x="1476" y="1699"/>
                    <a:pt x="1476" y="1698"/>
                    <a:pt x="1477" y="1697"/>
                  </a:cubicBezTo>
                  <a:lnTo>
                    <a:pt x="1636" y="1538"/>
                  </a:lnTo>
                  <a:cubicBezTo>
                    <a:pt x="1637" y="1537"/>
                    <a:pt x="1638" y="1536"/>
                    <a:pt x="1639" y="1536"/>
                  </a:cubicBezTo>
                  <a:cubicBezTo>
                    <a:pt x="1640" y="1536"/>
                    <a:pt x="1642" y="1536"/>
                    <a:pt x="1643" y="1536"/>
                  </a:cubicBezTo>
                  <a:cubicBezTo>
                    <a:pt x="1645" y="1537"/>
                    <a:pt x="1646" y="1538"/>
                    <a:pt x="1648" y="1539"/>
                  </a:cubicBezTo>
                  <a:cubicBezTo>
                    <a:pt x="1650" y="1541"/>
                    <a:pt x="1652" y="1543"/>
                    <a:pt x="1655" y="1546"/>
                  </a:cubicBezTo>
                  <a:cubicBezTo>
                    <a:pt x="1658" y="1548"/>
                    <a:pt x="1660" y="1551"/>
                    <a:pt x="1661" y="1552"/>
                  </a:cubicBezTo>
                  <a:cubicBezTo>
                    <a:pt x="1663" y="1554"/>
                    <a:pt x="1664" y="1556"/>
                    <a:pt x="1664" y="1557"/>
                  </a:cubicBezTo>
                  <a:cubicBezTo>
                    <a:pt x="1665" y="1559"/>
                    <a:pt x="1665" y="1560"/>
                    <a:pt x="1665" y="1561"/>
                  </a:cubicBezTo>
                  <a:cubicBezTo>
                    <a:pt x="1664" y="1562"/>
                    <a:pt x="1664" y="1563"/>
                    <a:pt x="1663" y="1564"/>
                  </a:cubicBezTo>
                  <a:lnTo>
                    <a:pt x="1640" y="1587"/>
                  </a:lnTo>
                  <a:cubicBezTo>
                    <a:pt x="1650" y="1585"/>
                    <a:pt x="1660" y="1584"/>
                    <a:pt x="1667" y="1584"/>
                  </a:cubicBezTo>
                  <a:cubicBezTo>
                    <a:pt x="1675" y="1584"/>
                    <a:pt x="1682" y="1584"/>
                    <a:pt x="1688" y="1586"/>
                  </a:cubicBezTo>
                  <a:cubicBezTo>
                    <a:pt x="1693" y="1587"/>
                    <a:pt x="1698" y="1588"/>
                    <a:pt x="1703" y="1591"/>
                  </a:cubicBezTo>
                  <a:cubicBezTo>
                    <a:pt x="1707" y="1593"/>
                    <a:pt x="1711" y="1596"/>
                    <a:pt x="1714" y="1600"/>
                  </a:cubicBezTo>
                  <a:cubicBezTo>
                    <a:pt x="1716" y="1601"/>
                    <a:pt x="1717" y="1603"/>
                    <a:pt x="1719" y="1605"/>
                  </a:cubicBezTo>
                  <a:cubicBezTo>
                    <a:pt x="1721" y="1607"/>
                    <a:pt x="1723" y="1610"/>
                    <a:pt x="1724" y="1612"/>
                  </a:cubicBezTo>
                  <a:cubicBezTo>
                    <a:pt x="1726" y="1615"/>
                    <a:pt x="1727" y="1617"/>
                    <a:pt x="1728" y="1620"/>
                  </a:cubicBezTo>
                  <a:cubicBezTo>
                    <a:pt x="1730" y="1622"/>
                    <a:pt x="1730" y="1624"/>
                    <a:pt x="1730" y="1625"/>
                  </a:cubicBezTo>
                  <a:cubicBezTo>
                    <a:pt x="1730" y="1626"/>
                    <a:pt x="1730" y="1627"/>
                    <a:pt x="1730" y="1628"/>
                  </a:cubicBezTo>
                  <a:cubicBezTo>
                    <a:pt x="1730" y="1629"/>
                    <a:pt x="1729" y="1630"/>
                    <a:pt x="1729" y="1631"/>
                  </a:cubicBezTo>
                  <a:cubicBezTo>
                    <a:pt x="1728" y="1632"/>
                    <a:pt x="1727" y="1633"/>
                    <a:pt x="1725" y="1635"/>
                  </a:cubicBezTo>
                  <a:cubicBezTo>
                    <a:pt x="1724" y="1636"/>
                    <a:pt x="1722" y="1639"/>
                    <a:pt x="1719" y="1641"/>
                  </a:cubicBezTo>
                  <a:close/>
                  <a:moveTo>
                    <a:pt x="1631" y="1851"/>
                  </a:moveTo>
                  <a:cubicBezTo>
                    <a:pt x="1630" y="1852"/>
                    <a:pt x="1629" y="1852"/>
                    <a:pt x="1628" y="1852"/>
                  </a:cubicBezTo>
                  <a:cubicBezTo>
                    <a:pt x="1627" y="1853"/>
                    <a:pt x="1625" y="1852"/>
                    <a:pt x="1624" y="1852"/>
                  </a:cubicBezTo>
                  <a:cubicBezTo>
                    <a:pt x="1622" y="1851"/>
                    <a:pt x="1620" y="1850"/>
                    <a:pt x="1618" y="1848"/>
                  </a:cubicBezTo>
                  <a:cubicBezTo>
                    <a:pt x="1616" y="1847"/>
                    <a:pt x="1614" y="1844"/>
                    <a:pt x="1611" y="1841"/>
                  </a:cubicBezTo>
                  <a:cubicBezTo>
                    <a:pt x="1608" y="1839"/>
                    <a:pt x="1606" y="1836"/>
                    <a:pt x="1604" y="1834"/>
                  </a:cubicBezTo>
                  <a:cubicBezTo>
                    <a:pt x="1602" y="1832"/>
                    <a:pt x="1601" y="1830"/>
                    <a:pt x="1601" y="1828"/>
                  </a:cubicBezTo>
                  <a:cubicBezTo>
                    <a:pt x="1600" y="1827"/>
                    <a:pt x="1600" y="1826"/>
                    <a:pt x="1600" y="1824"/>
                  </a:cubicBezTo>
                  <a:cubicBezTo>
                    <a:pt x="1600" y="1823"/>
                    <a:pt x="1601" y="1822"/>
                    <a:pt x="1602" y="1821"/>
                  </a:cubicBezTo>
                  <a:lnTo>
                    <a:pt x="1761" y="1662"/>
                  </a:lnTo>
                  <a:cubicBezTo>
                    <a:pt x="1762" y="1662"/>
                    <a:pt x="1763" y="1661"/>
                    <a:pt x="1764" y="1661"/>
                  </a:cubicBezTo>
                  <a:cubicBezTo>
                    <a:pt x="1765" y="1660"/>
                    <a:pt x="1766" y="1661"/>
                    <a:pt x="1768" y="1661"/>
                  </a:cubicBezTo>
                  <a:cubicBezTo>
                    <a:pt x="1769" y="1662"/>
                    <a:pt x="1771" y="1663"/>
                    <a:pt x="1773" y="1665"/>
                  </a:cubicBezTo>
                  <a:cubicBezTo>
                    <a:pt x="1776" y="1666"/>
                    <a:pt x="1778" y="1669"/>
                    <a:pt x="1781" y="1671"/>
                  </a:cubicBezTo>
                  <a:cubicBezTo>
                    <a:pt x="1784" y="1674"/>
                    <a:pt x="1786" y="1677"/>
                    <a:pt x="1788" y="1679"/>
                  </a:cubicBezTo>
                  <a:cubicBezTo>
                    <a:pt x="1789" y="1681"/>
                    <a:pt x="1790" y="1683"/>
                    <a:pt x="1791" y="1684"/>
                  </a:cubicBezTo>
                  <a:cubicBezTo>
                    <a:pt x="1792" y="1686"/>
                    <a:pt x="1792" y="1687"/>
                    <a:pt x="1792" y="1689"/>
                  </a:cubicBezTo>
                  <a:cubicBezTo>
                    <a:pt x="1791" y="1690"/>
                    <a:pt x="1791" y="1691"/>
                    <a:pt x="1790" y="1692"/>
                  </a:cubicBezTo>
                  <a:lnTo>
                    <a:pt x="1631" y="1851"/>
                  </a:lnTo>
                  <a:close/>
                  <a:moveTo>
                    <a:pt x="1847" y="1641"/>
                  </a:moveTo>
                  <a:cubicBezTo>
                    <a:pt x="1840" y="1648"/>
                    <a:pt x="1834" y="1651"/>
                    <a:pt x="1829" y="1651"/>
                  </a:cubicBezTo>
                  <a:cubicBezTo>
                    <a:pt x="1824" y="1651"/>
                    <a:pt x="1818" y="1648"/>
                    <a:pt x="1811" y="1641"/>
                  </a:cubicBezTo>
                  <a:cubicBezTo>
                    <a:pt x="1804" y="1634"/>
                    <a:pt x="1801" y="1628"/>
                    <a:pt x="1801" y="1623"/>
                  </a:cubicBezTo>
                  <a:cubicBezTo>
                    <a:pt x="1801" y="1618"/>
                    <a:pt x="1804" y="1612"/>
                    <a:pt x="1811" y="1605"/>
                  </a:cubicBezTo>
                  <a:cubicBezTo>
                    <a:pt x="1818" y="1599"/>
                    <a:pt x="1823" y="1595"/>
                    <a:pt x="1829" y="1595"/>
                  </a:cubicBezTo>
                  <a:cubicBezTo>
                    <a:pt x="1834" y="1596"/>
                    <a:pt x="1840" y="1599"/>
                    <a:pt x="1847" y="1606"/>
                  </a:cubicBezTo>
                  <a:cubicBezTo>
                    <a:pt x="1853" y="1613"/>
                    <a:pt x="1857" y="1619"/>
                    <a:pt x="1857" y="1624"/>
                  </a:cubicBezTo>
                  <a:cubicBezTo>
                    <a:pt x="1857" y="1629"/>
                    <a:pt x="1854" y="1634"/>
                    <a:pt x="1847" y="1641"/>
                  </a:cubicBezTo>
                  <a:close/>
                  <a:moveTo>
                    <a:pt x="1903" y="1950"/>
                  </a:moveTo>
                  <a:cubicBezTo>
                    <a:pt x="1899" y="1955"/>
                    <a:pt x="1894" y="1957"/>
                    <a:pt x="1890" y="1956"/>
                  </a:cubicBezTo>
                  <a:cubicBezTo>
                    <a:pt x="1886" y="1956"/>
                    <a:pt x="1882" y="1954"/>
                    <a:pt x="1879" y="1951"/>
                  </a:cubicBezTo>
                  <a:lnTo>
                    <a:pt x="1774" y="1847"/>
                  </a:lnTo>
                  <a:cubicBezTo>
                    <a:pt x="1765" y="1855"/>
                    <a:pt x="1758" y="1864"/>
                    <a:pt x="1753" y="1873"/>
                  </a:cubicBezTo>
                  <a:cubicBezTo>
                    <a:pt x="1748" y="1882"/>
                    <a:pt x="1745" y="1891"/>
                    <a:pt x="1744" y="1900"/>
                  </a:cubicBezTo>
                  <a:cubicBezTo>
                    <a:pt x="1743" y="1909"/>
                    <a:pt x="1744" y="1919"/>
                    <a:pt x="1748" y="1928"/>
                  </a:cubicBezTo>
                  <a:cubicBezTo>
                    <a:pt x="1752" y="1937"/>
                    <a:pt x="1759" y="1947"/>
                    <a:pt x="1769" y="1956"/>
                  </a:cubicBezTo>
                  <a:cubicBezTo>
                    <a:pt x="1776" y="1964"/>
                    <a:pt x="1783" y="1970"/>
                    <a:pt x="1791" y="1975"/>
                  </a:cubicBezTo>
                  <a:cubicBezTo>
                    <a:pt x="1798" y="1980"/>
                    <a:pt x="1804" y="1983"/>
                    <a:pt x="1810" y="1986"/>
                  </a:cubicBezTo>
                  <a:cubicBezTo>
                    <a:pt x="1816" y="1989"/>
                    <a:pt x="1821" y="1991"/>
                    <a:pt x="1825" y="1993"/>
                  </a:cubicBezTo>
                  <a:cubicBezTo>
                    <a:pt x="1829" y="1994"/>
                    <a:pt x="1832" y="1996"/>
                    <a:pt x="1833" y="1997"/>
                  </a:cubicBezTo>
                  <a:cubicBezTo>
                    <a:pt x="1834" y="1998"/>
                    <a:pt x="1834" y="1999"/>
                    <a:pt x="1835" y="2000"/>
                  </a:cubicBezTo>
                  <a:cubicBezTo>
                    <a:pt x="1835" y="2001"/>
                    <a:pt x="1835" y="2002"/>
                    <a:pt x="1834" y="2003"/>
                  </a:cubicBezTo>
                  <a:cubicBezTo>
                    <a:pt x="1834" y="2004"/>
                    <a:pt x="1833" y="2006"/>
                    <a:pt x="1832" y="2007"/>
                  </a:cubicBezTo>
                  <a:cubicBezTo>
                    <a:pt x="1830" y="2009"/>
                    <a:pt x="1829" y="2011"/>
                    <a:pt x="1827" y="2013"/>
                  </a:cubicBezTo>
                  <a:cubicBezTo>
                    <a:pt x="1825" y="2015"/>
                    <a:pt x="1824" y="2016"/>
                    <a:pt x="1822" y="2017"/>
                  </a:cubicBezTo>
                  <a:cubicBezTo>
                    <a:pt x="1821" y="2018"/>
                    <a:pt x="1820" y="2019"/>
                    <a:pt x="1819" y="2019"/>
                  </a:cubicBezTo>
                  <a:cubicBezTo>
                    <a:pt x="1818" y="2020"/>
                    <a:pt x="1817" y="2021"/>
                    <a:pt x="1816" y="2021"/>
                  </a:cubicBezTo>
                  <a:cubicBezTo>
                    <a:pt x="1815" y="2021"/>
                    <a:pt x="1813" y="2021"/>
                    <a:pt x="1812" y="2021"/>
                  </a:cubicBezTo>
                  <a:cubicBezTo>
                    <a:pt x="1811" y="2021"/>
                    <a:pt x="1808" y="2021"/>
                    <a:pt x="1803" y="2019"/>
                  </a:cubicBezTo>
                  <a:cubicBezTo>
                    <a:pt x="1799" y="2017"/>
                    <a:pt x="1793" y="2014"/>
                    <a:pt x="1786" y="2011"/>
                  </a:cubicBezTo>
                  <a:cubicBezTo>
                    <a:pt x="1780" y="2007"/>
                    <a:pt x="1773" y="2003"/>
                    <a:pt x="1765" y="1997"/>
                  </a:cubicBezTo>
                  <a:cubicBezTo>
                    <a:pt x="1757" y="1991"/>
                    <a:pt x="1750" y="1985"/>
                    <a:pt x="1742" y="1977"/>
                  </a:cubicBezTo>
                  <a:cubicBezTo>
                    <a:pt x="1729" y="1964"/>
                    <a:pt x="1719" y="1951"/>
                    <a:pt x="1713" y="1938"/>
                  </a:cubicBezTo>
                  <a:cubicBezTo>
                    <a:pt x="1707" y="1924"/>
                    <a:pt x="1704" y="1910"/>
                    <a:pt x="1705" y="1896"/>
                  </a:cubicBezTo>
                  <a:cubicBezTo>
                    <a:pt x="1705" y="1883"/>
                    <a:pt x="1709" y="1868"/>
                    <a:pt x="1716" y="1854"/>
                  </a:cubicBezTo>
                  <a:cubicBezTo>
                    <a:pt x="1724" y="1840"/>
                    <a:pt x="1735" y="1826"/>
                    <a:pt x="1749" y="1811"/>
                  </a:cubicBezTo>
                  <a:cubicBezTo>
                    <a:pt x="1763" y="1798"/>
                    <a:pt x="1777" y="1787"/>
                    <a:pt x="1791" y="1780"/>
                  </a:cubicBezTo>
                  <a:cubicBezTo>
                    <a:pt x="1806" y="1772"/>
                    <a:pt x="1820" y="1768"/>
                    <a:pt x="1834" y="1767"/>
                  </a:cubicBezTo>
                  <a:cubicBezTo>
                    <a:pt x="1849" y="1766"/>
                    <a:pt x="1863" y="1768"/>
                    <a:pt x="1876" y="1774"/>
                  </a:cubicBezTo>
                  <a:cubicBezTo>
                    <a:pt x="1890" y="1779"/>
                    <a:pt x="1902" y="1788"/>
                    <a:pt x="1914" y="1799"/>
                  </a:cubicBezTo>
                  <a:cubicBezTo>
                    <a:pt x="1926" y="1812"/>
                    <a:pt x="1935" y="1825"/>
                    <a:pt x="1940" y="1837"/>
                  </a:cubicBezTo>
                  <a:cubicBezTo>
                    <a:pt x="1944" y="1850"/>
                    <a:pt x="1946" y="1863"/>
                    <a:pt x="1945" y="1875"/>
                  </a:cubicBezTo>
                  <a:cubicBezTo>
                    <a:pt x="1944" y="1888"/>
                    <a:pt x="1940" y="1900"/>
                    <a:pt x="1934" y="1911"/>
                  </a:cubicBezTo>
                  <a:cubicBezTo>
                    <a:pt x="1927" y="1923"/>
                    <a:pt x="1919" y="1934"/>
                    <a:pt x="1908" y="1945"/>
                  </a:cubicBezTo>
                  <a:lnTo>
                    <a:pt x="1903" y="1950"/>
                  </a:lnTo>
                  <a:close/>
                  <a:moveTo>
                    <a:pt x="1882" y="1912"/>
                  </a:moveTo>
                  <a:cubicBezTo>
                    <a:pt x="1898" y="1897"/>
                    <a:pt x="1907" y="1882"/>
                    <a:pt x="1908" y="1866"/>
                  </a:cubicBezTo>
                  <a:cubicBezTo>
                    <a:pt x="1910" y="1850"/>
                    <a:pt x="1904" y="1835"/>
                    <a:pt x="1889" y="1821"/>
                  </a:cubicBezTo>
                  <a:cubicBezTo>
                    <a:pt x="1882" y="1813"/>
                    <a:pt x="1875" y="1808"/>
                    <a:pt x="1866" y="1806"/>
                  </a:cubicBezTo>
                  <a:cubicBezTo>
                    <a:pt x="1858" y="1803"/>
                    <a:pt x="1850" y="1802"/>
                    <a:pt x="1842" y="1803"/>
                  </a:cubicBezTo>
                  <a:cubicBezTo>
                    <a:pt x="1834" y="1804"/>
                    <a:pt x="1826" y="1806"/>
                    <a:pt x="1818" y="1810"/>
                  </a:cubicBezTo>
                  <a:cubicBezTo>
                    <a:pt x="1810" y="1814"/>
                    <a:pt x="1802" y="1819"/>
                    <a:pt x="1796" y="1825"/>
                  </a:cubicBezTo>
                  <a:lnTo>
                    <a:pt x="1882" y="1912"/>
                  </a:lnTo>
                  <a:close/>
                  <a:moveTo>
                    <a:pt x="1998" y="2218"/>
                  </a:moveTo>
                  <a:cubicBezTo>
                    <a:pt x="1997" y="2219"/>
                    <a:pt x="1996" y="2220"/>
                    <a:pt x="1995" y="2220"/>
                  </a:cubicBezTo>
                  <a:cubicBezTo>
                    <a:pt x="1994" y="2220"/>
                    <a:pt x="1993" y="2220"/>
                    <a:pt x="1991" y="2219"/>
                  </a:cubicBezTo>
                  <a:cubicBezTo>
                    <a:pt x="1990" y="2219"/>
                    <a:pt x="1988" y="2218"/>
                    <a:pt x="1986" y="2216"/>
                  </a:cubicBezTo>
                  <a:cubicBezTo>
                    <a:pt x="1985" y="2215"/>
                    <a:pt x="1982" y="2213"/>
                    <a:pt x="1980" y="2211"/>
                  </a:cubicBezTo>
                  <a:cubicBezTo>
                    <a:pt x="1978" y="2208"/>
                    <a:pt x="1976" y="2206"/>
                    <a:pt x="1974" y="2204"/>
                  </a:cubicBezTo>
                  <a:cubicBezTo>
                    <a:pt x="1973" y="2202"/>
                    <a:pt x="1972" y="2201"/>
                    <a:pt x="1971" y="2199"/>
                  </a:cubicBezTo>
                  <a:cubicBezTo>
                    <a:pt x="1970" y="2198"/>
                    <a:pt x="1970" y="2196"/>
                    <a:pt x="1971" y="2195"/>
                  </a:cubicBezTo>
                  <a:cubicBezTo>
                    <a:pt x="1971" y="2194"/>
                    <a:pt x="1971" y="2193"/>
                    <a:pt x="1972" y="2192"/>
                  </a:cubicBezTo>
                  <a:lnTo>
                    <a:pt x="1993" y="2171"/>
                  </a:lnTo>
                  <a:cubicBezTo>
                    <a:pt x="1976" y="2172"/>
                    <a:pt x="1960" y="2170"/>
                    <a:pt x="1946" y="2166"/>
                  </a:cubicBezTo>
                  <a:cubicBezTo>
                    <a:pt x="1932" y="2162"/>
                    <a:pt x="1920" y="2155"/>
                    <a:pt x="1909" y="2144"/>
                  </a:cubicBezTo>
                  <a:cubicBezTo>
                    <a:pt x="1897" y="2132"/>
                    <a:pt x="1889" y="2120"/>
                    <a:pt x="1886" y="2107"/>
                  </a:cubicBezTo>
                  <a:cubicBezTo>
                    <a:pt x="1882" y="2095"/>
                    <a:pt x="1881" y="2082"/>
                    <a:pt x="1884" y="2069"/>
                  </a:cubicBezTo>
                  <a:cubicBezTo>
                    <a:pt x="1887" y="2056"/>
                    <a:pt x="1892" y="2043"/>
                    <a:pt x="1900" y="2031"/>
                  </a:cubicBezTo>
                  <a:cubicBezTo>
                    <a:pt x="1908" y="2018"/>
                    <a:pt x="1918" y="2006"/>
                    <a:pt x="1929" y="1994"/>
                  </a:cubicBezTo>
                  <a:cubicBezTo>
                    <a:pt x="1943" y="1980"/>
                    <a:pt x="1957" y="1969"/>
                    <a:pt x="1971" y="1961"/>
                  </a:cubicBezTo>
                  <a:cubicBezTo>
                    <a:pt x="1985" y="1953"/>
                    <a:pt x="1999" y="1948"/>
                    <a:pt x="2012" y="1946"/>
                  </a:cubicBezTo>
                  <a:cubicBezTo>
                    <a:pt x="2026" y="1944"/>
                    <a:pt x="2039" y="1945"/>
                    <a:pt x="2052" y="1950"/>
                  </a:cubicBezTo>
                  <a:cubicBezTo>
                    <a:pt x="2064" y="1954"/>
                    <a:pt x="2076" y="1962"/>
                    <a:pt x="2088" y="1973"/>
                  </a:cubicBezTo>
                  <a:cubicBezTo>
                    <a:pt x="2097" y="1982"/>
                    <a:pt x="2103" y="1993"/>
                    <a:pt x="2107" y="2005"/>
                  </a:cubicBezTo>
                  <a:cubicBezTo>
                    <a:pt x="2111" y="2017"/>
                    <a:pt x="2112" y="2030"/>
                    <a:pt x="2112" y="2046"/>
                  </a:cubicBezTo>
                  <a:lnTo>
                    <a:pt x="2204" y="1953"/>
                  </a:lnTo>
                  <a:cubicBezTo>
                    <a:pt x="2205" y="1952"/>
                    <a:pt x="2206" y="1952"/>
                    <a:pt x="2207" y="1951"/>
                  </a:cubicBezTo>
                  <a:cubicBezTo>
                    <a:pt x="2209" y="1951"/>
                    <a:pt x="2210" y="1951"/>
                    <a:pt x="2212" y="1952"/>
                  </a:cubicBezTo>
                  <a:cubicBezTo>
                    <a:pt x="2213" y="1953"/>
                    <a:pt x="2215" y="1954"/>
                    <a:pt x="2217" y="1955"/>
                  </a:cubicBezTo>
                  <a:cubicBezTo>
                    <a:pt x="2219" y="1957"/>
                    <a:pt x="2222" y="1959"/>
                    <a:pt x="2225" y="1962"/>
                  </a:cubicBezTo>
                  <a:cubicBezTo>
                    <a:pt x="2227" y="1965"/>
                    <a:pt x="2230" y="1968"/>
                    <a:pt x="2231" y="1970"/>
                  </a:cubicBezTo>
                  <a:cubicBezTo>
                    <a:pt x="2233" y="1972"/>
                    <a:pt x="2234" y="1974"/>
                    <a:pt x="2235" y="1975"/>
                  </a:cubicBezTo>
                  <a:cubicBezTo>
                    <a:pt x="2235" y="1977"/>
                    <a:pt x="2236" y="1978"/>
                    <a:pt x="2235" y="1979"/>
                  </a:cubicBezTo>
                  <a:cubicBezTo>
                    <a:pt x="2235" y="1981"/>
                    <a:pt x="2235" y="1982"/>
                    <a:pt x="2234" y="1983"/>
                  </a:cubicBezTo>
                  <a:lnTo>
                    <a:pt x="1998" y="2218"/>
                  </a:lnTo>
                  <a:close/>
                  <a:moveTo>
                    <a:pt x="2081" y="2077"/>
                  </a:moveTo>
                  <a:cubicBezTo>
                    <a:pt x="2083" y="2059"/>
                    <a:pt x="2083" y="2044"/>
                    <a:pt x="2080" y="2031"/>
                  </a:cubicBezTo>
                  <a:cubicBezTo>
                    <a:pt x="2078" y="2019"/>
                    <a:pt x="2073" y="2009"/>
                    <a:pt x="2065" y="2001"/>
                  </a:cubicBezTo>
                  <a:cubicBezTo>
                    <a:pt x="2057" y="1993"/>
                    <a:pt x="2049" y="1989"/>
                    <a:pt x="2041" y="1987"/>
                  </a:cubicBezTo>
                  <a:cubicBezTo>
                    <a:pt x="2032" y="1985"/>
                    <a:pt x="2023" y="1986"/>
                    <a:pt x="2014" y="1988"/>
                  </a:cubicBezTo>
                  <a:cubicBezTo>
                    <a:pt x="2005" y="1991"/>
                    <a:pt x="1996" y="1995"/>
                    <a:pt x="1987" y="2001"/>
                  </a:cubicBezTo>
                  <a:cubicBezTo>
                    <a:pt x="1979" y="2007"/>
                    <a:pt x="1970" y="2014"/>
                    <a:pt x="1963" y="2021"/>
                  </a:cubicBezTo>
                  <a:cubicBezTo>
                    <a:pt x="1955" y="2029"/>
                    <a:pt x="1948" y="2038"/>
                    <a:pt x="1941" y="2046"/>
                  </a:cubicBezTo>
                  <a:cubicBezTo>
                    <a:pt x="1935" y="2055"/>
                    <a:pt x="1930" y="2064"/>
                    <a:pt x="1927" y="2073"/>
                  </a:cubicBezTo>
                  <a:cubicBezTo>
                    <a:pt x="1924" y="2082"/>
                    <a:pt x="1924" y="2091"/>
                    <a:pt x="1925" y="2100"/>
                  </a:cubicBezTo>
                  <a:cubicBezTo>
                    <a:pt x="1927" y="2108"/>
                    <a:pt x="1931" y="2117"/>
                    <a:pt x="1939" y="2124"/>
                  </a:cubicBezTo>
                  <a:cubicBezTo>
                    <a:pt x="1943" y="2128"/>
                    <a:pt x="1947" y="2131"/>
                    <a:pt x="1952" y="2134"/>
                  </a:cubicBezTo>
                  <a:cubicBezTo>
                    <a:pt x="1956" y="2136"/>
                    <a:pt x="1962" y="2138"/>
                    <a:pt x="1968" y="2140"/>
                  </a:cubicBezTo>
                  <a:cubicBezTo>
                    <a:pt x="1974" y="2141"/>
                    <a:pt x="1981" y="2142"/>
                    <a:pt x="1990" y="2142"/>
                  </a:cubicBezTo>
                  <a:cubicBezTo>
                    <a:pt x="1998" y="2142"/>
                    <a:pt x="2007" y="2142"/>
                    <a:pt x="2017" y="2140"/>
                  </a:cubicBezTo>
                  <a:lnTo>
                    <a:pt x="2081" y="2077"/>
                  </a:lnTo>
                  <a:close/>
                  <a:moveTo>
                    <a:pt x="2296" y="2218"/>
                  </a:moveTo>
                  <a:cubicBezTo>
                    <a:pt x="2293" y="2221"/>
                    <a:pt x="2291" y="2223"/>
                    <a:pt x="2289" y="2225"/>
                  </a:cubicBezTo>
                  <a:cubicBezTo>
                    <a:pt x="2287" y="2226"/>
                    <a:pt x="2286" y="2228"/>
                    <a:pt x="2284" y="2228"/>
                  </a:cubicBezTo>
                  <a:cubicBezTo>
                    <a:pt x="2283" y="2229"/>
                    <a:pt x="2282" y="2229"/>
                    <a:pt x="2281" y="2229"/>
                  </a:cubicBezTo>
                  <a:cubicBezTo>
                    <a:pt x="2280" y="2229"/>
                    <a:pt x="2279" y="2229"/>
                    <a:pt x="2278" y="2228"/>
                  </a:cubicBezTo>
                  <a:cubicBezTo>
                    <a:pt x="2277" y="2227"/>
                    <a:pt x="2276" y="2225"/>
                    <a:pt x="2275" y="2223"/>
                  </a:cubicBezTo>
                  <a:cubicBezTo>
                    <a:pt x="2274" y="2222"/>
                    <a:pt x="2273" y="2220"/>
                    <a:pt x="2272" y="2217"/>
                  </a:cubicBezTo>
                  <a:cubicBezTo>
                    <a:pt x="2271" y="2215"/>
                    <a:pt x="2269" y="2213"/>
                    <a:pt x="2268" y="2210"/>
                  </a:cubicBezTo>
                  <a:cubicBezTo>
                    <a:pt x="2266" y="2207"/>
                    <a:pt x="2264" y="2205"/>
                    <a:pt x="2262" y="2202"/>
                  </a:cubicBezTo>
                  <a:cubicBezTo>
                    <a:pt x="2259" y="2199"/>
                    <a:pt x="2255" y="2197"/>
                    <a:pt x="2251" y="2196"/>
                  </a:cubicBezTo>
                  <a:cubicBezTo>
                    <a:pt x="2247" y="2194"/>
                    <a:pt x="2242" y="2193"/>
                    <a:pt x="2236" y="2192"/>
                  </a:cubicBezTo>
                  <a:cubicBezTo>
                    <a:pt x="2231" y="2192"/>
                    <a:pt x="2224" y="2192"/>
                    <a:pt x="2216" y="2193"/>
                  </a:cubicBezTo>
                  <a:cubicBezTo>
                    <a:pt x="2208" y="2194"/>
                    <a:pt x="2199" y="2196"/>
                    <a:pt x="2188" y="2199"/>
                  </a:cubicBezTo>
                  <a:lnTo>
                    <a:pt x="2083" y="2303"/>
                  </a:lnTo>
                  <a:cubicBezTo>
                    <a:pt x="2083" y="2304"/>
                    <a:pt x="2081" y="2305"/>
                    <a:pt x="2080" y="2305"/>
                  </a:cubicBezTo>
                  <a:cubicBezTo>
                    <a:pt x="2079" y="2305"/>
                    <a:pt x="2078" y="2305"/>
                    <a:pt x="2076" y="2304"/>
                  </a:cubicBezTo>
                  <a:cubicBezTo>
                    <a:pt x="2075" y="2304"/>
                    <a:pt x="2073" y="2303"/>
                    <a:pt x="2071" y="2301"/>
                  </a:cubicBezTo>
                  <a:cubicBezTo>
                    <a:pt x="2069" y="2299"/>
                    <a:pt x="2066" y="2297"/>
                    <a:pt x="2063" y="2294"/>
                  </a:cubicBezTo>
                  <a:cubicBezTo>
                    <a:pt x="2060" y="2291"/>
                    <a:pt x="2058" y="2289"/>
                    <a:pt x="2057" y="2287"/>
                  </a:cubicBezTo>
                  <a:cubicBezTo>
                    <a:pt x="2055" y="2284"/>
                    <a:pt x="2054" y="2283"/>
                    <a:pt x="2053" y="2281"/>
                  </a:cubicBezTo>
                  <a:cubicBezTo>
                    <a:pt x="2052" y="2279"/>
                    <a:pt x="2052" y="2278"/>
                    <a:pt x="2053" y="2277"/>
                  </a:cubicBezTo>
                  <a:cubicBezTo>
                    <a:pt x="2053" y="2276"/>
                    <a:pt x="2053" y="2275"/>
                    <a:pt x="2054" y="2274"/>
                  </a:cubicBezTo>
                  <a:lnTo>
                    <a:pt x="2213" y="2115"/>
                  </a:lnTo>
                  <a:cubicBezTo>
                    <a:pt x="2214" y="2114"/>
                    <a:pt x="2215" y="2113"/>
                    <a:pt x="2216" y="2113"/>
                  </a:cubicBezTo>
                  <a:cubicBezTo>
                    <a:pt x="2217" y="2113"/>
                    <a:pt x="2219" y="2113"/>
                    <a:pt x="2220" y="2113"/>
                  </a:cubicBezTo>
                  <a:cubicBezTo>
                    <a:pt x="2222" y="2114"/>
                    <a:pt x="2223" y="2115"/>
                    <a:pt x="2225" y="2116"/>
                  </a:cubicBezTo>
                  <a:cubicBezTo>
                    <a:pt x="2227" y="2118"/>
                    <a:pt x="2229" y="2120"/>
                    <a:pt x="2232" y="2123"/>
                  </a:cubicBezTo>
                  <a:cubicBezTo>
                    <a:pt x="2235" y="2125"/>
                    <a:pt x="2237" y="2128"/>
                    <a:pt x="2238" y="2129"/>
                  </a:cubicBezTo>
                  <a:cubicBezTo>
                    <a:pt x="2240" y="2131"/>
                    <a:pt x="2241" y="2133"/>
                    <a:pt x="2241" y="2134"/>
                  </a:cubicBezTo>
                  <a:cubicBezTo>
                    <a:pt x="2242" y="2136"/>
                    <a:pt x="2242" y="2137"/>
                    <a:pt x="2241" y="2138"/>
                  </a:cubicBezTo>
                  <a:cubicBezTo>
                    <a:pt x="2241" y="2139"/>
                    <a:pt x="2241" y="2140"/>
                    <a:pt x="2240" y="2141"/>
                  </a:cubicBezTo>
                  <a:lnTo>
                    <a:pt x="2217" y="2164"/>
                  </a:lnTo>
                  <a:cubicBezTo>
                    <a:pt x="2227" y="2162"/>
                    <a:pt x="2237" y="2161"/>
                    <a:pt x="2244" y="2161"/>
                  </a:cubicBezTo>
                  <a:cubicBezTo>
                    <a:pt x="2252" y="2161"/>
                    <a:pt x="2259" y="2161"/>
                    <a:pt x="2265" y="2163"/>
                  </a:cubicBezTo>
                  <a:cubicBezTo>
                    <a:pt x="2270" y="2164"/>
                    <a:pt x="2275" y="2165"/>
                    <a:pt x="2280" y="2168"/>
                  </a:cubicBezTo>
                  <a:cubicBezTo>
                    <a:pt x="2284" y="2170"/>
                    <a:pt x="2288" y="2173"/>
                    <a:pt x="2291" y="2177"/>
                  </a:cubicBezTo>
                  <a:cubicBezTo>
                    <a:pt x="2293" y="2178"/>
                    <a:pt x="2294" y="2180"/>
                    <a:pt x="2296" y="2182"/>
                  </a:cubicBezTo>
                  <a:cubicBezTo>
                    <a:pt x="2298" y="2184"/>
                    <a:pt x="2300" y="2187"/>
                    <a:pt x="2301" y="2189"/>
                  </a:cubicBezTo>
                  <a:cubicBezTo>
                    <a:pt x="2303" y="2192"/>
                    <a:pt x="2304" y="2194"/>
                    <a:pt x="2305" y="2197"/>
                  </a:cubicBezTo>
                  <a:cubicBezTo>
                    <a:pt x="2307" y="2199"/>
                    <a:pt x="2307" y="2201"/>
                    <a:pt x="2307" y="2202"/>
                  </a:cubicBezTo>
                  <a:cubicBezTo>
                    <a:pt x="2307" y="2203"/>
                    <a:pt x="2307" y="2204"/>
                    <a:pt x="2307" y="2205"/>
                  </a:cubicBezTo>
                  <a:cubicBezTo>
                    <a:pt x="2307" y="2206"/>
                    <a:pt x="2306" y="2207"/>
                    <a:pt x="2306" y="2208"/>
                  </a:cubicBezTo>
                  <a:cubicBezTo>
                    <a:pt x="2305" y="2209"/>
                    <a:pt x="2304" y="2210"/>
                    <a:pt x="2302" y="2212"/>
                  </a:cubicBezTo>
                  <a:cubicBezTo>
                    <a:pt x="2301" y="2213"/>
                    <a:pt x="2299" y="2216"/>
                    <a:pt x="2296" y="2218"/>
                  </a:cubicBezTo>
                  <a:close/>
                  <a:moveTo>
                    <a:pt x="2208" y="2428"/>
                  </a:moveTo>
                  <a:cubicBezTo>
                    <a:pt x="2207" y="2429"/>
                    <a:pt x="2206" y="2429"/>
                    <a:pt x="2205" y="2429"/>
                  </a:cubicBezTo>
                  <a:cubicBezTo>
                    <a:pt x="2204" y="2430"/>
                    <a:pt x="2202" y="2429"/>
                    <a:pt x="2201" y="2429"/>
                  </a:cubicBezTo>
                  <a:cubicBezTo>
                    <a:pt x="2199" y="2428"/>
                    <a:pt x="2197" y="2427"/>
                    <a:pt x="2195" y="2425"/>
                  </a:cubicBezTo>
                  <a:cubicBezTo>
                    <a:pt x="2193" y="2424"/>
                    <a:pt x="2191" y="2421"/>
                    <a:pt x="2188" y="2418"/>
                  </a:cubicBezTo>
                  <a:cubicBezTo>
                    <a:pt x="2185" y="2416"/>
                    <a:pt x="2183" y="2413"/>
                    <a:pt x="2181" y="2411"/>
                  </a:cubicBezTo>
                  <a:cubicBezTo>
                    <a:pt x="2179" y="2409"/>
                    <a:pt x="2178" y="2407"/>
                    <a:pt x="2178" y="2405"/>
                  </a:cubicBezTo>
                  <a:cubicBezTo>
                    <a:pt x="2177" y="2404"/>
                    <a:pt x="2177" y="2403"/>
                    <a:pt x="2177" y="2401"/>
                  </a:cubicBezTo>
                  <a:cubicBezTo>
                    <a:pt x="2177" y="2400"/>
                    <a:pt x="2178" y="2399"/>
                    <a:pt x="2179" y="2398"/>
                  </a:cubicBezTo>
                  <a:lnTo>
                    <a:pt x="2338" y="2239"/>
                  </a:lnTo>
                  <a:cubicBezTo>
                    <a:pt x="2339" y="2239"/>
                    <a:pt x="2340" y="2238"/>
                    <a:pt x="2341" y="2238"/>
                  </a:cubicBezTo>
                  <a:cubicBezTo>
                    <a:pt x="2342" y="2237"/>
                    <a:pt x="2343" y="2238"/>
                    <a:pt x="2345" y="2238"/>
                  </a:cubicBezTo>
                  <a:cubicBezTo>
                    <a:pt x="2346" y="2239"/>
                    <a:pt x="2348" y="2240"/>
                    <a:pt x="2350" y="2242"/>
                  </a:cubicBezTo>
                  <a:cubicBezTo>
                    <a:pt x="2353" y="2243"/>
                    <a:pt x="2355" y="2246"/>
                    <a:pt x="2358" y="2248"/>
                  </a:cubicBezTo>
                  <a:cubicBezTo>
                    <a:pt x="2361" y="2251"/>
                    <a:pt x="2363" y="2254"/>
                    <a:pt x="2365" y="2256"/>
                  </a:cubicBezTo>
                  <a:cubicBezTo>
                    <a:pt x="2366" y="2258"/>
                    <a:pt x="2367" y="2260"/>
                    <a:pt x="2368" y="2261"/>
                  </a:cubicBezTo>
                  <a:cubicBezTo>
                    <a:pt x="2369" y="2263"/>
                    <a:pt x="2369" y="2264"/>
                    <a:pt x="2369" y="2266"/>
                  </a:cubicBezTo>
                  <a:cubicBezTo>
                    <a:pt x="2368" y="2267"/>
                    <a:pt x="2368" y="2268"/>
                    <a:pt x="2367" y="2269"/>
                  </a:cubicBezTo>
                  <a:lnTo>
                    <a:pt x="2208" y="2428"/>
                  </a:lnTo>
                  <a:close/>
                  <a:moveTo>
                    <a:pt x="2424" y="2218"/>
                  </a:moveTo>
                  <a:cubicBezTo>
                    <a:pt x="2417" y="2225"/>
                    <a:pt x="2411" y="2228"/>
                    <a:pt x="2406" y="2228"/>
                  </a:cubicBezTo>
                  <a:cubicBezTo>
                    <a:pt x="2401" y="2228"/>
                    <a:pt x="2395" y="2225"/>
                    <a:pt x="2388" y="2218"/>
                  </a:cubicBezTo>
                  <a:cubicBezTo>
                    <a:pt x="2381" y="2211"/>
                    <a:pt x="2378" y="2205"/>
                    <a:pt x="2378" y="2200"/>
                  </a:cubicBezTo>
                  <a:cubicBezTo>
                    <a:pt x="2378" y="2195"/>
                    <a:pt x="2381" y="2189"/>
                    <a:pt x="2388" y="2182"/>
                  </a:cubicBezTo>
                  <a:cubicBezTo>
                    <a:pt x="2395" y="2176"/>
                    <a:pt x="2400" y="2172"/>
                    <a:pt x="2406" y="2172"/>
                  </a:cubicBezTo>
                  <a:cubicBezTo>
                    <a:pt x="2411" y="2173"/>
                    <a:pt x="2417" y="2176"/>
                    <a:pt x="2424" y="2183"/>
                  </a:cubicBezTo>
                  <a:cubicBezTo>
                    <a:pt x="2430" y="2190"/>
                    <a:pt x="2434" y="2196"/>
                    <a:pt x="2434" y="2201"/>
                  </a:cubicBezTo>
                  <a:cubicBezTo>
                    <a:pt x="2434" y="2206"/>
                    <a:pt x="2431" y="2211"/>
                    <a:pt x="2424" y="2218"/>
                  </a:cubicBezTo>
                  <a:close/>
                  <a:moveTo>
                    <a:pt x="2397" y="2568"/>
                  </a:moveTo>
                  <a:cubicBezTo>
                    <a:pt x="2395" y="2570"/>
                    <a:pt x="2393" y="2572"/>
                    <a:pt x="2391" y="2573"/>
                  </a:cubicBezTo>
                  <a:cubicBezTo>
                    <a:pt x="2390" y="2574"/>
                    <a:pt x="2388" y="2575"/>
                    <a:pt x="2387" y="2576"/>
                  </a:cubicBezTo>
                  <a:cubicBezTo>
                    <a:pt x="2386" y="2577"/>
                    <a:pt x="2384" y="2577"/>
                    <a:pt x="2383" y="2578"/>
                  </a:cubicBezTo>
                  <a:cubicBezTo>
                    <a:pt x="2382" y="2578"/>
                    <a:pt x="2380" y="2578"/>
                    <a:pt x="2377" y="2578"/>
                  </a:cubicBezTo>
                  <a:cubicBezTo>
                    <a:pt x="2374" y="2578"/>
                    <a:pt x="2370" y="2577"/>
                    <a:pt x="2364" y="2576"/>
                  </a:cubicBezTo>
                  <a:cubicBezTo>
                    <a:pt x="2358" y="2575"/>
                    <a:pt x="2352" y="2573"/>
                    <a:pt x="2346" y="2570"/>
                  </a:cubicBezTo>
                  <a:cubicBezTo>
                    <a:pt x="2340" y="2567"/>
                    <a:pt x="2334" y="2564"/>
                    <a:pt x="2328" y="2560"/>
                  </a:cubicBezTo>
                  <a:cubicBezTo>
                    <a:pt x="2321" y="2556"/>
                    <a:pt x="2315" y="2551"/>
                    <a:pt x="2310" y="2545"/>
                  </a:cubicBezTo>
                  <a:cubicBezTo>
                    <a:pt x="2298" y="2534"/>
                    <a:pt x="2290" y="2522"/>
                    <a:pt x="2285" y="2509"/>
                  </a:cubicBezTo>
                  <a:cubicBezTo>
                    <a:pt x="2280" y="2497"/>
                    <a:pt x="2278" y="2484"/>
                    <a:pt x="2280" y="2470"/>
                  </a:cubicBezTo>
                  <a:cubicBezTo>
                    <a:pt x="2281" y="2457"/>
                    <a:pt x="2285" y="2444"/>
                    <a:pt x="2293" y="2430"/>
                  </a:cubicBezTo>
                  <a:cubicBezTo>
                    <a:pt x="2300" y="2416"/>
                    <a:pt x="2311" y="2403"/>
                    <a:pt x="2324" y="2389"/>
                  </a:cubicBezTo>
                  <a:cubicBezTo>
                    <a:pt x="2340" y="2373"/>
                    <a:pt x="2355" y="2362"/>
                    <a:pt x="2371" y="2354"/>
                  </a:cubicBezTo>
                  <a:cubicBezTo>
                    <a:pt x="2386" y="2347"/>
                    <a:pt x="2400" y="2343"/>
                    <a:pt x="2414" y="2342"/>
                  </a:cubicBezTo>
                  <a:cubicBezTo>
                    <a:pt x="2428" y="2342"/>
                    <a:pt x="2441" y="2344"/>
                    <a:pt x="2453" y="2350"/>
                  </a:cubicBezTo>
                  <a:cubicBezTo>
                    <a:pt x="2466" y="2355"/>
                    <a:pt x="2477" y="2363"/>
                    <a:pt x="2488" y="2374"/>
                  </a:cubicBezTo>
                  <a:cubicBezTo>
                    <a:pt x="2493" y="2379"/>
                    <a:pt x="2497" y="2384"/>
                    <a:pt x="2501" y="2390"/>
                  </a:cubicBezTo>
                  <a:cubicBezTo>
                    <a:pt x="2505" y="2396"/>
                    <a:pt x="2508" y="2401"/>
                    <a:pt x="2511" y="2407"/>
                  </a:cubicBezTo>
                  <a:cubicBezTo>
                    <a:pt x="2513" y="2413"/>
                    <a:pt x="2515" y="2418"/>
                    <a:pt x="2516" y="2423"/>
                  </a:cubicBezTo>
                  <a:cubicBezTo>
                    <a:pt x="2517" y="2428"/>
                    <a:pt x="2518" y="2432"/>
                    <a:pt x="2518" y="2435"/>
                  </a:cubicBezTo>
                  <a:cubicBezTo>
                    <a:pt x="2518" y="2438"/>
                    <a:pt x="2518" y="2440"/>
                    <a:pt x="2517" y="2441"/>
                  </a:cubicBezTo>
                  <a:cubicBezTo>
                    <a:pt x="2517" y="2443"/>
                    <a:pt x="2517" y="2444"/>
                    <a:pt x="2516" y="2445"/>
                  </a:cubicBezTo>
                  <a:cubicBezTo>
                    <a:pt x="2515" y="2447"/>
                    <a:pt x="2514" y="2448"/>
                    <a:pt x="2513" y="2450"/>
                  </a:cubicBezTo>
                  <a:cubicBezTo>
                    <a:pt x="2511" y="2451"/>
                    <a:pt x="2510" y="2453"/>
                    <a:pt x="2508" y="2455"/>
                  </a:cubicBezTo>
                  <a:cubicBezTo>
                    <a:pt x="2503" y="2460"/>
                    <a:pt x="2499" y="2463"/>
                    <a:pt x="2496" y="2463"/>
                  </a:cubicBezTo>
                  <a:cubicBezTo>
                    <a:pt x="2493" y="2464"/>
                    <a:pt x="2491" y="2464"/>
                    <a:pt x="2490" y="2462"/>
                  </a:cubicBezTo>
                  <a:cubicBezTo>
                    <a:pt x="2488" y="2461"/>
                    <a:pt x="2487" y="2458"/>
                    <a:pt x="2487" y="2453"/>
                  </a:cubicBezTo>
                  <a:cubicBezTo>
                    <a:pt x="2486" y="2449"/>
                    <a:pt x="2485" y="2444"/>
                    <a:pt x="2484" y="2438"/>
                  </a:cubicBezTo>
                  <a:cubicBezTo>
                    <a:pt x="2483" y="2432"/>
                    <a:pt x="2481" y="2426"/>
                    <a:pt x="2478" y="2419"/>
                  </a:cubicBezTo>
                  <a:cubicBezTo>
                    <a:pt x="2475" y="2412"/>
                    <a:pt x="2470" y="2405"/>
                    <a:pt x="2463" y="2398"/>
                  </a:cubicBezTo>
                  <a:cubicBezTo>
                    <a:pt x="2449" y="2384"/>
                    <a:pt x="2433" y="2379"/>
                    <a:pt x="2415" y="2382"/>
                  </a:cubicBezTo>
                  <a:cubicBezTo>
                    <a:pt x="2396" y="2385"/>
                    <a:pt x="2377" y="2397"/>
                    <a:pt x="2356" y="2418"/>
                  </a:cubicBezTo>
                  <a:cubicBezTo>
                    <a:pt x="2346" y="2428"/>
                    <a:pt x="2338" y="2438"/>
                    <a:pt x="2332" y="2448"/>
                  </a:cubicBezTo>
                  <a:cubicBezTo>
                    <a:pt x="2327" y="2457"/>
                    <a:pt x="2323" y="2467"/>
                    <a:pt x="2322" y="2476"/>
                  </a:cubicBezTo>
                  <a:cubicBezTo>
                    <a:pt x="2320" y="2485"/>
                    <a:pt x="2321" y="2493"/>
                    <a:pt x="2324" y="2501"/>
                  </a:cubicBezTo>
                  <a:cubicBezTo>
                    <a:pt x="2327" y="2509"/>
                    <a:pt x="2332" y="2517"/>
                    <a:pt x="2339" y="2524"/>
                  </a:cubicBezTo>
                  <a:cubicBezTo>
                    <a:pt x="2346" y="2530"/>
                    <a:pt x="2353" y="2535"/>
                    <a:pt x="2360" y="2538"/>
                  </a:cubicBezTo>
                  <a:cubicBezTo>
                    <a:pt x="2367" y="2541"/>
                    <a:pt x="2374" y="2543"/>
                    <a:pt x="2380" y="2544"/>
                  </a:cubicBezTo>
                  <a:cubicBezTo>
                    <a:pt x="2386" y="2546"/>
                    <a:pt x="2392" y="2546"/>
                    <a:pt x="2396" y="2547"/>
                  </a:cubicBezTo>
                  <a:cubicBezTo>
                    <a:pt x="2401" y="2547"/>
                    <a:pt x="2404" y="2548"/>
                    <a:pt x="2405" y="2550"/>
                  </a:cubicBezTo>
                  <a:cubicBezTo>
                    <a:pt x="2406" y="2550"/>
                    <a:pt x="2406" y="2551"/>
                    <a:pt x="2407" y="2552"/>
                  </a:cubicBezTo>
                  <a:cubicBezTo>
                    <a:pt x="2407" y="2554"/>
                    <a:pt x="2406" y="2555"/>
                    <a:pt x="2406" y="2556"/>
                  </a:cubicBezTo>
                  <a:cubicBezTo>
                    <a:pt x="2405" y="2558"/>
                    <a:pt x="2404" y="2560"/>
                    <a:pt x="2402" y="2561"/>
                  </a:cubicBezTo>
                  <a:cubicBezTo>
                    <a:pt x="2401" y="2563"/>
                    <a:pt x="2399" y="2565"/>
                    <a:pt x="2397" y="2568"/>
                  </a:cubicBezTo>
                  <a:close/>
                  <a:moveTo>
                    <a:pt x="2553" y="2773"/>
                  </a:moveTo>
                  <a:cubicBezTo>
                    <a:pt x="2552" y="2774"/>
                    <a:pt x="2551" y="2775"/>
                    <a:pt x="2550" y="2775"/>
                  </a:cubicBezTo>
                  <a:cubicBezTo>
                    <a:pt x="2549" y="2775"/>
                    <a:pt x="2548" y="2775"/>
                    <a:pt x="2546" y="2774"/>
                  </a:cubicBezTo>
                  <a:cubicBezTo>
                    <a:pt x="2545" y="2774"/>
                    <a:pt x="2543" y="2772"/>
                    <a:pt x="2541" y="2771"/>
                  </a:cubicBezTo>
                  <a:cubicBezTo>
                    <a:pt x="2539" y="2769"/>
                    <a:pt x="2536" y="2767"/>
                    <a:pt x="2533" y="2764"/>
                  </a:cubicBezTo>
                  <a:cubicBezTo>
                    <a:pt x="2530" y="2761"/>
                    <a:pt x="2528" y="2759"/>
                    <a:pt x="2526" y="2756"/>
                  </a:cubicBezTo>
                  <a:cubicBezTo>
                    <a:pt x="2525" y="2754"/>
                    <a:pt x="2524" y="2753"/>
                    <a:pt x="2523" y="2751"/>
                  </a:cubicBezTo>
                  <a:cubicBezTo>
                    <a:pt x="2523" y="2749"/>
                    <a:pt x="2522" y="2748"/>
                    <a:pt x="2522" y="2747"/>
                  </a:cubicBezTo>
                  <a:cubicBezTo>
                    <a:pt x="2523" y="2746"/>
                    <a:pt x="2523" y="2745"/>
                    <a:pt x="2524" y="2744"/>
                  </a:cubicBezTo>
                  <a:lnTo>
                    <a:pt x="2617" y="2651"/>
                  </a:lnTo>
                  <a:cubicBezTo>
                    <a:pt x="2626" y="2642"/>
                    <a:pt x="2633" y="2634"/>
                    <a:pt x="2637" y="2627"/>
                  </a:cubicBezTo>
                  <a:cubicBezTo>
                    <a:pt x="2641" y="2620"/>
                    <a:pt x="2644" y="2613"/>
                    <a:pt x="2645" y="2606"/>
                  </a:cubicBezTo>
                  <a:cubicBezTo>
                    <a:pt x="2647" y="2599"/>
                    <a:pt x="2646" y="2593"/>
                    <a:pt x="2644" y="2586"/>
                  </a:cubicBezTo>
                  <a:cubicBezTo>
                    <a:pt x="2642" y="2580"/>
                    <a:pt x="2638" y="2574"/>
                    <a:pt x="2632" y="2568"/>
                  </a:cubicBezTo>
                  <a:cubicBezTo>
                    <a:pt x="2625" y="2561"/>
                    <a:pt x="2615" y="2556"/>
                    <a:pt x="2602" y="2554"/>
                  </a:cubicBezTo>
                  <a:cubicBezTo>
                    <a:pt x="2590" y="2552"/>
                    <a:pt x="2575" y="2552"/>
                    <a:pt x="2557" y="2554"/>
                  </a:cubicBezTo>
                  <a:lnTo>
                    <a:pt x="2446" y="2665"/>
                  </a:lnTo>
                  <a:cubicBezTo>
                    <a:pt x="2445" y="2666"/>
                    <a:pt x="2444" y="2667"/>
                    <a:pt x="2442" y="2667"/>
                  </a:cubicBezTo>
                  <a:cubicBezTo>
                    <a:pt x="2441" y="2667"/>
                    <a:pt x="2440" y="2667"/>
                    <a:pt x="2438" y="2666"/>
                  </a:cubicBezTo>
                  <a:cubicBezTo>
                    <a:pt x="2437" y="2666"/>
                    <a:pt x="2435" y="2665"/>
                    <a:pt x="2433" y="2663"/>
                  </a:cubicBezTo>
                  <a:cubicBezTo>
                    <a:pt x="2431" y="2661"/>
                    <a:pt x="2428" y="2659"/>
                    <a:pt x="2425" y="2656"/>
                  </a:cubicBezTo>
                  <a:cubicBezTo>
                    <a:pt x="2423" y="2653"/>
                    <a:pt x="2420" y="2651"/>
                    <a:pt x="2419" y="2649"/>
                  </a:cubicBezTo>
                  <a:cubicBezTo>
                    <a:pt x="2417" y="2647"/>
                    <a:pt x="2416" y="2645"/>
                    <a:pt x="2415" y="2643"/>
                  </a:cubicBezTo>
                  <a:cubicBezTo>
                    <a:pt x="2415" y="2641"/>
                    <a:pt x="2414" y="2640"/>
                    <a:pt x="2415" y="2639"/>
                  </a:cubicBezTo>
                  <a:cubicBezTo>
                    <a:pt x="2415" y="2638"/>
                    <a:pt x="2415" y="2637"/>
                    <a:pt x="2416" y="2636"/>
                  </a:cubicBezTo>
                  <a:lnTo>
                    <a:pt x="2653" y="2400"/>
                  </a:lnTo>
                  <a:cubicBezTo>
                    <a:pt x="2653" y="2399"/>
                    <a:pt x="2654" y="2398"/>
                    <a:pt x="2656" y="2398"/>
                  </a:cubicBezTo>
                  <a:cubicBezTo>
                    <a:pt x="2657" y="2398"/>
                    <a:pt x="2658" y="2398"/>
                    <a:pt x="2660" y="2399"/>
                  </a:cubicBezTo>
                  <a:cubicBezTo>
                    <a:pt x="2661" y="2399"/>
                    <a:pt x="2663" y="2400"/>
                    <a:pt x="2665" y="2402"/>
                  </a:cubicBezTo>
                  <a:cubicBezTo>
                    <a:pt x="2667" y="2404"/>
                    <a:pt x="2670" y="2406"/>
                    <a:pt x="2673" y="2409"/>
                  </a:cubicBezTo>
                  <a:cubicBezTo>
                    <a:pt x="2676" y="2412"/>
                    <a:pt x="2678" y="2414"/>
                    <a:pt x="2680" y="2416"/>
                  </a:cubicBezTo>
                  <a:cubicBezTo>
                    <a:pt x="2681" y="2418"/>
                    <a:pt x="2682" y="2420"/>
                    <a:pt x="2683" y="2422"/>
                  </a:cubicBezTo>
                  <a:cubicBezTo>
                    <a:pt x="2683" y="2423"/>
                    <a:pt x="2684" y="2425"/>
                    <a:pt x="2683" y="2426"/>
                  </a:cubicBezTo>
                  <a:cubicBezTo>
                    <a:pt x="2683" y="2427"/>
                    <a:pt x="2683" y="2428"/>
                    <a:pt x="2682" y="2429"/>
                  </a:cubicBezTo>
                  <a:lnTo>
                    <a:pt x="2586" y="2524"/>
                  </a:lnTo>
                  <a:cubicBezTo>
                    <a:pt x="2604" y="2524"/>
                    <a:pt x="2619" y="2526"/>
                    <a:pt x="2631" y="2530"/>
                  </a:cubicBezTo>
                  <a:cubicBezTo>
                    <a:pt x="2644" y="2534"/>
                    <a:pt x="2655" y="2540"/>
                    <a:pt x="2663" y="2549"/>
                  </a:cubicBezTo>
                  <a:cubicBezTo>
                    <a:pt x="2674" y="2560"/>
                    <a:pt x="2681" y="2570"/>
                    <a:pt x="2685" y="2581"/>
                  </a:cubicBezTo>
                  <a:cubicBezTo>
                    <a:pt x="2689" y="2592"/>
                    <a:pt x="2690" y="2603"/>
                    <a:pt x="2688" y="2613"/>
                  </a:cubicBezTo>
                  <a:cubicBezTo>
                    <a:pt x="2687" y="2624"/>
                    <a:pt x="2683" y="2634"/>
                    <a:pt x="2677" y="2644"/>
                  </a:cubicBezTo>
                  <a:cubicBezTo>
                    <a:pt x="2670" y="2654"/>
                    <a:pt x="2662" y="2665"/>
                    <a:pt x="2650" y="2676"/>
                  </a:cubicBezTo>
                  <a:lnTo>
                    <a:pt x="2553" y="2773"/>
                  </a:lnTo>
                  <a:close/>
                  <a:moveTo>
                    <a:pt x="2752" y="2885"/>
                  </a:moveTo>
                  <a:cubicBezTo>
                    <a:pt x="2744" y="2893"/>
                    <a:pt x="2735" y="2899"/>
                    <a:pt x="2726" y="2902"/>
                  </a:cubicBezTo>
                  <a:cubicBezTo>
                    <a:pt x="2716" y="2906"/>
                    <a:pt x="2707" y="2907"/>
                    <a:pt x="2697" y="2905"/>
                  </a:cubicBezTo>
                  <a:cubicBezTo>
                    <a:pt x="2687" y="2904"/>
                    <a:pt x="2677" y="2901"/>
                    <a:pt x="2667" y="2896"/>
                  </a:cubicBezTo>
                  <a:cubicBezTo>
                    <a:pt x="2657" y="2890"/>
                    <a:pt x="2648" y="2883"/>
                    <a:pt x="2638" y="2874"/>
                  </a:cubicBezTo>
                  <a:cubicBezTo>
                    <a:pt x="2633" y="2868"/>
                    <a:pt x="2628" y="2862"/>
                    <a:pt x="2624" y="2856"/>
                  </a:cubicBezTo>
                  <a:cubicBezTo>
                    <a:pt x="2619" y="2850"/>
                    <a:pt x="2616" y="2844"/>
                    <a:pt x="2613" y="2839"/>
                  </a:cubicBezTo>
                  <a:cubicBezTo>
                    <a:pt x="2610" y="2834"/>
                    <a:pt x="2608" y="2829"/>
                    <a:pt x="2607" y="2824"/>
                  </a:cubicBezTo>
                  <a:cubicBezTo>
                    <a:pt x="2606" y="2820"/>
                    <a:pt x="2605" y="2817"/>
                    <a:pt x="2605" y="2814"/>
                  </a:cubicBezTo>
                  <a:cubicBezTo>
                    <a:pt x="2605" y="2812"/>
                    <a:pt x="2605" y="2809"/>
                    <a:pt x="2607" y="2806"/>
                  </a:cubicBezTo>
                  <a:cubicBezTo>
                    <a:pt x="2608" y="2804"/>
                    <a:pt x="2611" y="2801"/>
                    <a:pt x="2615" y="2797"/>
                  </a:cubicBezTo>
                  <a:cubicBezTo>
                    <a:pt x="2617" y="2795"/>
                    <a:pt x="2619" y="2793"/>
                    <a:pt x="2621" y="2792"/>
                  </a:cubicBezTo>
                  <a:cubicBezTo>
                    <a:pt x="2622" y="2790"/>
                    <a:pt x="2624" y="2789"/>
                    <a:pt x="2625" y="2789"/>
                  </a:cubicBezTo>
                  <a:cubicBezTo>
                    <a:pt x="2627" y="2788"/>
                    <a:pt x="2628" y="2788"/>
                    <a:pt x="2629" y="2788"/>
                  </a:cubicBezTo>
                  <a:cubicBezTo>
                    <a:pt x="2630" y="2789"/>
                    <a:pt x="2631" y="2789"/>
                    <a:pt x="2632" y="2790"/>
                  </a:cubicBezTo>
                  <a:cubicBezTo>
                    <a:pt x="2633" y="2791"/>
                    <a:pt x="2634" y="2794"/>
                    <a:pt x="2635" y="2798"/>
                  </a:cubicBezTo>
                  <a:cubicBezTo>
                    <a:pt x="2636" y="2802"/>
                    <a:pt x="2637" y="2807"/>
                    <a:pt x="2639" y="2813"/>
                  </a:cubicBezTo>
                  <a:cubicBezTo>
                    <a:pt x="2641" y="2818"/>
                    <a:pt x="2644" y="2824"/>
                    <a:pt x="2647" y="2831"/>
                  </a:cubicBezTo>
                  <a:cubicBezTo>
                    <a:pt x="2651" y="2838"/>
                    <a:pt x="2656" y="2844"/>
                    <a:pt x="2662" y="2851"/>
                  </a:cubicBezTo>
                  <a:cubicBezTo>
                    <a:pt x="2667" y="2856"/>
                    <a:pt x="2672" y="2860"/>
                    <a:pt x="2677" y="2863"/>
                  </a:cubicBezTo>
                  <a:cubicBezTo>
                    <a:pt x="2682" y="2866"/>
                    <a:pt x="2687" y="2868"/>
                    <a:pt x="2692" y="2868"/>
                  </a:cubicBezTo>
                  <a:cubicBezTo>
                    <a:pt x="2697" y="2869"/>
                    <a:pt x="2702" y="2869"/>
                    <a:pt x="2707" y="2867"/>
                  </a:cubicBezTo>
                  <a:cubicBezTo>
                    <a:pt x="2712" y="2866"/>
                    <a:pt x="2716" y="2863"/>
                    <a:pt x="2721" y="2858"/>
                  </a:cubicBezTo>
                  <a:cubicBezTo>
                    <a:pt x="2725" y="2854"/>
                    <a:pt x="2728" y="2849"/>
                    <a:pt x="2729" y="2844"/>
                  </a:cubicBezTo>
                  <a:cubicBezTo>
                    <a:pt x="2729" y="2838"/>
                    <a:pt x="2729" y="2833"/>
                    <a:pt x="2728" y="2826"/>
                  </a:cubicBezTo>
                  <a:cubicBezTo>
                    <a:pt x="2726" y="2820"/>
                    <a:pt x="2724" y="2814"/>
                    <a:pt x="2721" y="2807"/>
                  </a:cubicBezTo>
                  <a:cubicBezTo>
                    <a:pt x="2718" y="2801"/>
                    <a:pt x="2715" y="2794"/>
                    <a:pt x="2712" y="2787"/>
                  </a:cubicBezTo>
                  <a:cubicBezTo>
                    <a:pt x="2709" y="2780"/>
                    <a:pt x="2707" y="2773"/>
                    <a:pt x="2704" y="2766"/>
                  </a:cubicBezTo>
                  <a:cubicBezTo>
                    <a:pt x="2702" y="2758"/>
                    <a:pt x="2701" y="2751"/>
                    <a:pt x="2701" y="2744"/>
                  </a:cubicBezTo>
                  <a:cubicBezTo>
                    <a:pt x="2701" y="2736"/>
                    <a:pt x="2702" y="2729"/>
                    <a:pt x="2705" y="2721"/>
                  </a:cubicBezTo>
                  <a:cubicBezTo>
                    <a:pt x="2708" y="2714"/>
                    <a:pt x="2713" y="2707"/>
                    <a:pt x="2720" y="2700"/>
                  </a:cubicBezTo>
                  <a:cubicBezTo>
                    <a:pt x="2726" y="2693"/>
                    <a:pt x="2733" y="2689"/>
                    <a:pt x="2741" y="2685"/>
                  </a:cubicBezTo>
                  <a:cubicBezTo>
                    <a:pt x="2749" y="2682"/>
                    <a:pt x="2758" y="2681"/>
                    <a:pt x="2767" y="2681"/>
                  </a:cubicBezTo>
                  <a:cubicBezTo>
                    <a:pt x="2776" y="2682"/>
                    <a:pt x="2786" y="2684"/>
                    <a:pt x="2796" y="2689"/>
                  </a:cubicBezTo>
                  <a:cubicBezTo>
                    <a:pt x="2805" y="2694"/>
                    <a:pt x="2815" y="2701"/>
                    <a:pt x="2825" y="2710"/>
                  </a:cubicBezTo>
                  <a:cubicBezTo>
                    <a:pt x="2829" y="2715"/>
                    <a:pt x="2833" y="2719"/>
                    <a:pt x="2837" y="2724"/>
                  </a:cubicBezTo>
                  <a:cubicBezTo>
                    <a:pt x="2840" y="2729"/>
                    <a:pt x="2843" y="2734"/>
                    <a:pt x="2845" y="2738"/>
                  </a:cubicBezTo>
                  <a:cubicBezTo>
                    <a:pt x="2848" y="2743"/>
                    <a:pt x="2849" y="2747"/>
                    <a:pt x="2851" y="2751"/>
                  </a:cubicBezTo>
                  <a:cubicBezTo>
                    <a:pt x="2852" y="2754"/>
                    <a:pt x="2853" y="2757"/>
                    <a:pt x="2853" y="2759"/>
                  </a:cubicBezTo>
                  <a:cubicBezTo>
                    <a:pt x="2853" y="2762"/>
                    <a:pt x="2853" y="2763"/>
                    <a:pt x="2853" y="2764"/>
                  </a:cubicBezTo>
                  <a:cubicBezTo>
                    <a:pt x="2853" y="2765"/>
                    <a:pt x="2852" y="2767"/>
                    <a:pt x="2851" y="2768"/>
                  </a:cubicBezTo>
                  <a:cubicBezTo>
                    <a:pt x="2851" y="2769"/>
                    <a:pt x="2850" y="2770"/>
                    <a:pt x="2849" y="2771"/>
                  </a:cubicBezTo>
                  <a:cubicBezTo>
                    <a:pt x="2848" y="2773"/>
                    <a:pt x="2846" y="2775"/>
                    <a:pt x="2844" y="2776"/>
                  </a:cubicBezTo>
                  <a:cubicBezTo>
                    <a:pt x="2842" y="2778"/>
                    <a:pt x="2840" y="2780"/>
                    <a:pt x="2839" y="2781"/>
                  </a:cubicBezTo>
                  <a:cubicBezTo>
                    <a:pt x="2837" y="2783"/>
                    <a:pt x="2835" y="2784"/>
                    <a:pt x="2834" y="2784"/>
                  </a:cubicBezTo>
                  <a:cubicBezTo>
                    <a:pt x="2833" y="2785"/>
                    <a:pt x="2832" y="2785"/>
                    <a:pt x="2831" y="2785"/>
                  </a:cubicBezTo>
                  <a:cubicBezTo>
                    <a:pt x="2830" y="2784"/>
                    <a:pt x="2829" y="2784"/>
                    <a:pt x="2828" y="2783"/>
                  </a:cubicBezTo>
                  <a:cubicBezTo>
                    <a:pt x="2827" y="2782"/>
                    <a:pt x="2826" y="2780"/>
                    <a:pt x="2825" y="2777"/>
                  </a:cubicBezTo>
                  <a:cubicBezTo>
                    <a:pt x="2825" y="2773"/>
                    <a:pt x="2823" y="2770"/>
                    <a:pt x="2822" y="2765"/>
                  </a:cubicBezTo>
                  <a:cubicBezTo>
                    <a:pt x="2820" y="2760"/>
                    <a:pt x="2818" y="2755"/>
                    <a:pt x="2815" y="2749"/>
                  </a:cubicBezTo>
                  <a:cubicBezTo>
                    <a:pt x="2812" y="2744"/>
                    <a:pt x="2807" y="2738"/>
                    <a:pt x="2802" y="2733"/>
                  </a:cubicBezTo>
                  <a:cubicBezTo>
                    <a:pt x="2797" y="2728"/>
                    <a:pt x="2792" y="2724"/>
                    <a:pt x="2787" y="2721"/>
                  </a:cubicBezTo>
                  <a:cubicBezTo>
                    <a:pt x="2782" y="2719"/>
                    <a:pt x="2778" y="2717"/>
                    <a:pt x="2773" y="2717"/>
                  </a:cubicBezTo>
                  <a:cubicBezTo>
                    <a:pt x="2769" y="2717"/>
                    <a:pt x="2764" y="2717"/>
                    <a:pt x="2760" y="2719"/>
                  </a:cubicBezTo>
                  <a:cubicBezTo>
                    <a:pt x="2756" y="2720"/>
                    <a:pt x="2753" y="2723"/>
                    <a:pt x="2749" y="2726"/>
                  </a:cubicBezTo>
                  <a:cubicBezTo>
                    <a:pt x="2745" y="2731"/>
                    <a:pt x="2742" y="2736"/>
                    <a:pt x="2741" y="2741"/>
                  </a:cubicBezTo>
                  <a:cubicBezTo>
                    <a:pt x="2740" y="2747"/>
                    <a:pt x="2741" y="2752"/>
                    <a:pt x="2742" y="2759"/>
                  </a:cubicBezTo>
                  <a:cubicBezTo>
                    <a:pt x="2744" y="2765"/>
                    <a:pt x="2746" y="2771"/>
                    <a:pt x="2749" y="2778"/>
                  </a:cubicBezTo>
                  <a:cubicBezTo>
                    <a:pt x="2752" y="2785"/>
                    <a:pt x="2755" y="2791"/>
                    <a:pt x="2758" y="2798"/>
                  </a:cubicBezTo>
                  <a:cubicBezTo>
                    <a:pt x="2761" y="2805"/>
                    <a:pt x="2763" y="2813"/>
                    <a:pt x="2766" y="2820"/>
                  </a:cubicBezTo>
                  <a:cubicBezTo>
                    <a:pt x="2768" y="2827"/>
                    <a:pt x="2769" y="2835"/>
                    <a:pt x="2770" y="2842"/>
                  </a:cubicBezTo>
                  <a:cubicBezTo>
                    <a:pt x="2770" y="2849"/>
                    <a:pt x="2769" y="2857"/>
                    <a:pt x="2766" y="2864"/>
                  </a:cubicBezTo>
                  <a:cubicBezTo>
                    <a:pt x="2763" y="2871"/>
                    <a:pt x="2759" y="2878"/>
                    <a:pt x="2752" y="2885"/>
                  </a:cubicBezTo>
                  <a:close/>
                  <a:moveTo>
                    <a:pt x="2839" y="3035"/>
                  </a:moveTo>
                  <a:cubicBezTo>
                    <a:pt x="2835" y="3039"/>
                    <a:pt x="2832" y="3041"/>
                    <a:pt x="2830" y="3043"/>
                  </a:cubicBezTo>
                  <a:cubicBezTo>
                    <a:pt x="2828" y="3044"/>
                    <a:pt x="2825" y="3045"/>
                    <a:pt x="2823" y="3045"/>
                  </a:cubicBezTo>
                  <a:cubicBezTo>
                    <a:pt x="2822" y="3045"/>
                    <a:pt x="2819" y="3044"/>
                    <a:pt x="2817" y="3043"/>
                  </a:cubicBezTo>
                  <a:cubicBezTo>
                    <a:pt x="2814" y="3042"/>
                    <a:pt x="2811" y="3041"/>
                    <a:pt x="2808" y="3039"/>
                  </a:cubicBezTo>
                  <a:cubicBezTo>
                    <a:pt x="2805" y="3037"/>
                    <a:pt x="2802" y="3035"/>
                    <a:pt x="2799" y="3033"/>
                  </a:cubicBezTo>
                  <a:cubicBezTo>
                    <a:pt x="2796" y="3030"/>
                    <a:pt x="2793" y="3028"/>
                    <a:pt x="2790" y="3025"/>
                  </a:cubicBezTo>
                  <a:cubicBezTo>
                    <a:pt x="2782" y="3017"/>
                    <a:pt x="2776" y="3009"/>
                    <a:pt x="2772" y="3001"/>
                  </a:cubicBezTo>
                  <a:cubicBezTo>
                    <a:pt x="2769" y="2992"/>
                    <a:pt x="2767" y="2984"/>
                    <a:pt x="2768" y="2976"/>
                  </a:cubicBezTo>
                  <a:cubicBezTo>
                    <a:pt x="2769" y="2968"/>
                    <a:pt x="2771" y="2960"/>
                    <a:pt x="2776" y="2951"/>
                  </a:cubicBezTo>
                  <a:cubicBezTo>
                    <a:pt x="2781" y="2943"/>
                    <a:pt x="2789" y="2934"/>
                    <a:pt x="2798" y="2925"/>
                  </a:cubicBezTo>
                  <a:lnTo>
                    <a:pt x="2891" y="2832"/>
                  </a:lnTo>
                  <a:lnTo>
                    <a:pt x="2869" y="2809"/>
                  </a:lnTo>
                  <a:cubicBezTo>
                    <a:pt x="2867" y="2808"/>
                    <a:pt x="2866" y="2805"/>
                    <a:pt x="2867" y="2802"/>
                  </a:cubicBezTo>
                  <a:cubicBezTo>
                    <a:pt x="2868" y="2799"/>
                    <a:pt x="2870" y="2796"/>
                    <a:pt x="2875" y="2791"/>
                  </a:cubicBezTo>
                  <a:cubicBezTo>
                    <a:pt x="2877" y="2789"/>
                    <a:pt x="2879" y="2787"/>
                    <a:pt x="2881" y="2786"/>
                  </a:cubicBezTo>
                  <a:cubicBezTo>
                    <a:pt x="2883" y="2785"/>
                    <a:pt x="2884" y="2784"/>
                    <a:pt x="2886" y="2784"/>
                  </a:cubicBezTo>
                  <a:cubicBezTo>
                    <a:pt x="2887" y="2783"/>
                    <a:pt x="2889" y="2783"/>
                    <a:pt x="2890" y="2783"/>
                  </a:cubicBezTo>
                  <a:cubicBezTo>
                    <a:pt x="2891" y="2784"/>
                    <a:pt x="2892" y="2784"/>
                    <a:pt x="2893" y="2785"/>
                  </a:cubicBezTo>
                  <a:lnTo>
                    <a:pt x="2915" y="2807"/>
                  </a:lnTo>
                  <a:lnTo>
                    <a:pt x="2953" y="2770"/>
                  </a:lnTo>
                  <a:cubicBezTo>
                    <a:pt x="2954" y="2769"/>
                    <a:pt x="2955" y="2768"/>
                    <a:pt x="2956" y="2768"/>
                  </a:cubicBezTo>
                  <a:cubicBezTo>
                    <a:pt x="2957" y="2768"/>
                    <a:pt x="2958" y="2768"/>
                    <a:pt x="2960" y="2768"/>
                  </a:cubicBezTo>
                  <a:cubicBezTo>
                    <a:pt x="2962" y="2769"/>
                    <a:pt x="2963" y="2770"/>
                    <a:pt x="2966" y="2772"/>
                  </a:cubicBezTo>
                  <a:cubicBezTo>
                    <a:pt x="2968" y="2773"/>
                    <a:pt x="2970" y="2776"/>
                    <a:pt x="2973" y="2778"/>
                  </a:cubicBezTo>
                  <a:cubicBezTo>
                    <a:pt x="2976" y="2781"/>
                    <a:pt x="2978" y="2784"/>
                    <a:pt x="2980" y="2786"/>
                  </a:cubicBezTo>
                  <a:cubicBezTo>
                    <a:pt x="2982" y="2788"/>
                    <a:pt x="2983" y="2790"/>
                    <a:pt x="2983" y="2792"/>
                  </a:cubicBezTo>
                  <a:cubicBezTo>
                    <a:pt x="2984" y="2793"/>
                    <a:pt x="2984" y="2795"/>
                    <a:pt x="2984" y="2796"/>
                  </a:cubicBezTo>
                  <a:cubicBezTo>
                    <a:pt x="2983" y="2797"/>
                    <a:pt x="2983" y="2798"/>
                    <a:pt x="2982" y="2799"/>
                  </a:cubicBezTo>
                  <a:lnTo>
                    <a:pt x="2944" y="2837"/>
                  </a:lnTo>
                  <a:lnTo>
                    <a:pt x="2985" y="2877"/>
                  </a:lnTo>
                  <a:cubicBezTo>
                    <a:pt x="2986" y="2878"/>
                    <a:pt x="2987" y="2879"/>
                    <a:pt x="2987" y="2880"/>
                  </a:cubicBezTo>
                  <a:cubicBezTo>
                    <a:pt x="2987" y="2882"/>
                    <a:pt x="2987" y="2883"/>
                    <a:pt x="2987" y="2884"/>
                  </a:cubicBezTo>
                  <a:cubicBezTo>
                    <a:pt x="2986" y="2886"/>
                    <a:pt x="2985" y="2888"/>
                    <a:pt x="2984" y="2889"/>
                  </a:cubicBezTo>
                  <a:cubicBezTo>
                    <a:pt x="2983" y="2891"/>
                    <a:pt x="2981" y="2893"/>
                    <a:pt x="2979" y="2895"/>
                  </a:cubicBezTo>
                  <a:cubicBezTo>
                    <a:pt x="2974" y="2900"/>
                    <a:pt x="2971" y="2902"/>
                    <a:pt x="2968" y="2903"/>
                  </a:cubicBezTo>
                  <a:cubicBezTo>
                    <a:pt x="2965" y="2904"/>
                    <a:pt x="2963" y="2903"/>
                    <a:pt x="2961" y="2902"/>
                  </a:cubicBezTo>
                  <a:lnTo>
                    <a:pt x="2920" y="2861"/>
                  </a:lnTo>
                  <a:lnTo>
                    <a:pt x="2831" y="2950"/>
                  </a:lnTo>
                  <a:cubicBezTo>
                    <a:pt x="2820" y="2960"/>
                    <a:pt x="2814" y="2970"/>
                    <a:pt x="2811" y="2979"/>
                  </a:cubicBezTo>
                  <a:cubicBezTo>
                    <a:pt x="2809" y="2988"/>
                    <a:pt x="2812" y="2997"/>
                    <a:pt x="2820" y="3005"/>
                  </a:cubicBezTo>
                  <a:cubicBezTo>
                    <a:pt x="2823" y="3008"/>
                    <a:pt x="2826" y="3010"/>
                    <a:pt x="2828" y="3011"/>
                  </a:cubicBezTo>
                  <a:cubicBezTo>
                    <a:pt x="2831" y="3013"/>
                    <a:pt x="2833" y="3014"/>
                    <a:pt x="2836" y="3015"/>
                  </a:cubicBezTo>
                  <a:cubicBezTo>
                    <a:pt x="2838" y="3016"/>
                    <a:pt x="2840" y="3017"/>
                    <a:pt x="2842" y="3018"/>
                  </a:cubicBezTo>
                  <a:cubicBezTo>
                    <a:pt x="2843" y="3019"/>
                    <a:pt x="2845" y="3019"/>
                    <a:pt x="2846" y="3020"/>
                  </a:cubicBezTo>
                  <a:cubicBezTo>
                    <a:pt x="2846" y="3021"/>
                    <a:pt x="2847" y="3022"/>
                    <a:pt x="2847" y="3023"/>
                  </a:cubicBezTo>
                  <a:cubicBezTo>
                    <a:pt x="2847" y="3023"/>
                    <a:pt x="2847" y="3024"/>
                    <a:pt x="2846" y="3025"/>
                  </a:cubicBezTo>
                  <a:cubicBezTo>
                    <a:pt x="2846" y="3027"/>
                    <a:pt x="2845" y="3028"/>
                    <a:pt x="2844" y="3030"/>
                  </a:cubicBezTo>
                  <a:cubicBezTo>
                    <a:pt x="2843" y="3031"/>
                    <a:pt x="2841" y="3033"/>
                    <a:pt x="2839" y="3035"/>
                  </a:cubicBezTo>
                  <a:close/>
                  <a:moveTo>
                    <a:pt x="2989" y="3209"/>
                  </a:moveTo>
                  <a:cubicBezTo>
                    <a:pt x="2987" y="3210"/>
                    <a:pt x="2986" y="3211"/>
                    <a:pt x="2984" y="3210"/>
                  </a:cubicBezTo>
                  <a:cubicBezTo>
                    <a:pt x="2982" y="3210"/>
                    <a:pt x="2980" y="3209"/>
                    <a:pt x="2978" y="3208"/>
                  </a:cubicBezTo>
                  <a:cubicBezTo>
                    <a:pt x="2976" y="3207"/>
                    <a:pt x="2974" y="3205"/>
                    <a:pt x="2971" y="3201"/>
                  </a:cubicBezTo>
                  <a:cubicBezTo>
                    <a:pt x="2968" y="3198"/>
                    <a:pt x="2965" y="3196"/>
                    <a:pt x="2964" y="3194"/>
                  </a:cubicBezTo>
                  <a:cubicBezTo>
                    <a:pt x="2962" y="3191"/>
                    <a:pt x="2962" y="3190"/>
                    <a:pt x="2962" y="3188"/>
                  </a:cubicBezTo>
                  <a:cubicBezTo>
                    <a:pt x="2961" y="3186"/>
                    <a:pt x="2962" y="3185"/>
                    <a:pt x="2963" y="3184"/>
                  </a:cubicBezTo>
                  <a:lnTo>
                    <a:pt x="2979" y="3168"/>
                  </a:lnTo>
                  <a:cubicBezTo>
                    <a:pt x="2965" y="3168"/>
                    <a:pt x="2951" y="3166"/>
                    <a:pt x="2939" y="3162"/>
                  </a:cubicBezTo>
                  <a:cubicBezTo>
                    <a:pt x="2926" y="3157"/>
                    <a:pt x="2915" y="3150"/>
                    <a:pt x="2905" y="3141"/>
                  </a:cubicBezTo>
                  <a:cubicBezTo>
                    <a:pt x="2897" y="3132"/>
                    <a:pt x="2891" y="3124"/>
                    <a:pt x="2886" y="3115"/>
                  </a:cubicBezTo>
                  <a:cubicBezTo>
                    <a:pt x="2881" y="3106"/>
                    <a:pt x="2879" y="3097"/>
                    <a:pt x="2878" y="3088"/>
                  </a:cubicBezTo>
                  <a:cubicBezTo>
                    <a:pt x="2878" y="3079"/>
                    <a:pt x="2879" y="3070"/>
                    <a:pt x="2882" y="3062"/>
                  </a:cubicBezTo>
                  <a:cubicBezTo>
                    <a:pt x="2886" y="3053"/>
                    <a:pt x="2891" y="3045"/>
                    <a:pt x="2899" y="3037"/>
                  </a:cubicBezTo>
                  <a:cubicBezTo>
                    <a:pt x="2908" y="3028"/>
                    <a:pt x="2917" y="3022"/>
                    <a:pt x="2928" y="3019"/>
                  </a:cubicBezTo>
                  <a:cubicBezTo>
                    <a:pt x="2938" y="3016"/>
                    <a:pt x="2949" y="3016"/>
                    <a:pt x="2960" y="3019"/>
                  </a:cubicBezTo>
                  <a:cubicBezTo>
                    <a:pt x="2971" y="3021"/>
                    <a:pt x="2983" y="3026"/>
                    <a:pt x="2995" y="3034"/>
                  </a:cubicBezTo>
                  <a:cubicBezTo>
                    <a:pt x="3007" y="3042"/>
                    <a:pt x="3019" y="3052"/>
                    <a:pt x="3031" y="3064"/>
                  </a:cubicBezTo>
                  <a:lnTo>
                    <a:pt x="3053" y="3086"/>
                  </a:lnTo>
                  <a:lnTo>
                    <a:pt x="3066" y="3074"/>
                  </a:lnTo>
                  <a:cubicBezTo>
                    <a:pt x="3072" y="3067"/>
                    <a:pt x="3077" y="3061"/>
                    <a:pt x="3080" y="3055"/>
                  </a:cubicBezTo>
                  <a:cubicBezTo>
                    <a:pt x="3083" y="3049"/>
                    <a:pt x="3085" y="3043"/>
                    <a:pt x="3085" y="3037"/>
                  </a:cubicBezTo>
                  <a:cubicBezTo>
                    <a:pt x="3086" y="3031"/>
                    <a:pt x="3084" y="3025"/>
                    <a:pt x="3081" y="3019"/>
                  </a:cubicBezTo>
                  <a:cubicBezTo>
                    <a:pt x="3078" y="3013"/>
                    <a:pt x="3073" y="3006"/>
                    <a:pt x="3067" y="3000"/>
                  </a:cubicBezTo>
                  <a:cubicBezTo>
                    <a:pt x="3060" y="2993"/>
                    <a:pt x="3052" y="2987"/>
                    <a:pt x="3045" y="2983"/>
                  </a:cubicBezTo>
                  <a:cubicBezTo>
                    <a:pt x="3037" y="2979"/>
                    <a:pt x="3030" y="2976"/>
                    <a:pt x="3024" y="2974"/>
                  </a:cubicBezTo>
                  <a:cubicBezTo>
                    <a:pt x="3018" y="2971"/>
                    <a:pt x="3012" y="2970"/>
                    <a:pt x="3008" y="2968"/>
                  </a:cubicBezTo>
                  <a:cubicBezTo>
                    <a:pt x="3003" y="2967"/>
                    <a:pt x="3000" y="2966"/>
                    <a:pt x="2999" y="2965"/>
                  </a:cubicBezTo>
                  <a:cubicBezTo>
                    <a:pt x="2998" y="2964"/>
                    <a:pt x="2997" y="2963"/>
                    <a:pt x="2997" y="2961"/>
                  </a:cubicBezTo>
                  <a:cubicBezTo>
                    <a:pt x="2997" y="2960"/>
                    <a:pt x="2997" y="2959"/>
                    <a:pt x="2997" y="2957"/>
                  </a:cubicBezTo>
                  <a:cubicBezTo>
                    <a:pt x="2998" y="2956"/>
                    <a:pt x="2998" y="2954"/>
                    <a:pt x="3000" y="2953"/>
                  </a:cubicBezTo>
                  <a:cubicBezTo>
                    <a:pt x="3001" y="2951"/>
                    <a:pt x="3002" y="2949"/>
                    <a:pt x="3004" y="2947"/>
                  </a:cubicBezTo>
                  <a:cubicBezTo>
                    <a:pt x="3007" y="2944"/>
                    <a:pt x="3010" y="2942"/>
                    <a:pt x="3012" y="2941"/>
                  </a:cubicBezTo>
                  <a:cubicBezTo>
                    <a:pt x="3014" y="2940"/>
                    <a:pt x="3016" y="2939"/>
                    <a:pt x="3020" y="2939"/>
                  </a:cubicBezTo>
                  <a:cubicBezTo>
                    <a:pt x="3023" y="2939"/>
                    <a:pt x="3027" y="2940"/>
                    <a:pt x="3033" y="2942"/>
                  </a:cubicBezTo>
                  <a:cubicBezTo>
                    <a:pt x="3039" y="2944"/>
                    <a:pt x="3046" y="2946"/>
                    <a:pt x="3052" y="2950"/>
                  </a:cubicBezTo>
                  <a:cubicBezTo>
                    <a:pt x="3059" y="2953"/>
                    <a:pt x="3066" y="2957"/>
                    <a:pt x="3073" y="2962"/>
                  </a:cubicBezTo>
                  <a:cubicBezTo>
                    <a:pt x="3080" y="2967"/>
                    <a:pt x="3087" y="2973"/>
                    <a:pt x="3093" y="2979"/>
                  </a:cubicBezTo>
                  <a:cubicBezTo>
                    <a:pt x="3104" y="2990"/>
                    <a:pt x="3113" y="3001"/>
                    <a:pt x="3118" y="3012"/>
                  </a:cubicBezTo>
                  <a:cubicBezTo>
                    <a:pt x="3124" y="3022"/>
                    <a:pt x="3126" y="3033"/>
                    <a:pt x="3126" y="3043"/>
                  </a:cubicBezTo>
                  <a:cubicBezTo>
                    <a:pt x="3126" y="3053"/>
                    <a:pt x="3124" y="3062"/>
                    <a:pt x="3118" y="3072"/>
                  </a:cubicBezTo>
                  <a:cubicBezTo>
                    <a:pt x="3113" y="3082"/>
                    <a:pt x="3106" y="3091"/>
                    <a:pt x="3096" y="3101"/>
                  </a:cubicBezTo>
                  <a:lnTo>
                    <a:pt x="2989" y="3209"/>
                  </a:lnTo>
                  <a:close/>
                  <a:moveTo>
                    <a:pt x="3032" y="3107"/>
                  </a:moveTo>
                  <a:lnTo>
                    <a:pt x="3007" y="3082"/>
                  </a:lnTo>
                  <a:cubicBezTo>
                    <a:pt x="2999" y="3074"/>
                    <a:pt x="2992" y="3068"/>
                    <a:pt x="2984" y="3063"/>
                  </a:cubicBezTo>
                  <a:cubicBezTo>
                    <a:pt x="2977" y="3059"/>
                    <a:pt x="2970" y="3056"/>
                    <a:pt x="2964" y="3055"/>
                  </a:cubicBezTo>
                  <a:cubicBezTo>
                    <a:pt x="2957" y="3053"/>
                    <a:pt x="2951" y="3054"/>
                    <a:pt x="2946" y="3056"/>
                  </a:cubicBezTo>
                  <a:cubicBezTo>
                    <a:pt x="2940" y="3057"/>
                    <a:pt x="2935" y="3061"/>
                    <a:pt x="2930" y="3066"/>
                  </a:cubicBezTo>
                  <a:cubicBezTo>
                    <a:pt x="2922" y="3074"/>
                    <a:pt x="2918" y="3083"/>
                    <a:pt x="2918" y="3093"/>
                  </a:cubicBezTo>
                  <a:cubicBezTo>
                    <a:pt x="2919" y="3103"/>
                    <a:pt x="2923" y="3113"/>
                    <a:pt x="2933" y="3123"/>
                  </a:cubicBezTo>
                  <a:cubicBezTo>
                    <a:pt x="2941" y="3130"/>
                    <a:pt x="2950" y="3135"/>
                    <a:pt x="2960" y="3138"/>
                  </a:cubicBezTo>
                  <a:cubicBezTo>
                    <a:pt x="2970" y="3141"/>
                    <a:pt x="2983" y="3142"/>
                    <a:pt x="2998" y="3141"/>
                  </a:cubicBezTo>
                  <a:lnTo>
                    <a:pt x="3032" y="3107"/>
                  </a:lnTo>
                  <a:close/>
                  <a:moveTo>
                    <a:pt x="3175" y="3395"/>
                  </a:moveTo>
                  <a:cubicBezTo>
                    <a:pt x="3174" y="3396"/>
                    <a:pt x="3173" y="3396"/>
                    <a:pt x="3172" y="3396"/>
                  </a:cubicBezTo>
                  <a:cubicBezTo>
                    <a:pt x="3171" y="3397"/>
                    <a:pt x="3169" y="3397"/>
                    <a:pt x="3168" y="3396"/>
                  </a:cubicBezTo>
                  <a:cubicBezTo>
                    <a:pt x="3167" y="3395"/>
                    <a:pt x="3165" y="3394"/>
                    <a:pt x="3163" y="3393"/>
                  </a:cubicBezTo>
                  <a:cubicBezTo>
                    <a:pt x="3161" y="3392"/>
                    <a:pt x="3159" y="3390"/>
                    <a:pt x="3157" y="3387"/>
                  </a:cubicBezTo>
                  <a:cubicBezTo>
                    <a:pt x="3154" y="3385"/>
                    <a:pt x="3152" y="3383"/>
                    <a:pt x="3151" y="3381"/>
                  </a:cubicBezTo>
                  <a:cubicBezTo>
                    <a:pt x="3149" y="3379"/>
                    <a:pt x="3148" y="3377"/>
                    <a:pt x="3148" y="3376"/>
                  </a:cubicBezTo>
                  <a:cubicBezTo>
                    <a:pt x="3147" y="3374"/>
                    <a:pt x="3147" y="3373"/>
                    <a:pt x="3147" y="3372"/>
                  </a:cubicBezTo>
                  <a:cubicBezTo>
                    <a:pt x="3147" y="3371"/>
                    <a:pt x="3148" y="3370"/>
                    <a:pt x="3149" y="3369"/>
                  </a:cubicBezTo>
                  <a:lnTo>
                    <a:pt x="3170" y="3348"/>
                  </a:lnTo>
                  <a:cubicBezTo>
                    <a:pt x="3152" y="3348"/>
                    <a:pt x="3137" y="3347"/>
                    <a:pt x="3123" y="3343"/>
                  </a:cubicBezTo>
                  <a:cubicBezTo>
                    <a:pt x="3109" y="3339"/>
                    <a:pt x="3096" y="3331"/>
                    <a:pt x="3085" y="3321"/>
                  </a:cubicBezTo>
                  <a:cubicBezTo>
                    <a:pt x="3074" y="3309"/>
                    <a:pt x="3066" y="3297"/>
                    <a:pt x="3062" y="3284"/>
                  </a:cubicBezTo>
                  <a:cubicBezTo>
                    <a:pt x="3059" y="3271"/>
                    <a:pt x="3058" y="3258"/>
                    <a:pt x="3061" y="3246"/>
                  </a:cubicBezTo>
                  <a:cubicBezTo>
                    <a:pt x="3063" y="3233"/>
                    <a:pt x="3069" y="3220"/>
                    <a:pt x="3077" y="3207"/>
                  </a:cubicBezTo>
                  <a:cubicBezTo>
                    <a:pt x="3085" y="3194"/>
                    <a:pt x="3095" y="3182"/>
                    <a:pt x="3106" y="3171"/>
                  </a:cubicBezTo>
                  <a:cubicBezTo>
                    <a:pt x="3120" y="3157"/>
                    <a:pt x="3134" y="3146"/>
                    <a:pt x="3148" y="3138"/>
                  </a:cubicBezTo>
                  <a:cubicBezTo>
                    <a:pt x="3162" y="3130"/>
                    <a:pt x="3175" y="3125"/>
                    <a:pt x="3189" y="3123"/>
                  </a:cubicBezTo>
                  <a:cubicBezTo>
                    <a:pt x="3202" y="3121"/>
                    <a:pt x="3216" y="3122"/>
                    <a:pt x="3228" y="3126"/>
                  </a:cubicBezTo>
                  <a:cubicBezTo>
                    <a:pt x="3241" y="3131"/>
                    <a:pt x="3253" y="3139"/>
                    <a:pt x="3264" y="3150"/>
                  </a:cubicBezTo>
                  <a:cubicBezTo>
                    <a:pt x="3273" y="3159"/>
                    <a:pt x="3280" y="3170"/>
                    <a:pt x="3284" y="3181"/>
                  </a:cubicBezTo>
                  <a:cubicBezTo>
                    <a:pt x="3287" y="3193"/>
                    <a:pt x="3289" y="3207"/>
                    <a:pt x="3289" y="3222"/>
                  </a:cubicBezTo>
                  <a:lnTo>
                    <a:pt x="3381" y="3130"/>
                  </a:lnTo>
                  <a:cubicBezTo>
                    <a:pt x="3382" y="3129"/>
                    <a:pt x="3383" y="3128"/>
                    <a:pt x="3384" y="3128"/>
                  </a:cubicBezTo>
                  <a:cubicBezTo>
                    <a:pt x="3385" y="3128"/>
                    <a:pt x="3387" y="3128"/>
                    <a:pt x="3388" y="3129"/>
                  </a:cubicBezTo>
                  <a:cubicBezTo>
                    <a:pt x="3390" y="3129"/>
                    <a:pt x="3392" y="3131"/>
                    <a:pt x="3394" y="3132"/>
                  </a:cubicBezTo>
                  <a:cubicBezTo>
                    <a:pt x="3396" y="3134"/>
                    <a:pt x="3398" y="3136"/>
                    <a:pt x="3401" y="3139"/>
                  </a:cubicBezTo>
                  <a:cubicBezTo>
                    <a:pt x="3404" y="3142"/>
                    <a:pt x="3406" y="3144"/>
                    <a:pt x="3408" y="3146"/>
                  </a:cubicBezTo>
                  <a:cubicBezTo>
                    <a:pt x="3410" y="3149"/>
                    <a:pt x="3411" y="3150"/>
                    <a:pt x="3411" y="3152"/>
                  </a:cubicBezTo>
                  <a:cubicBezTo>
                    <a:pt x="3412" y="3153"/>
                    <a:pt x="3412" y="3155"/>
                    <a:pt x="3412" y="3156"/>
                  </a:cubicBezTo>
                  <a:cubicBezTo>
                    <a:pt x="3412" y="3157"/>
                    <a:pt x="3411" y="3158"/>
                    <a:pt x="3410" y="3159"/>
                  </a:cubicBezTo>
                  <a:lnTo>
                    <a:pt x="3175" y="3395"/>
                  </a:lnTo>
                  <a:close/>
                  <a:moveTo>
                    <a:pt x="3257" y="3253"/>
                  </a:moveTo>
                  <a:cubicBezTo>
                    <a:pt x="3259" y="3236"/>
                    <a:pt x="3259" y="3221"/>
                    <a:pt x="3257" y="3208"/>
                  </a:cubicBezTo>
                  <a:cubicBezTo>
                    <a:pt x="3255" y="3196"/>
                    <a:pt x="3250" y="3185"/>
                    <a:pt x="3242" y="3177"/>
                  </a:cubicBezTo>
                  <a:cubicBezTo>
                    <a:pt x="3234" y="3170"/>
                    <a:pt x="3226" y="3165"/>
                    <a:pt x="3217" y="3164"/>
                  </a:cubicBezTo>
                  <a:cubicBezTo>
                    <a:pt x="3209" y="3162"/>
                    <a:pt x="3200" y="3163"/>
                    <a:pt x="3191" y="3165"/>
                  </a:cubicBezTo>
                  <a:cubicBezTo>
                    <a:pt x="3182" y="3168"/>
                    <a:pt x="3173" y="3172"/>
                    <a:pt x="3164" y="3178"/>
                  </a:cubicBezTo>
                  <a:cubicBezTo>
                    <a:pt x="3155" y="3183"/>
                    <a:pt x="3147" y="3190"/>
                    <a:pt x="3140" y="3198"/>
                  </a:cubicBezTo>
                  <a:cubicBezTo>
                    <a:pt x="3132" y="3206"/>
                    <a:pt x="3124" y="3214"/>
                    <a:pt x="3118" y="3223"/>
                  </a:cubicBezTo>
                  <a:cubicBezTo>
                    <a:pt x="3111" y="3232"/>
                    <a:pt x="3107" y="3241"/>
                    <a:pt x="3104" y="3250"/>
                  </a:cubicBezTo>
                  <a:cubicBezTo>
                    <a:pt x="3101" y="3259"/>
                    <a:pt x="3100" y="3268"/>
                    <a:pt x="3102" y="3276"/>
                  </a:cubicBezTo>
                  <a:cubicBezTo>
                    <a:pt x="3103" y="3285"/>
                    <a:pt x="3108" y="3293"/>
                    <a:pt x="3115" y="3301"/>
                  </a:cubicBezTo>
                  <a:cubicBezTo>
                    <a:pt x="3119" y="3305"/>
                    <a:pt x="3124" y="3308"/>
                    <a:pt x="3128" y="3311"/>
                  </a:cubicBezTo>
                  <a:cubicBezTo>
                    <a:pt x="3133" y="3313"/>
                    <a:pt x="3138" y="3315"/>
                    <a:pt x="3145" y="3316"/>
                  </a:cubicBezTo>
                  <a:cubicBezTo>
                    <a:pt x="3151" y="3318"/>
                    <a:pt x="3158" y="3318"/>
                    <a:pt x="3166" y="3319"/>
                  </a:cubicBezTo>
                  <a:cubicBezTo>
                    <a:pt x="3174" y="3319"/>
                    <a:pt x="3183" y="3318"/>
                    <a:pt x="3194" y="3317"/>
                  </a:cubicBezTo>
                  <a:lnTo>
                    <a:pt x="3257" y="3253"/>
                  </a:lnTo>
                  <a:close/>
                  <a:moveTo>
                    <a:pt x="3325" y="3522"/>
                  </a:moveTo>
                  <a:cubicBezTo>
                    <a:pt x="3322" y="3525"/>
                    <a:pt x="3319" y="3528"/>
                    <a:pt x="3316" y="3529"/>
                  </a:cubicBezTo>
                  <a:cubicBezTo>
                    <a:pt x="3314" y="3531"/>
                    <a:pt x="3312" y="3531"/>
                    <a:pt x="3310" y="3531"/>
                  </a:cubicBezTo>
                  <a:cubicBezTo>
                    <a:pt x="3308" y="3531"/>
                    <a:pt x="3306" y="3531"/>
                    <a:pt x="3303" y="3530"/>
                  </a:cubicBezTo>
                  <a:cubicBezTo>
                    <a:pt x="3300" y="3529"/>
                    <a:pt x="3298" y="3527"/>
                    <a:pt x="3295" y="3525"/>
                  </a:cubicBezTo>
                  <a:cubicBezTo>
                    <a:pt x="3292" y="3524"/>
                    <a:pt x="3289" y="3521"/>
                    <a:pt x="3286" y="3519"/>
                  </a:cubicBezTo>
                  <a:cubicBezTo>
                    <a:pt x="3282" y="3517"/>
                    <a:pt x="3280" y="3514"/>
                    <a:pt x="3277" y="3511"/>
                  </a:cubicBezTo>
                  <a:cubicBezTo>
                    <a:pt x="3269" y="3503"/>
                    <a:pt x="3263" y="3495"/>
                    <a:pt x="3259" y="3487"/>
                  </a:cubicBezTo>
                  <a:cubicBezTo>
                    <a:pt x="3255" y="3479"/>
                    <a:pt x="3254" y="3471"/>
                    <a:pt x="3254" y="3463"/>
                  </a:cubicBezTo>
                  <a:cubicBezTo>
                    <a:pt x="3255" y="3454"/>
                    <a:pt x="3258" y="3446"/>
                    <a:pt x="3263" y="3438"/>
                  </a:cubicBezTo>
                  <a:cubicBezTo>
                    <a:pt x="3268" y="3429"/>
                    <a:pt x="3275" y="3420"/>
                    <a:pt x="3284" y="3411"/>
                  </a:cubicBezTo>
                  <a:lnTo>
                    <a:pt x="3377" y="3318"/>
                  </a:lnTo>
                  <a:lnTo>
                    <a:pt x="3355" y="3296"/>
                  </a:lnTo>
                  <a:cubicBezTo>
                    <a:pt x="3353" y="3294"/>
                    <a:pt x="3353" y="3292"/>
                    <a:pt x="3354" y="3289"/>
                  </a:cubicBezTo>
                  <a:cubicBezTo>
                    <a:pt x="3354" y="3286"/>
                    <a:pt x="3357" y="3282"/>
                    <a:pt x="3361" y="3278"/>
                  </a:cubicBezTo>
                  <a:cubicBezTo>
                    <a:pt x="3363" y="3276"/>
                    <a:pt x="3365" y="3274"/>
                    <a:pt x="3367" y="3273"/>
                  </a:cubicBezTo>
                  <a:cubicBezTo>
                    <a:pt x="3369" y="3271"/>
                    <a:pt x="3371" y="3271"/>
                    <a:pt x="3372" y="3270"/>
                  </a:cubicBezTo>
                  <a:cubicBezTo>
                    <a:pt x="3374" y="3270"/>
                    <a:pt x="3375" y="3269"/>
                    <a:pt x="3376" y="3270"/>
                  </a:cubicBezTo>
                  <a:cubicBezTo>
                    <a:pt x="3377" y="3270"/>
                    <a:pt x="3378" y="3271"/>
                    <a:pt x="3379" y="3272"/>
                  </a:cubicBezTo>
                  <a:lnTo>
                    <a:pt x="3402" y="3294"/>
                  </a:lnTo>
                  <a:lnTo>
                    <a:pt x="3439" y="3256"/>
                  </a:lnTo>
                  <a:cubicBezTo>
                    <a:pt x="3440" y="3255"/>
                    <a:pt x="3441" y="3255"/>
                    <a:pt x="3442" y="3254"/>
                  </a:cubicBezTo>
                  <a:cubicBezTo>
                    <a:pt x="3443" y="3254"/>
                    <a:pt x="3445" y="3254"/>
                    <a:pt x="3446" y="3255"/>
                  </a:cubicBezTo>
                  <a:cubicBezTo>
                    <a:pt x="3448" y="3255"/>
                    <a:pt x="3450" y="3257"/>
                    <a:pt x="3452" y="3258"/>
                  </a:cubicBezTo>
                  <a:cubicBezTo>
                    <a:pt x="3454" y="3260"/>
                    <a:pt x="3457" y="3262"/>
                    <a:pt x="3459" y="3265"/>
                  </a:cubicBezTo>
                  <a:cubicBezTo>
                    <a:pt x="3462" y="3268"/>
                    <a:pt x="3465" y="3270"/>
                    <a:pt x="3466" y="3272"/>
                  </a:cubicBezTo>
                  <a:cubicBezTo>
                    <a:pt x="3468" y="3275"/>
                    <a:pt x="3469" y="3276"/>
                    <a:pt x="3470" y="3278"/>
                  </a:cubicBezTo>
                  <a:cubicBezTo>
                    <a:pt x="3470" y="3280"/>
                    <a:pt x="3470" y="3281"/>
                    <a:pt x="3470" y="3282"/>
                  </a:cubicBezTo>
                  <a:cubicBezTo>
                    <a:pt x="3470" y="3283"/>
                    <a:pt x="3469" y="3284"/>
                    <a:pt x="3469" y="3285"/>
                  </a:cubicBezTo>
                  <a:lnTo>
                    <a:pt x="3431" y="3323"/>
                  </a:lnTo>
                  <a:lnTo>
                    <a:pt x="3472" y="3364"/>
                  </a:lnTo>
                  <a:cubicBezTo>
                    <a:pt x="3472" y="3365"/>
                    <a:pt x="3473" y="3366"/>
                    <a:pt x="3473" y="3367"/>
                  </a:cubicBezTo>
                  <a:cubicBezTo>
                    <a:pt x="3474" y="3368"/>
                    <a:pt x="3474" y="3369"/>
                    <a:pt x="3473" y="3371"/>
                  </a:cubicBezTo>
                  <a:cubicBezTo>
                    <a:pt x="3473" y="3372"/>
                    <a:pt x="3472" y="3374"/>
                    <a:pt x="3470" y="3376"/>
                  </a:cubicBezTo>
                  <a:cubicBezTo>
                    <a:pt x="3469" y="3378"/>
                    <a:pt x="3467" y="3380"/>
                    <a:pt x="3465" y="3382"/>
                  </a:cubicBezTo>
                  <a:cubicBezTo>
                    <a:pt x="3461" y="3386"/>
                    <a:pt x="3457" y="3389"/>
                    <a:pt x="3454" y="3389"/>
                  </a:cubicBezTo>
                  <a:cubicBezTo>
                    <a:pt x="3451" y="3390"/>
                    <a:pt x="3449" y="3390"/>
                    <a:pt x="3447" y="3388"/>
                  </a:cubicBezTo>
                  <a:lnTo>
                    <a:pt x="3406" y="3347"/>
                  </a:lnTo>
                  <a:lnTo>
                    <a:pt x="3318" y="3436"/>
                  </a:lnTo>
                  <a:cubicBezTo>
                    <a:pt x="3307" y="3447"/>
                    <a:pt x="3300" y="3457"/>
                    <a:pt x="3298" y="3466"/>
                  </a:cubicBezTo>
                  <a:cubicBezTo>
                    <a:pt x="3295" y="3475"/>
                    <a:pt x="3298" y="3483"/>
                    <a:pt x="3307" y="3491"/>
                  </a:cubicBezTo>
                  <a:cubicBezTo>
                    <a:pt x="3309" y="3494"/>
                    <a:pt x="3312" y="3496"/>
                    <a:pt x="3315" y="3498"/>
                  </a:cubicBezTo>
                  <a:cubicBezTo>
                    <a:pt x="3317" y="3500"/>
                    <a:pt x="3320" y="3501"/>
                    <a:pt x="3322" y="3502"/>
                  </a:cubicBezTo>
                  <a:cubicBezTo>
                    <a:pt x="3324" y="3503"/>
                    <a:pt x="3326" y="3504"/>
                    <a:pt x="3328" y="3504"/>
                  </a:cubicBezTo>
                  <a:cubicBezTo>
                    <a:pt x="3330" y="3505"/>
                    <a:pt x="3331" y="3506"/>
                    <a:pt x="3332" y="3507"/>
                  </a:cubicBezTo>
                  <a:cubicBezTo>
                    <a:pt x="3333" y="3507"/>
                    <a:pt x="3333" y="3508"/>
                    <a:pt x="3333" y="3509"/>
                  </a:cubicBezTo>
                  <a:cubicBezTo>
                    <a:pt x="3334" y="3510"/>
                    <a:pt x="3333" y="3511"/>
                    <a:pt x="3333" y="3512"/>
                  </a:cubicBezTo>
                  <a:cubicBezTo>
                    <a:pt x="3332" y="3513"/>
                    <a:pt x="3331" y="3514"/>
                    <a:pt x="3330" y="3516"/>
                  </a:cubicBezTo>
                  <a:cubicBezTo>
                    <a:pt x="3329" y="3518"/>
                    <a:pt x="3327" y="3520"/>
                    <a:pt x="3325" y="3522"/>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409" name="Freeform 156"/>
            <p:cNvSpPr>
              <a:spLocks noEditPoints="1"/>
            </p:cNvSpPr>
            <p:nvPr/>
          </p:nvSpPr>
          <p:spPr bwMode="auto">
            <a:xfrm>
              <a:off x="468" y="1982"/>
              <a:ext cx="272" cy="279"/>
            </a:xfrm>
            <a:custGeom>
              <a:avLst/>
              <a:gdLst>
                <a:gd name="T0" fmla="*/ 6 w 2577"/>
                <a:gd name="T1" fmla="*/ 211 h 2645"/>
                <a:gd name="T2" fmla="*/ 264 w 2577"/>
                <a:gd name="T3" fmla="*/ 210 h 2645"/>
                <a:gd name="T4" fmla="*/ 278 w 2577"/>
                <a:gd name="T5" fmla="*/ 104 h 2645"/>
                <a:gd name="T6" fmla="*/ 191 w 2577"/>
                <a:gd name="T7" fmla="*/ 257 h 2645"/>
                <a:gd name="T8" fmla="*/ 176 w 2577"/>
                <a:gd name="T9" fmla="*/ 278 h 2645"/>
                <a:gd name="T10" fmla="*/ 316 w 2577"/>
                <a:gd name="T11" fmla="*/ 493 h 2645"/>
                <a:gd name="T12" fmla="*/ 318 w 2577"/>
                <a:gd name="T13" fmla="*/ 529 h 2645"/>
                <a:gd name="T14" fmla="*/ 341 w 2577"/>
                <a:gd name="T15" fmla="*/ 274 h 2645"/>
                <a:gd name="T16" fmla="*/ 396 w 2577"/>
                <a:gd name="T17" fmla="*/ 328 h 2645"/>
                <a:gd name="T18" fmla="*/ 592 w 2577"/>
                <a:gd name="T19" fmla="*/ 543 h 2645"/>
                <a:gd name="T20" fmla="*/ 394 w 2577"/>
                <a:gd name="T21" fmla="*/ 620 h 2645"/>
                <a:gd name="T22" fmla="*/ 534 w 2577"/>
                <a:gd name="T23" fmla="*/ 428 h 2645"/>
                <a:gd name="T24" fmla="*/ 594 w 2577"/>
                <a:gd name="T25" fmla="*/ 483 h 2645"/>
                <a:gd name="T26" fmla="*/ 522 w 2577"/>
                <a:gd name="T27" fmla="*/ 743 h 2645"/>
                <a:gd name="T28" fmla="*/ 732 w 2577"/>
                <a:gd name="T29" fmla="*/ 475 h 2645"/>
                <a:gd name="T30" fmla="*/ 609 w 2577"/>
                <a:gd name="T31" fmla="*/ 835 h 2645"/>
                <a:gd name="T32" fmla="*/ 749 w 2577"/>
                <a:gd name="T33" fmla="*/ 644 h 2645"/>
                <a:gd name="T34" fmla="*/ 793 w 2577"/>
                <a:gd name="T35" fmla="*/ 623 h 2645"/>
                <a:gd name="T36" fmla="*/ 787 w 2577"/>
                <a:gd name="T37" fmla="*/ 1018 h 2645"/>
                <a:gd name="T38" fmla="*/ 878 w 2577"/>
                <a:gd name="T39" fmla="*/ 815 h 2645"/>
                <a:gd name="T40" fmla="*/ 661 w 2577"/>
                <a:gd name="T41" fmla="*/ 886 h 2645"/>
                <a:gd name="T42" fmla="*/ 848 w 2577"/>
                <a:gd name="T43" fmla="*/ 750 h 2645"/>
                <a:gd name="T44" fmla="*/ 1084 w 2577"/>
                <a:gd name="T45" fmla="*/ 1309 h 2645"/>
                <a:gd name="T46" fmla="*/ 960 w 2577"/>
                <a:gd name="T47" fmla="*/ 1189 h 2645"/>
                <a:gd name="T48" fmla="*/ 1170 w 2577"/>
                <a:gd name="T49" fmla="*/ 941 h 2645"/>
                <a:gd name="T50" fmla="*/ 1284 w 2577"/>
                <a:gd name="T51" fmla="*/ 1055 h 2645"/>
                <a:gd name="T52" fmla="*/ 1089 w 2577"/>
                <a:gd name="T53" fmla="*/ 1303 h 2645"/>
                <a:gd name="T54" fmla="*/ 1193 w 2577"/>
                <a:gd name="T55" fmla="*/ 1258 h 2645"/>
                <a:gd name="T56" fmla="*/ 1345 w 2577"/>
                <a:gd name="T57" fmla="*/ 1359 h 2645"/>
                <a:gd name="T58" fmla="*/ 1193 w 2577"/>
                <a:gd name="T59" fmla="*/ 1370 h 2645"/>
                <a:gd name="T60" fmla="*/ 1391 w 2577"/>
                <a:gd name="T61" fmla="*/ 1512 h 2645"/>
                <a:gd name="T62" fmla="*/ 1469 w 2577"/>
                <a:gd name="T63" fmla="*/ 1646 h 2645"/>
                <a:gd name="T64" fmla="*/ 1351 w 2577"/>
                <a:gd name="T65" fmla="*/ 1576 h 2645"/>
                <a:gd name="T66" fmla="*/ 1571 w 2577"/>
                <a:gd name="T67" fmla="*/ 1550 h 2645"/>
                <a:gd name="T68" fmla="*/ 1520 w 2577"/>
                <a:gd name="T69" fmla="*/ 1551 h 2645"/>
                <a:gd name="T70" fmla="*/ 1466 w 2577"/>
                <a:gd name="T71" fmla="*/ 1813 h 2645"/>
                <a:gd name="T72" fmla="*/ 1662 w 2577"/>
                <a:gd name="T73" fmla="*/ 1559 h 2645"/>
                <a:gd name="T74" fmla="*/ 1712 w 2577"/>
                <a:gd name="T75" fmla="*/ 1614 h 2645"/>
                <a:gd name="T76" fmla="*/ 1732 w 2577"/>
                <a:gd name="T77" fmla="*/ 1679 h 2645"/>
                <a:gd name="T78" fmla="*/ 1643 w 2577"/>
                <a:gd name="T79" fmla="*/ 1790 h 2645"/>
                <a:gd name="T80" fmla="*/ 1768 w 2577"/>
                <a:gd name="T81" fmla="*/ 1957 h 2645"/>
                <a:gd name="T82" fmla="*/ 1819 w 2577"/>
                <a:gd name="T83" fmla="*/ 2020 h 2645"/>
                <a:gd name="T84" fmla="*/ 1749 w 2577"/>
                <a:gd name="T85" fmla="*/ 1812 h 2645"/>
                <a:gd name="T86" fmla="*/ 1882 w 2577"/>
                <a:gd name="T87" fmla="*/ 1913 h 2645"/>
                <a:gd name="T88" fmla="*/ 1992 w 2577"/>
                <a:gd name="T89" fmla="*/ 2220 h 2645"/>
                <a:gd name="T90" fmla="*/ 2089 w 2577"/>
                <a:gd name="T91" fmla="*/ 2033 h 2645"/>
                <a:gd name="T92" fmla="*/ 1860 w 2577"/>
                <a:gd name="T93" fmla="*/ 2089 h 2645"/>
                <a:gd name="T94" fmla="*/ 2049 w 2577"/>
                <a:gd name="T95" fmla="*/ 1947 h 2645"/>
                <a:gd name="T96" fmla="*/ 2083 w 2577"/>
                <a:gd name="T97" fmla="*/ 2304 h 2645"/>
                <a:gd name="T98" fmla="*/ 2216 w 2577"/>
                <a:gd name="T99" fmla="*/ 2114 h 2645"/>
                <a:gd name="T100" fmla="*/ 2281 w 2577"/>
                <a:gd name="T101" fmla="*/ 2104 h 2645"/>
                <a:gd name="T102" fmla="*/ 2273 w 2577"/>
                <a:gd name="T103" fmla="*/ 2463 h 2645"/>
                <a:gd name="T104" fmla="*/ 2211 w 2577"/>
                <a:gd name="T105" fmla="*/ 2276 h 2645"/>
                <a:gd name="T106" fmla="*/ 2402 w 2577"/>
                <a:gd name="T107" fmla="*/ 2333 h 2645"/>
                <a:gd name="T108" fmla="*/ 2243 w 2577"/>
                <a:gd name="T109" fmla="*/ 2305 h 2645"/>
                <a:gd name="T110" fmla="*/ 2292 w 2577"/>
                <a:gd name="T111" fmla="*/ 2444 h 2645"/>
                <a:gd name="T112" fmla="*/ 2388 w 2577"/>
                <a:gd name="T113" fmla="*/ 2614 h 2645"/>
                <a:gd name="T114" fmla="*/ 2290 w 2577"/>
                <a:gd name="T115" fmla="*/ 2515 h 2645"/>
                <a:gd name="T116" fmla="*/ 2557 w 2577"/>
                <a:gd name="T117" fmla="*/ 2305 h 2645"/>
                <a:gd name="T118" fmla="*/ 2575 w 2577"/>
                <a:gd name="T119" fmla="*/ 2477 h 2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77" h="2645">
                  <a:moveTo>
                    <a:pt x="210" y="309"/>
                  </a:moveTo>
                  <a:cubicBezTo>
                    <a:pt x="203" y="316"/>
                    <a:pt x="195" y="321"/>
                    <a:pt x="188" y="326"/>
                  </a:cubicBezTo>
                  <a:cubicBezTo>
                    <a:pt x="180" y="330"/>
                    <a:pt x="172" y="333"/>
                    <a:pt x="163" y="334"/>
                  </a:cubicBezTo>
                  <a:cubicBezTo>
                    <a:pt x="155" y="336"/>
                    <a:pt x="147" y="336"/>
                    <a:pt x="139" y="335"/>
                  </a:cubicBezTo>
                  <a:cubicBezTo>
                    <a:pt x="130" y="334"/>
                    <a:pt x="122" y="332"/>
                    <a:pt x="114" y="329"/>
                  </a:cubicBezTo>
                  <a:cubicBezTo>
                    <a:pt x="106" y="325"/>
                    <a:pt x="97" y="321"/>
                    <a:pt x="90" y="315"/>
                  </a:cubicBezTo>
                  <a:cubicBezTo>
                    <a:pt x="82" y="310"/>
                    <a:pt x="73" y="303"/>
                    <a:pt x="65" y="294"/>
                  </a:cubicBezTo>
                  <a:lnTo>
                    <a:pt x="5" y="235"/>
                  </a:lnTo>
                  <a:cubicBezTo>
                    <a:pt x="2" y="232"/>
                    <a:pt x="1" y="228"/>
                    <a:pt x="0" y="224"/>
                  </a:cubicBezTo>
                  <a:cubicBezTo>
                    <a:pt x="0" y="220"/>
                    <a:pt x="2" y="216"/>
                    <a:pt x="6" y="211"/>
                  </a:cubicBezTo>
                  <a:lnTo>
                    <a:pt x="210" y="7"/>
                  </a:lnTo>
                  <a:cubicBezTo>
                    <a:pt x="215" y="2"/>
                    <a:pt x="219" y="0"/>
                    <a:pt x="223" y="1"/>
                  </a:cubicBezTo>
                  <a:cubicBezTo>
                    <a:pt x="228" y="2"/>
                    <a:pt x="231" y="3"/>
                    <a:pt x="234" y="6"/>
                  </a:cubicBezTo>
                  <a:lnTo>
                    <a:pt x="286" y="58"/>
                  </a:lnTo>
                  <a:cubicBezTo>
                    <a:pt x="299" y="72"/>
                    <a:pt x="309" y="84"/>
                    <a:pt x="315" y="95"/>
                  </a:cubicBezTo>
                  <a:cubicBezTo>
                    <a:pt x="322" y="107"/>
                    <a:pt x="325" y="118"/>
                    <a:pt x="326" y="129"/>
                  </a:cubicBezTo>
                  <a:cubicBezTo>
                    <a:pt x="327" y="139"/>
                    <a:pt x="325" y="150"/>
                    <a:pt x="321" y="160"/>
                  </a:cubicBezTo>
                  <a:cubicBezTo>
                    <a:pt x="317" y="170"/>
                    <a:pt x="310" y="180"/>
                    <a:pt x="301" y="189"/>
                  </a:cubicBezTo>
                  <a:cubicBezTo>
                    <a:pt x="296" y="194"/>
                    <a:pt x="290" y="199"/>
                    <a:pt x="283" y="202"/>
                  </a:cubicBezTo>
                  <a:cubicBezTo>
                    <a:pt x="277" y="206"/>
                    <a:pt x="271" y="209"/>
                    <a:pt x="264" y="210"/>
                  </a:cubicBezTo>
                  <a:cubicBezTo>
                    <a:pt x="257" y="212"/>
                    <a:pt x="250" y="212"/>
                    <a:pt x="243" y="212"/>
                  </a:cubicBezTo>
                  <a:cubicBezTo>
                    <a:pt x="236" y="211"/>
                    <a:pt x="229" y="210"/>
                    <a:pt x="222" y="207"/>
                  </a:cubicBezTo>
                  <a:cubicBezTo>
                    <a:pt x="227" y="214"/>
                    <a:pt x="231" y="222"/>
                    <a:pt x="233" y="231"/>
                  </a:cubicBezTo>
                  <a:cubicBezTo>
                    <a:pt x="235" y="239"/>
                    <a:pt x="236" y="248"/>
                    <a:pt x="235" y="257"/>
                  </a:cubicBezTo>
                  <a:cubicBezTo>
                    <a:pt x="235" y="266"/>
                    <a:pt x="232" y="275"/>
                    <a:pt x="228" y="284"/>
                  </a:cubicBezTo>
                  <a:cubicBezTo>
                    <a:pt x="224" y="292"/>
                    <a:pt x="218" y="301"/>
                    <a:pt x="210" y="309"/>
                  </a:cubicBezTo>
                  <a:close/>
                  <a:moveTo>
                    <a:pt x="267" y="160"/>
                  </a:moveTo>
                  <a:cubicBezTo>
                    <a:pt x="272" y="155"/>
                    <a:pt x="276" y="149"/>
                    <a:pt x="279" y="143"/>
                  </a:cubicBezTo>
                  <a:cubicBezTo>
                    <a:pt x="282" y="137"/>
                    <a:pt x="284" y="131"/>
                    <a:pt x="284" y="124"/>
                  </a:cubicBezTo>
                  <a:cubicBezTo>
                    <a:pt x="283" y="118"/>
                    <a:pt x="282" y="111"/>
                    <a:pt x="278" y="104"/>
                  </a:cubicBezTo>
                  <a:cubicBezTo>
                    <a:pt x="274" y="97"/>
                    <a:pt x="268" y="90"/>
                    <a:pt x="259" y="81"/>
                  </a:cubicBezTo>
                  <a:lnTo>
                    <a:pt x="228" y="50"/>
                  </a:lnTo>
                  <a:lnTo>
                    <a:pt x="154" y="124"/>
                  </a:lnTo>
                  <a:lnTo>
                    <a:pt x="188" y="158"/>
                  </a:lnTo>
                  <a:cubicBezTo>
                    <a:pt x="196" y="166"/>
                    <a:pt x="204" y="171"/>
                    <a:pt x="211" y="174"/>
                  </a:cubicBezTo>
                  <a:cubicBezTo>
                    <a:pt x="218" y="177"/>
                    <a:pt x="224" y="178"/>
                    <a:pt x="231" y="178"/>
                  </a:cubicBezTo>
                  <a:cubicBezTo>
                    <a:pt x="238" y="178"/>
                    <a:pt x="244" y="176"/>
                    <a:pt x="250" y="173"/>
                  </a:cubicBezTo>
                  <a:cubicBezTo>
                    <a:pt x="256" y="169"/>
                    <a:pt x="262" y="165"/>
                    <a:pt x="267" y="160"/>
                  </a:cubicBezTo>
                  <a:close/>
                  <a:moveTo>
                    <a:pt x="176" y="278"/>
                  </a:moveTo>
                  <a:cubicBezTo>
                    <a:pt x="183" y="271"/>
                    <a:pt x="188" y="264"/>
                    <a:pt x="191" y="257"/>
                  </a:cubicBezTo>
                  <a:cubicBezTo>
                    <a:pt x="194" y="250"/>
                    <a:pt x="195" y="242"/>
                    <a:pt x="195" y="234"/>
                  </a:cubicBezTo>
                  <a:cubicBezTo>
                    <a:pt x="194" y="227"/>
                    <a:pt x="191" y="219"/>
                    <a:pt x="187" y="211"/>
                  </a:cubicBezTo>
                  <a:cubicBezTo>
                    <a:pt x="183" y="203"/>
                    <a:pt x="176" y="194"/>
                    <a:pt x="166" y="184"/>
                  </a:cubicBezTo>
                  <a:lnTo>
                    <a:pt x="130" y="148"/>
                  </a:lnTo>
                  <a:lnTo>
                    <a:pt x="49" y="228"/>
                  </a:lnTo>
                  <a:lnTo>
                    <a:pt x="93" y="273"/>
                  </a:lnTo>
                  <a:cubicBezTo>
                    <a:pt x="100" y="280"/>
                    <a:pt x="107" y="285"/>
                    <a:pt x="114" y="288"/>
                  </a:cubicBezTo>
                  <a:cubicBezTo>
                    <a:pt x="121" y="292"/>
                    <a:pt x="128" y="294"/>
                    <a:pt x="135" y="295"/>
                  </a:cubicBezTo>
                  <a:cubicBezTo>
                    <a:pt x="142" y="295"/>
                    <a:pt x="149" y="294"/>
                    <a:pt x="156" y="292"/>
                  </a:cubicBezTo>
                  <a:cubicBezTo>
                    <a:pt x="163" y="289"/>
                    <a:pt x="170" y="285"/>
                    <a:pt x="176" y="278"/>
                  </a:cubicBezTo>
                  <a:close/>
                  <a:moveTo>
                    <a:pt x="409" y="457"/>
                  </a:moveTo>
                  <a:cubicBezTo>
                    <a:pt x="405" y="462"/>
                    <a:pt x="400" y="464"/>
                    <a:pt x="396" y="464"/>
                  </a:cubicBezTo>
                  <a:cubicBezTo>
                    <a:pt x="392" y="463"/>
                    <a:pt x="388" y="462"/>
                    <a:pt x="385" y="459"/>
                  </a:cubicBezTo>
                  <a:lnTo>
                    <a:pt x="280" y="354"/>
                  </a:lnTo>
                  <a:cubicBezTo>
                    <a:pt x="272" y="363"/>
                    <a:pt x="265" y="371"/>
                    <a:pt x="259" y="380"/>
                  </a:cubicBezTo>
                  <a:cubicBezTo>
                    <a:pt x="254" y="389"/>
                    <a:pt x="251" y="398"/>
                    <a:pt x="250" y="407"/>
                  </a:cubicBezTo>
                  <a:cubicBezTo>
                    <a:pt x="249" y="417"/>
                    <a:pt x="251" y="426"/>
                    <a:pt x="254" y="435"/>
                  </a:cubicBezTo>
                  <a:cubicBezTo>
                    <a:pt x="258" y="445"/>
                    <a:pt x="265" y="454"/>
                    <a:pt x="275" y="464"/>
                  </a:cubicBezTo>
                  <a:cubicBezTo>
                    <a:pt x="282" y="471"/>
                    <a:pt x="290" y="477"/>
                    <a:pt x="297" y="482"/>
                  </a:cubicBezTo>
                  <a:cubicBezTo>
                    <a:pt x="304" y="487"/>
                    <a:pt x="311" y="490"/>
                    <a:pt x="316" y="493"/>
                  </a:cubicBezTo>
                  <a:cubicBezTo>
                    <a:pt x="322" y="496"/>
                    <a:pt x="327" y="498"/>
                    <a:pt x="331" y="500"/>
                  </a:cubicBezTo>
                  <a:cubicBezTo>
                    <a:pt x="335" y="501"/>
                    <a:pt x="338" y="503"/>
                    <a:pt x="339" y="504"/>
                  </a:cubicBezTo>
                  <a:cubicBezTo>
                    <a:pt x="340" y="505"/>
                    <a:pt x="341" y="506"/>
                    <a:pt x="341" y="507"/>
                  </a:cubicBezTo>
                  <a:cubicBezTo>
                    <a:pt x="341" y="508"/>
                    <a:pt x="341" y="509"/>
                    <a:pt x="341" y="510"/>
                  </a:cubicBezTo>
                  <a:cubicBezTo>
                    <a:pt x="340" y="512"/>
                    <a:pt x="339" y="513"/>
                    <a:pt x="338" y="515"/>
                  </a:cubicBezTo>
                  <a:cubicBezTo>
                    <a:pt x="337" y="516"/>
                    <a:pt x="335" y="518"/>
                    <a:pt x="333" y="520"/>
                  </a:cubicBezTo>
                  <a:cubicBezTo>
                    <a:pt x="331" y="522"/>
                    <a:pt x="330" y="523"/>
                    <a:pt x="329" y="524"/>
                  </a:cubicBezTo>
                  <a:cubicBezTo>
                    <a:pt x="327" y="525"/>
                    <a:pt x="326" y="526"/>
                    <a:pt x="325" y="527"/>
                  </a:cubicBezTo>
                  <a:cubicBezTo>
                    <a:pt x="324" y="527"/>
                    <a:pt x="323" y="528"/>
                    <a:pt x="322" y="528"/>
                  </a:cubicBezTo>
                  <a:cubicBezTo>
                    <a:pt x="321" y="528"/>
                    <a:pt x="320" y="529"/>
                    <a:pt x="318" y="529"/>
                  </a:cubicBezTo>
                  <a:cubicBezTo>
                    <a:pt x="317" y="529"/>
                    <a:pt x="314" y="528"/>
                    <a:pt x="309" y="526"/>
                  </a:cubicBezTo>
                  <a:cubicBezTo>
                    <a:pt x="305" y="524"/>
                    <a:pt x="299" y="522"/>
                    <a:pt x="293" y="518"/>
                  </a:cubicBezTo>
                  <a:cubicBezTo>
                    <a:pt x="286" y="514"/>
                    <a:pt x="279" y="510"/>
                    <a:pt x="271" y="504"/>
                  </a:cubicBezTo>
                  <a:cubicBezTo>
                    <a:pt x="264" y="499"/>
                    <a:pt x="256" y="492"/>
                    <a:pt x="248" y="485"/>
                  </a:cubicBezTo>
                  <a:cubicBezTo>
                    <a:pt x="235" y="472"/>
                    <a:pt x="226" y="458"/>
                    <a:pt x="219" y="445"/>
                  </a:cubicBezTo>
                  <a:cubicBezTo>
                    <a:pt x="213" y="431"/>
                    <a:pt x="210" y="418"/>
                    <a:pt x="211" y="404"/>
                  </a:cubicBezTo>
                  <a:cubicBezTo>
                    <a:pt x="211" y="390"/>
                    <a:pt x="215" y="376"/>
                    <a:pt x="223" y="361"/>
                  </a:cubicBezTo>
                  <a:cubicBezTo>
                    <a:pt x="230" y="347"/>
                    <a:pt x="241" y="333"/>
                    <a:pt x="255" y="318"/>
                  </a:cubicBezTo>
                  <a:cubicBezTo>
                    <a:pt x="269" y="305"/>
                    <a:pt x="283" y="294"/>
                    <a:pt x="298" y="287"/>
                  </a:cubicBezTo>
                  <a:cubicBezTo>
                    <a:pt x="312" y="280"/>
                    <a:pt x="326" y="275"/>
                    <a:pt x="341" y="274"/>
                  </a:cubicBezTo>
                  <a:cubicBezTo>
                    <a:pt x="355" y="273"/>
                    <a:pt x="369" y="276"/>
                    <a:pt x="382" y="281"/>
                  </a:cubicBezTo>
                  <a:cubicBezTo>
                    <a:pt x="396" y="286"/>
                    <a:pt x="408" y="295"/>
                    <a:pt x="420" y="307"/>
                  </a:cubicBezTo>
                  <a:cubicBezTo>
                    <a:pt x="432" y="319"/>
                    <a:pt x="441" y="332"/>
                    <a:pt x="446" y="345"/>
                  </a:cubicBezTo>
                  <a:cubicBezTo>
                    <a:pt x="451" y="357"/>
                    <a:pt x="452" y="370"/>
                    <a:pt x="451" y="382"/>
                  </a:cubicBezTo>
                  <a:cubicBezTo>
                    <a:pt x="450" y="395"/>
                    <a:pt x="446" y="407"/>
                    <a:pt x="440" y="419"/>
                  </a:cubicBezTo>
                  <a:cubicBezTo>
                    <a:pt x="433" y="430"/>
                    <a:pt x="425" y="442"/>
                    <a:pt x="415" y="452"/>
                  </a:cubicBezTo>
                  <a:lnTo>
                    <a:pt x="409" y="457"/>
                  </a:lnTo>
                  <a:close/>
                  <a:moveTo>
                    <a:pt x="389" y="419"/>
                  </a:moveTo>
                  <a:cubicBezTo>
                    <a:pt x="404" y="404"/>
                    <a:pt x="413" y="389"/>
                    <a:pt x="415" y="373"/>
                  </a:cubicBezTo>
                  <a:cubicBezTo>
                    <a:pt x="416" y="357"/>
                    <a:pt x="410" y="342"/>
                    <a:pt x="396" y="328"/>
                  </a:cubicBezTo>
                  <a:cubicBezTo>
                    <a:pt x="388" y="321"/>
                    <a:pt x="381" y="316"/>
                    <a:pt x="373" y="313"/>
                  </a:cubicBezTo>
                  <a:cubicBezTo>
                    <a:pt x="364" y="310"/>
                    <a:pt x="356" y="309"/>
                    <a:pt x="348" y="310"/>
                  </a:cubicBezTo>
                  <a:cubicBezTo>
                    <a:pt x="340" y="311"/>
                    <a:pt x="332" y="313"/>
                    <a:pt x="324" y="317"/>
                  </a:cubicBezTo>
                  <a:cubicBezTo>
                    <a:pt x="316" y="321"/>
                    <a:pt x="309" y="326"/>
                    <a:pt x="302" y="332"/>
                  </a:cubicBezTo>
                  <a:lnTo>
                    <a:pt x="389" y="419"/>
                  </a:lnTo>
                  <a:close/>
                  <a:moveTo>
                    <a:pt x="610" y="533"/>
                  </a:moveTo>
                  <a:cubicBezTo>
                    <a:pt x="607" y="536"/>
                    <a:pt x="605" y="538"/>
                    <a:pt x="603" y="540"/>
                  </a:cubicBezTo>
                  <a:cubicBezTo>
                    <a:pt x="601" y="541"/>
                    <a:pt x="600" y="542"/>
                    <a:pt x="598" y="543"/>
                  </a:cubicBezTo>
                  <a:cubicBezTo>
                    <a:pt x="597" y="544"/>
                    <a:pt x="596" y="544"/>
                    <a:pt x="595" y="544"/>
                  </a:cubicBezTo>
                  <a:cubicBezTo>
                    <a:pt x="594" y="544"/>
                    <a:pt x="593" y="544"/>
                    <a:pt x="592" y="543"/>
                  </a:cubicBezTo>
                  <a:cubicBezTo>
                    <a:pt x="591" y="542"/>
                    <a:pt x="590" y="540"/>
                    <a:pt x="589" y="538"/>
                  </a:cubicBezTo>
                  <a:cubicBezTo>
                    <a:pt x="588" y="536"/>
                    <a:pt x="587" y="534"/>
                    <a:pt x="586" y="532"/>
                  </a:cubicBezTo>
                  <a:cubicBezTo>
                    <a:pt x="585" y="530"/>
                    <a:pt x="583" y="528"/>
                    <a:pt x="582" y="525"/>
                  </a:cubicBezTo>
                  <a:cubicBezTo>
                    <a:pt x="580" y="522"/>
                    <a:pt x="578" y="520"/>
                    <a:pt x="576" y="517"/>
                  </a:cubicBezTo>
                  <a:cubicBezTo>
                    <a:pt x="573" y="514"/>
                    <a:pt x="569" y="512"/>
                    <a:pt x="565" y="510"/>
                  </a:cubicBezTo>
                  <a:cubicBezTo>
                    <a:pt x="561" y="509"/>
                    <a:pt x="556" y="508"/>
                    <a:pt x="550" y="507"/>
                  </a:cubicBezTo>
                  <a:cubicBezTo>
                    <a:pt x="545" y="507"/>
                    <a:pt x="538" y="507"/>
                    <a:pt x="530" y="508"/>
                  </a:cubicBezTo>
                  <a:cubicBezTo>
                    <a:pt x="522" y="509"/>
                    <a:pt x="513" y="511"/>
                    <a:pt x="502" y="513"/>
                  </a:cubicBezTo>
                  <a:lnTo>
                    <a:pt x="397" y="618"/>
                  </a:lnTo>
                  <a:cubicBezTo>
                    <a:pt x="396" y="619"/>
                    <a:pt x="395" y="620"/>
                    <a:pt x="394" y="620"/>
                  </a:cubicBezTo>
                  <a:cubicBezTo>
                    <a:pt x="393" y="620"/>
                    <a:pt x="392" y="620"/>
                    <a:pt x="390" y="619"/>
                  </a:cubicBezTo>
                  <a:cubicBezTo>
                    <a:pt x="389" y="619"/>
                    <a:pt x="387" y="617"/>
                    <a:pt x="385" y="616"/>
                  </a:cubicBezTo>
                  <a:cubicBezTo>
                    <a:pt x="383" y="614"/>
                    <a:pt x="380" y="612"/>
                    <a:pt x="377" y="609"/>
                  </a:cubicBezTo>
                  <a:cubicBezTo>
                    <a:pt x="374" y="606"/>
                    <a:pt x="372" y="604"/>
                    <a:pt x="370" y="601"/>
                  </a:cubicBezTo>
                  <a:cubicBezTo>
                    <a:pt x="369" y="599"/>
                    <a:pt x="368" y="597"/>
                    <a:pt x="367" y="596"/>
                  </a:cubicBezTo>
                  <a:cubicBezTo>
                    <a:pt x="366" y="594"/>
                    <a:pt x="366" y="593"/>
                    <a:pt x="366" y="592"/>
                  </a:cubicBezTo>
                  <a:cubicBezTo>
                    <a:pt x="367" y="591"/>
                    <a:pt x="367" y="590"/>
                    <a:pt x="368" y="589"/>
                  </a:cubicBezTo>
                  <a:lnTo>
                    <a:pt x="527" y="430"/>
                  </a:lnTo>
                  <a:cubicBezTo>
                    <a:pt x="528" y="429"/>
                    <a:pt x="529" y="428"/>
                    <a:pt x="530" y="428"/>
                  </a:cubicBezTo>
                  <a:cubicBezTo>
                    <a:pt x="531" y="428"/>
                    <a:pt x="532" y="428"/>
                    <a:pt x="534" y="428"/>
                  </a:cubicBezTo>
                  <a:cubicBezTo>
                    <a:pt x="536" y="429"/>
                    <a:pt x="537" y="430"/>
                    <a:pt x="539" y="431"/>
                  </a:cubicBezTo>
                  <a:cubicBezTo>
                    <a:pt x="541" y="433"/>
                    <a:pt x="543" y="435"/>
                    <a:pt x="546" y="438"/>
                  </a:cubicBezTo>
                  <a:cubicBezTo>
                    <a:pt x="549" y="440"/>
                    <a:pt x="551" y="442"/>
                    <a:pt x="552" y="444"/>
                  </a:cubicBezTo>
                  <a:cubicBezTo>
                    <a:pt x="554" y="446"/>
                    <a:pt x="555" y="448"/>
                    <a:pt x="555" y="449"/>
                  </a:cubicBezTo>
                  <a:cubicBezTo>
                    <a:pt x="556" y="451"/>
                    <a:pt x="556" y="452"/>
                    <a:pt x="555" y="453"/>
                  </a:cubicBezTo>
                  <a:cubicBezTo>
                    <a:pt x="555" y="454"/>
                    <a:pt x="555" y="455"/>
                    <a:pt x="554" y="456"/>
                  </a:cubicBezTo>
                  <a:lnTo>
                    <a:pt x="530" y="479"/>
                  </a:lnTo>
                  <a:cubicBezTo>
                    <a:pt x="541" y="477"/>
                    <a:pt x="550" y="476"/>
                    <a:pt x="558" y="476"/>
                  </a:cubicBezTo>
                  <a:cubicBezTo>
                    <a:pt x="566" y="476"/>
                    <a:pt x="573" y="476"/>
                    <a:pt x="579" y="477"/>
                  </a:cubicBezTo>
                  <a:cubicBezTo>
                    <a:pt x="584" y="479"/>
                    <a:pt x="589" y="480"/>
                    <a:pt x="594" y="483"/>
                  </a:cubicBezTo>
                  <a:cubicBezTo>
                    <a:pt x="598" y="485"/>
                    <a:pt x="602" y="488"/>
                    <a:pt x="605" y="492"/>
                  </a:cubicBezTo>
                  <a:cubicBezTo>
                    <a:pt x="607" y="493"/>
                    <a:pt x="608" y="495"/>
                    <a:pt x="610" y="497"/>
                  </a:cubicBezTo>
                  <a:cubicBezTo>
                    <a:pt x="612" y="499"/>
                    <a:pt x="613" y="502"/>
                    <a:pt x="615" y="504"/>
                  </a:cubicBezTo>
                  <a:cubicBezTo>
                    <a:pt x="617" y="507"/>
                    <a:pt x="618" y="509"/>
                    <a:pt x="619" y="512"/>
                  </a:cubicBezTo>
                  <a:cubicBezTo>
                    <a:pt x="620" y="514"/>
                    <a:pt x="621" y="516"/>
                    <a:pt x="621" y="517"/>
                  </a:cubicBezTo>
                  <a:cubicBezTo>
                    <a:pt x="621" y="518"/>
                    <a:pt x="621" y="519"/>
                    <a:pt x="621" y="520"/>
                  </a:cubicBezTo>
                  <a:cubicBezTo>
                    <a:pt x="621" y="521"/>
                    <a:pt x="620" y="522"/>
                    <a:pt x="619" y="523"/>
                  </a:cubicBezTo>
                  <a:cubicBezTo>
                    <a:pt x="619" y="524"/>
                    <a:pt x="618" y="525"/>
                    <a:pt x="616" y="527"/>
                  </a:cubicBezTo>
                  <a:cubicBezTo>
                    <a:pt x="615" y="528"/>
                    <a:pt x="613" y="531"/>
                    <a:pt x="610" y="533"/>
                  </a:cubicBezTo>
                  <a:close/>
                  <a:moveTo>
                    <a:pt x="522" y="743"/>
                  </a:moveTo>
                  <a:cubicBezTo>
                    <a:pt x="521" y="743"/>
                    <a:pt x="520" y="744"/>
                    <a:pt x="519" y="744"/>
                  </a:cubicBezTo>
                  <a:cubicBezTo>
                    <a:pt x="518" y="744"/>
                    <a:pt x="516" y="744"/>
                    <a:pt x="515" y="744"/>
                  </a:cubicBezTo>
                  <a:cubicBezTo>
                    <a:pt x="513" y="743"/>
                    <a:pt x="511" y="742"/>
                    <a:pt x="509" y="740"/>
                  </a:cubicBezTo>
                  <a:cubicBezTo>
                    <a:pt x="507" y="739"/>
                    <a:pt x="505" y="736"/>
                    <a:pt x="502" y="733"/>
                  </a:cubicBezTo>
                  <a:cubicBezTo>
                    <a:pt x="499" y="731"/>
                    <a:pt x="497" y="728"/>
                    <a:pt x="495" y="726"/>
                  </a:cubicBezTo>
                  <a:cubicBezTo>
                    <a:pt x="493" y="724"/>
                    <a:pt x="492" y="722"/>
                    <a:pt x="491" y="720"/>
                  </a:cubicBezTo>
                  <a:cubicBezTo>
                    <a:pt x="491" y="719"/>
                    <a:pt x="491" y="717"/>
                    <a:pt x="491" y="716"/>
                  </a:cubicBezTo>
                  <a:cubicBezTo>
                    <a:pt x="491" y="715"/>
                    <a:pt x="492" y="714"/>
                    <a:pt x="493" y="713"/>
                  </a:cubicBezTo>
                  <a:lnTo>
                    <a:pt x="729" y="477"/>
                  </a:lnTo>
                  <a:cubicBezTo>
                    <a:pt x="730" y="476"/>
                    <a:pt x="731" y="476"/>
                    <a:pt x="732" y="475"/>
                  </a:cubicBezTo>
                  <a:cubicBezTo>
                    <a:pt x="733" y="475"/>
                    <a:pt x="734" y="475"/>
                    <a:pt x="736" y="476"/>
                  </a:cubicBezTo>
                  <a:cubicBezTo>
                    <a:pt x="738" y="477"/>
                    <a:pt x="739" y="478"/>
                    <a:pt x="742" y="479"/>
                  </a:cubicBezTo>
                  <a:cubicBezTo>
                    <a:pt x="744" y="481"/>
                    <a:pt x="746" y="483"/>
                    <a:pt x="749" y="486"/>
                  </a:cubicBezTo>
                  <a:cubicBezTo>
                    <a:pt x="752" y="489"/>
                    <a:pt x="754" y="492"/>
                    <a:pt x="756" y="494"/>
                  </a:cubicBezTo>
                  <a:cubicBezTo>
                    <a:pt x="757" y="496"/>
                    <a:pt x="759" y="498"/>
                    <a:pt x="759" y="499"/>
                  </a:cubicBezTo>
                  <a:cubicBezTo>
                    <a:pt x="760" y="501"/>
                    <a:pt x="760" y="502"/>
                    <a:pt x="760" y="503"/>
                  </a:cubicBezTo>
                  <a:cubicBezTo>
                    <a:pt x="759" y="504"/>
                    <a:pt x="759" y="505"/>
                    <a:pt x="758" y="506"/>
                  </a:cubicBezTo>
                  <a:lnTo>
                    <a:pt x="522" y="743"/>
                  </a:lnTo>
                  <a:close/>
                  <a:moveTo>
                    <a:pt x="612" y="833"/>
                  </a:moveTo>
                  <a:cubicBezTo>
                    <a:pt x="611" y="834"/>
                    <a:pt x="610" y="835"/>
                    <a:pt x="609" y="835"/>
                  </a:cubicBezTo>
                  <a:cubicBezTo>
                    <a:pt x="608" y="835"/>
                    <a:pt x="607" y="835"/>
                    <a:pt x="605" y="834"/>
                  </a:cubicBezTo>
                  <a:cubicBezTo>
                    <a:pt x="604" y="834"/>
                    <a:pt x="602" y="832"/>
                    <a:pt x="600" y="831"/>
                  </a:cubicBezTo>
                  <a:cubicBezTo>
                    <a:pt x="598" y="829"/>
                    <a:pt x="595" y="827"/>
                    <a:pt x="592" y="824"/>
                  </a:cubicBezTo>
                  <a:cubicBezTo>
                    <a:pt x="589" y="821"/>
                    <a:pt x="587" y="819"/>
                    <a:pt x="585" y="816"/>
                  </a:cubicBezTo>
                  <a:cubicBezTo>
                    <a:pt x="584" y="814"/>
                    <a:pt x="583" y="812"/>
                    <a:pt x="582" y="811"/>
                  </a:cubicBezTo>
                  <a:cubicBezTo>
                    <a:pt x="581" y="809"/>
                    <a:pt x="581" y="808"/>
                    <a:pt x="581" y="807"/>
                  </a:cubicBezTo>
                  <a:cubicBezTo>
                    <a:pt x="582" y="806"/>
                    <a:pt x="582" y="805"/>
                    <a:pt x="583" y="804"/>
                  </a:cubicBezTo>
                  <a:lnTo>
                    <a:pt x="742" y="645"/>
                  </a:lnTo>
                  <a:cubicBezTo>
                    <a:pt x="743" y="644"/>
                    <a:pt x="744" y="643"/>
                    <a:pt x="745" y="643"/>
                  </a:cubicBezTo>
                  <a:cubicBezTo>
                    <a:pt x="746" y="643"/>
                    <a:pt x="748" y="643"/>
                    <a:pt x="749" y="644"/>
                  </a:cubicBezTo>
                  <a:cubicBezTo>
                    <a:pt x="751" y="644"/>
                    <a:pt x="753" y="645"/>
                    <a:pt x="755" y="647"/>
                  </a:cubicBezTo>
                  <a:cubicBezTo>
                    <a:pt x="757" y="649"/>
                    <a:pt x="759" y="651"/>
                    <a:pt x="762" y="654"/>
                  </a:cubicBezTo>
                  <a:cubicBezTo>
                    <a:pt x="765" y="657"/>
                    <a:pt x="767" y="659"/>
                    <a:pt x="769" y="661"/>
                  </a:cubicBezTo>
                  <a:cubicBezTo>
                    <a:pt x="771" y="664"/>
                    <a:pt x="772" y="665"/>
                    <a:pt x="772" y="667"/>
                  </a:cubicBezTo>
                  <a:cubicBezTo>
                    <a:pt x="773" y="668"/>
                    <a:pt x="773" y="670"/>
                    <a:pt x="773" y="671"/>
                  </a:cubicBezTo>
                  <a:cubicBezTo>
                    <a:pt x="773" y="672"/>
                    <a:pt x="772" y="673"/>
                    <a:pt x="771" y="674"/>
                  </a:cubicBezTo>
                  <a:lnTo>
                    <a:pt x="612" y="833"/>
                  </a:lnTo>
                  <a:close/>
                  <a:moveTo>
                    <a:pt x="828" y="624"/>
                  </a:moveTo>
                  <a:cubicBezTo>
                    <a:pt x="822" y="630"/>
                    <a:pt x="816" y="634"/>
                    <a:pt x="811" y="634"/>
                  </a:cubicBezTo>
                  <a:cubicBezTo>
                    <a:pt x="806" y="634"/>
                    <a:pt x="800" y="630"/>
                    <a:pt x="793" y="623"/>
                  </a:cubicBezTo>
                  <a:cubicBezTo>
                    <a:pt x="786" y="616"/>
                    <a:pt x="782" y="610"/>
                    <a:pt x="782" y="605"/>
                  </a:cubicBezTo>
                  <a:cubicBezTo>
                    <a:pt x="782" y="600"/>
                    <a:pt x="785" y="595"/>
                    <a:pt x="792" y="588"/>
                  </a:cubicBezTo>
                  <a:cubicBezTo>
                    <a:pt x="799" y="581"/>
                    <a:pt x="805" y="578"/>
                    <a:pt x="810" y="578"/>
                  </a:cubicBezTo>
                  <a:cubicBezTo>
                    <a:pt x="815" y="578"/>
                    <a:pt x="821" y="581"/>
                    <a:pt x="828" y="588"/>
                  </a:cubicBezTo>
                  <a:cubicBezTo>
                    <a:pt x="835" y="595"/>
                    <a:pt x="838" y="601"/>
                    <a:pt x="838" y="606"/>
                  </a:cubicBezTo>
                  <a:cubicBezTo>
                    <a:pt x="839" y="611"/>
                    <a:pt x="835" y="617"/>
                    <a:pt x="828" y="624"/>
                  </a:cubicBezTo>
                  <a:close/>
                  <a:moveTo>
                    <a:pt x="799" y="1020"/>
                  </a:moveTo>
                  <a:cubicBezTo>
                    <a:pt x="798" y="1021"/>
                    <a:pt x="797" y="1022"/>
                    <a:pt x="796" y="1022"/>
                  </a:cubicBezTo>
                  <a:cubicBezTo>
                    <a:pt x="795" y="1022"/>
                    <a:pt x="794" y="1022"/>
                    <a:pt x="792" y="1021"/>
                  </a:cubicBezTo>
                  <a:cubicBezTo>
                    <a:pt x="791" y="1021"/>
                    <a:pt x="789" y="1019"/>
                    <a:pt x="787" y="1018"/>
                  </a:cubicBezTo>
                  <a:cubicBezTo>
                    <a:pt x="785" y="1016"/>
                    <a:pt x="782" y="1014"/>
                    <a:pt x="779" y="1011"/>
                  </a:cubicBezTo>
                  <a:cubicBezTo>
                    <a:pt x="776" y="1008"/>
                    <a:pt x="774" y="1006"/>
                    <a:pt x="772" y="1003"/>
                  </a:cubicBezTo>
                  <a:cubicBezTo>
                    <a:pt x="771" y="1001"/>
                    <a:pt x="770" y="1000"/>
                    <a:pt x="769" y="998"/>
                  </a:cubicBezTo>
                  <a:cubicBezTo>
                    <a:pt x="769" y="996"/>
                    <a:pt x="768" y="995"/>
                    <a:pt x="768" y="994"/>
                  </a:cubicBezTo>
                  <a:cubicBezTo>
                    <a:pt x="769" y="993"/>
                    <a:pt x="769" y="992"/>
                    <a:pt x="770" y="991"/>
                  </a:cubicBezTo>
                  <a:lnTo>
                    <a:pt x="863" y="898"/>
                  </a:lnTo>
                  <a:cubicBezTo>
                    <a:pt x="872" y="889"/>
                    <a:pt x="879" y="881"/>
                    <a:pt x="883" y="874"/>
                  </a:cubicBezTo>
                  <a:cubicBezTo>
                    <a:pt x="887" y="867"/>
                    <a:pt x="890" y="860"/>
                    <a:pt x="891" y="853"/>
                  </a:cubicBezTo>
                  <a:cubicBezTo>
                    <a:pt x="893" y="846"/>
                    <a:pt x="892" y="840"/>
                    <a:pt x="890" y="833"/>
                  </a:cubicBezTo>
                  <a:cubicBezTo>
                    <a:pt x="888" y="827"/>
                    <a:pt x="884" y="821"/>
                    <a:pt x="878" y="815"/>
                  </a:cubicBezTo>
                  <a:cubicBezTo>
                    <a:pt x="871" y="808"/>
                    <a:pt x="861" y="803"/>
                    <a:pt x="848" y="801"/>
                  </a:cubicBezTo>
                  <a:cubicBezTo>
                    <a:pt x="836" y="799"/>
                    <a:pt x="821" y="799"/>
                    <a:pt x="803" y="801"/>
                  </a:cubicBezTo>
                  <a:lnTo>
                    <a:pt x="691" y="912"/>
                  </a:lnTo>
                  <a:cubicBezTo>
                    <a:pt x="691" y="913"/>
                    <a:pt x="690" y="914"/>
                    <a:pt x="688" y="914"/>
                  </a:cubicBezTo>
                  <a:cubicBezTo>
                    <a:pt x="687" y="914"/>
                    <a:pt x="686" y="914"/>
                    <a:pt x="684" y="913"/>
                  </a:cubicBezTo>
                  <a:cubicBezTo>
                    <a:pt x="683" y="913"/>
                    <a:pt x="681" y="912"/>
                    <a:pt x="679" y="910"/>
                  </a:cubicBezTo>
                  <a:cubicBezTo>
                    <a:pt x="677" y="908"/>
                    <a:pt x="674" y="906"/>
                    <a:pt x="671" y="903"/>
                  </a:cubicBezTo>
                  <a:cubicBezTo>
                    <a:pt x="669" y="900"/>
                    <a:pt x="666" y="898"/>
                    <a:pt x="665" y="896"/>
                  </a:cubicBezTo>
                  <a:cubicBezTo>
                    <a:pt x="663" y="894"/>
                    <a:pt x="662" y="892"/>
                    <a:pt x="661" y="890"/>
                  </a:cubicBezTo>
                  <a:cubicBezTo>
                    <a:pt x="661" y="888"/>
                    <a:pt x="660" y="887"/>
                    <a:pt x="661" y="886"/>
                  </a:cubicBezTo>
                  <a:cubicBezTo>
                    <a:pt x="661" y="885"/>
                    <a:pt x="661" y="884"/>
                    <a:pt x="662" y="883"/>
                  </a:cubicBezTo>
                  <a:lnTo>
                    <a:pt x="821" y="724"/>
                  </a:lnTo>
                  <a:cubicBezTo>
                    <a:pt x="822" y="723"/>
                    <a:pt x="823" y="722"/>
                    <a:pt x="824" y="722"/>
                  </a:cubicBezTo>
                  <a:cubicBezTo>
                    <a:pt x="825" y="722"/>
                    <a:pt x="827" y="722"/>
                    <a:pt x="828" y="722"/>
                  </a:cubicBezTo>
                  <a:cubicBezTo>
                    <a:pt x="830" y="723"/>
                    <a:pt x="832" y="724"/>
                    <a:pt x="833" y="725"/>
                  </a:cubicBezTo>
                  <a:cubicBezTo>
                    <a:pt x="835" y="727"/>
                    <a:pt x="837" y="729"/>
                    <a:pt x="840" y="732"/>
                  </a:cubicBezTo>
                  <a:cubicBezTo>
                    <a:pt x="843" y="734"/>
                    <a:pt x="845" y="737"/>
                    <a:pt x="846" y="738"/>
                  </a:cubicBezTo>
                  <a:cubicBezTo>
                    <a:pt x="848" y="740"/>
                    <a:pt x="849" y="742"/>
                    <a:pt x="849" y="744"/>
                  </a:cubicBezTo>
                  <a:cubicBezTo>
                    <a:pt x="850" y="745"/>
                    <a:pt x="850" y="746"/>
                    <a:pt x="850" y="747"/>
                  </a:cubicBezTo>
                  <a:cubicBezTo>
                    <a:pt x="849" y="748"/>
                    <a:pt x="849" y="749"/>
                    <a:pt x="848" y="750"/>
                  </a:cubicBezTo>
                  <a:lnTo>
                    <a:pt x="827" y="771"/>
                  </a:lnTo>
                  <a:cubicBezTo>
                    <a:pt x="846" y="770"/>
                    <a:pt x="862" y="772"/>
                    <a:pt x="876" y="776"/>
                  </a:cubicBezTo>
                  <a:cubicBezTo>
                    <a:pt x="889" y="780"/>
                    <a:pt x="900" y="787"/>
                    <a:pt x="909" y="796"/>
                  </a:cubicBezTo>
                  <a:cubicBezTo>
                    <a:pt x="920" y="807"/>
                    <a:pt x="927" y="817"/>
                    <a:pt x="931" y="828"/>
                  </a:cubicBezTo>
                  <a:cubicBezTo>
                    <a:pt x="935" y="839"/>
                    <a:pt x="936" y="850"/>
                    <a:pt x="934" y="860"/>
                  </a:cubicBezTo>
                  <a:cubicBezTo>
                    <a:pt x="932" y="871"/>
                    <a:pt x="929" y="881"/>
                    <a:pt x="923" y="891"/>
                  </a:cubicBezTo>
                  <a:cubicBezTo>
                    <a:pt x="916" y="901"/>
                    <a:pt x="908" y="912"/>
                    <a:pt x="896" y="923"/>
                  </a:cubicBezTo>
                  <a:lnTo>
                    <a:pt x="799" y="1020"/>
                  </a:lnTo>
                  <a:close/>
                  <a:moveTo>
                    <a:pt x="1087" y="1307"/>
                  </a:moveTo>
                  <a:cubicBezTo>
                    <a:pt x="1086" y="1308"/>
                    <a:pt x="1085" y="1308"/>
                    <a:pt x="1084" y="1309"/>
                  </a:cubicBezTo>
                  <a:cubicBezTo>
                    <a:pt x="1083" y="1309"/>
                    <a:pt x="1081" y="1309"/>
                    <a:pt x="1080" y="1308"/>
                  </a:cubicBezTo>
                  <a:cubicBezTo>
                    <a:pt x="1078" y="1307"/>
                    <a:pt x="1076" y="1306"/>
                    <a:pt x="1074" y="1304"/>
                  </a:cubicBezTo>
                  <a:cubicBezTo>
                    <a:pt x="1071" y="1303"/>
                    <a:pt x="1069" y="1300"/>
                    <a:pt x="1065" y="1297"/>
                  </a:cubicBezTo>
                  <a:cubicBezTo>
                    <a:pt x="1061" y="1293"/>
                    <a:pt x="1058" y="1289"/>
                    <a:pt x="1056" y="1286"/>
                  </a:cubicBezTo>
                  <a:cubicBezTo>
                    <a:pt x="1054" y="1284"/>
                    <a:pt x="1052" y="1281"/>
                    <a:pt x="1052" y="1279"/>
                  </a:cubicBezTo>
                  <a:cubicBezTo>
                    <a:pt x="1052" y="1276"/>
                    <a:pt x="1052" y="1274"/>
                    <a:pt x="1052" y="1272"/>
                  </a:cubicBezTo>
                  <a:lnTo>
                    <a:pt x="1082" y="1074"/>
                  </a:lnTo>
                  <a:lnTo>
                    <a:pt x="968" y="1188"/>
                  </a:lnTo>
                  <a:cubicBezTo>
                    <a:pt x="967" y="1189"/>
                    <a:pt x="966" y="1190"/>
                    <a:pt x="965" y="1190"/>
                  </a:cubicBezTo>
                  <a:cubicBezTo>
                    <a:pt x="963" y="1190"/>
                    <a:pt x="962" y="1190"/>
                    <a:pt x="960" y="1189"/>
                  </a:cubicBezTo>
                  <a:cubicBezTo>
                    <a:pt x="959" y="1188"/>
                    <a:pt x="957" y="1187"/>
                    <a:pt x="955" y="1186"/>
                  </a:cubicBezTo>
                  <a:cubicBezTo>
                    <a:pt x="952" y="1184"/>
                    <a:pt x="950" y="1182"/>
                    <a:pt x="947" y="1179"/>
                  </a:cubicBezTo>
                  <a:cubicBezTo>
                    <a:pt x="944" y="1176"/>
                    <a:pt x="942" y="1173"/>
                    <a:pt x="940" y="1171"/>
                  </a:cubicBezTo>
                  <a:cubicBezTo>
                    <a:pt x="938" y="1169"/>
                    <a:pt x="937" y="1167"/>
                    <a:pt x="936" y="1165"/>
                  </a:cubicBezTo>
                  <a:cubicBezTo>
                    <a:pt x="936" y="1164"/>
                    <a:pt x="935" y="1162"/>
                    <a:pt x="936" y="1161"/>
                  </a:cubicBezTo>
                  <a:cubicBezTo>
                    <a:pt x="936" y="1160"/>
                    <a:pt x="937" y="1159"/>
                    <a:pt x="937" y="1158"/>
                  </a:cubicBezTo>
                  <a:lnTo>
                    <a:pt x="1157" y="938"/>
                  </a:lnTo>
                  <a:cubicBezTo>
                    <a:pt x="1158" y="937"/>
                    <a:pt x="1159" y="937"/>
                    <a:pt x="1160" y="936"/>
                  </a:cubicBezTo>
                  <a:cubicBezTo>
                    <a:pt x="1161" y="936"/>
                    <a:pt x="1163" y="936"/>
                    <a:pt x="1164" y="937"/>
                  </a:cubicBezTo>
                  <a:cubicBezTo>
                    <a:pt x="1166" y="938"/>
                    <a:pt x="1168" y="939"/>
                    <a:pt x="1170" y="941"/>
                  </a:cubicBezTo>
                  <a:cubicBezTo>
                    <a:pt x="1172" y="943"/>
                    <a:pt x="1175" y="945"/>
                    <a:pt x="1178" y="948"/>
                  </a:cubicBezTo>
                  <a:cubicBezTo>
                    <a:pt x="1181" y="951"/>
                    <a:pt x="1183" y="953"/>
                    <a:pt x="1185" y="956"/>
                  </a:cubicBezTo>
                  <a:cubicBezTo>
                    <a:pt x="1186" y="958"/>
                    <a:pt x="1188" y="960"/>
                    <a:pt x="1188" y="961"/>
                  </a:cubicBezTo>
                  <a:cubicBezTo>
                    <a:pt x="1189" y="963"/>
                    <a:pt x="1189" y="964"/>
                    <a:pt x="1189" y="965"/>
                  </a:cubicBezTo>
                  <a:cubicBezTo>
                    <a:pt x="1189" y="967"/>
                    <a:pt x="1188" y="968"/>
                    <a:pt x="1187" y="969"/>
                  </a:cubicBezTo>
                  <a:lnTo>
                    <a:pt x="1086" y="1070"/>
                  </a:lnTo>
                  <a:lnTo>
                    <a:pt x="1268" y="1050"/>
                  </a:lnTo>
                  <a:cubicBezTo>
                    <a:pt x="1270" y="1049"/>
                    <a:pt x="1272" y="1049"/>
                    <a:pt x="1273" y="1049"/>
                  </a:cubicBezTo>
                  <a:cubicBezTo>
                    <a:pt x="1275" y="1050"/>
                    <a:pt x="1277" y="1050"/>
                    <a:pt x="1279" y="1051"/>
                  </a:cubicBezTo>
                  <a:cubicBezTo>
                    <a:pt x="1280" y="1052"/>
                    <a:pt x="1282" y="1053"/>
                    <a:pt x="1284" y="1055"/>
                  </a:cubicBezTo>
                  <a:cubicBezTo>
                    <a:pt x="1287" y="1057"/>
                    <a:pt x="1289" y="1059"/>
                    <a:pt x="1292" y="1062"/>
                  </a:cubicBezTo>
                  <a:cubicBezTo>
                    <a:pt x="1295" y="1065"/>
                    <a:pt x="1298" y="1068"/>
                    <a:pt x="1299" y="1070"/>
                  </a:cubicBezTo>
                  <a:cubicBezTo>
                    <a:pt x="1301" y="1072"/>
                    <a:pt x="1302" y="1074"/>
                    <a:pt x="1303" y="1076"/>
                  </a:cubicBezTo>
                  <a:cubicBezTo>
                    <a:pt x="1303" y="1077"/>
                    <a:pt x="1304" y="1079"/>
                    <a:pt x="1303" y="1080"/>
                  </a:cubicBezTo>
                  <a:cubicBezTo>
                    <a:pt x="1303" y="1081"/>
                    <a:pt x="1302" y="1082"/>
                    <a:pt x="1302" y="1083"/>
                  </a:cubicBezTo>
                  <a:cubicBezTo>
                    <a:pt x="1300" y="1084"/>
                    <a:pt x="1298" y="1086"/>
                    <a:pt x="1296" y="1086"/>
                  </a:cubicBezTo>
                  <a:cubicBezTo>
                    <a:pt x="1294" y="1087"/>
                    <a:pt x="1290" y="1088"/>
                    <a:pt x="1285" y="1088"/>
                  </a:cubicBezTo>
                  <a:lnTo>
                    <a:pt x="1119" y="1103"/>
                  </a:lnTo>
                  <a:lnTo>
                    <a:pt x="1092" y="1293"/>
                  </a:lnTo>
                  <a:cubicBezTo>
                    <a:pt x="1091" y="1298"/>
                    <a:pt x="1090" y="1302"/>
                    <a:pt x="1089" y="1303"/>
                  </a:cubicBezTo>
                  <a:cubicBezTo>
                    <a:pt x="1088" y="1305"/>
                    <a:pt x="1088" y="1306"/>
                    <a:pt x="1087" y="1307"/>
                  </a:cubicBezTo>
                  <a:close/>
                  <a:moveTo>
                    <a:pt x="1355" y="1414"/>
                  </a:moveTo>
                  <a:cubicBezTo>
                    <a:pt x="1343" y="1427"/>
                    <a:pt x="1329" y="1437"/>
                    <a:pt x="1315" y="1444"/>
                  </a:cubicBezTo>
                  <a:cubicBezTo>
                    <a:pt x="1300" y="1452"/>
                    <a:pt x="1286" y="1456"/>
                    <a:pt x="1271" y="1457"/>
                  </a:cubicBezTo>
                  <a:cubicBezTo>
                    <a:pt x="1256" y="1458"/>
                    <a:pt x="1242" y="1456"/>
                    <a:pt x="1227" y="1450"/>
                  </a:cubicBezTo>
                  <a:cubicBezTo>
                    <a:pt x="1213" y="1444"/>
                    <a:pt x="1198" y="1435"/>
                    <a:pt x="1185" y="1421"/>
                  </a:cubicBezTo>
                  <a:cubicBezTo>
                    <a:pt x="1172" y="1408"/>
                    <a:pt x="1163" y="1395"/>
                    <a:pt x="1157" y="1381"/>
                  </a:cubicBezTo>
                  <a:cubicBezTo>
                    <a:pt x="1151" y="1368"/>
                    <a:pt x="1148" y="1354"/>
                    <a:pt x="1149" y="1340"/>
                  </a:cubicBezTo>
                  <a:cubicBezTo>
                    <a:pt x="1150" y="1326"/>
                    <a:pt x="1154" y="1312"/>
                    <a:pt x="1162" y="1299"/>
                  </a:cubicBezTo>
                  <a:cubicBezTo>
                    <a:pt x="1169" y="1285"/>
                    <a:pt x="1180" y="1271"/>
                    <a:pt x="1193" y="1258"/>
                  </a:cubicBezTo>
                  <a:cubicBezTo>
                    <a:pt x="1206" y="1245"/>
                    <a:pt x="1220" y="1234"/>
                    <a:pt x="1234" y="1227"/>
                  </a:cubicBezTo>
                  <a:cubicBezTo>
                    <a:pt x="1248" y="1219"/>
                    <a:pt x="1263" y="1215"/>
                    <a:pt x="1277" y="1214"/>
                  </a:cubicBezTo>
                  <a:cubicBezTo>
                    <a:pt x="1292" y="1213"/>
                    <a:pt x="1307" y="1215"/>
                    <a:pt x="1321" y="1221"/>
                  </a:cubicBezTo>
                  <a:cubicBezTo>
                    <a:pt x="1336" y="1227"/>
                    <a:pt x="1350" y="1236"/>
                    <a:pt x="1363" y="1250"/>
                  </a:cubicBezTo>
                  <a:cubicBezTo>
                    <a:pt x="1376" y="1263"/>
                    <a:pt x="1386" y="1276"/>
                    <a:pt x="1392" y="1290"/>
                  </a:cubicBezTo>
                  <a:cubicBezTo>
                    <a:pt x="1397" y="1304"/>
                    <a:pt x="1400" y="1317"/>
                    <a:pt x="1399" y="1331"/>
                  </a:cubicBezTo>
                  <a:cubicBezTo>
                    <a:pt x="1398" y="1345"/>
                    <a:pt x="1394" y="1359"/>
                    <a:pt x="1386" y="1373"/>
                  </a:cubicBezTo>
                  <a:cubicBezTo>
                    <a:pt x="1379" y="1387"/>
                    <a:pt x="1369" y="1400"/>
                    <a:pt x="1355" y="1414"/>
                  </a:cubicBezTo>
                  <a:close/>
                  <a:moveTo>
                    <a:pt x="1323" y="1385"/>
                  </a:moveTo>
                  <a:cubicBezTo>
                    <a:pt x="1332" y="1377"/>
                    <a:pt x="1339" y="1368"/>
                    <a:pt x="1345" y="1359"/>
                  </a:cubicBezTo>
                  <a:cubicBezTo>
                    <a:pt x="1351" y="1349"/>
                    <a:pt x="1355" y="1340"/>
                    <a:pt x="1357" y="1330"/>
                  </a:cubicBezTo>
                  <a:cubicBezTo>
                    <a:pt x="1360" y="1321"/>
                    <a:pt x="1359" y="1311"/>
                    <a:pt x="1356" y="1302"/>
                  </a:cubicBezTo>
                  <a:cubicBezTo>
                    <a:pt x="1353" y="1292"/>
                    <a:pt x="1347" y="1283"/>
                    <a:pt x="1338" y="1273"/>
                  </a:cubicBezTo>
                  <a:cubicBezTo>
                    <a:pt x="1329" y="1264"/>
                    <a:pt x="1320" y="1259"/>
                    <a:pt x="1311" y="1255"/>
                  </a:cubicBezTo>
                  <a:cubicBezTo>
                    <a:pt x="1301" y="1252"/>
                    <a:pt x="1292" y="1251"/>
                    <a:pt x="1282" y="1253"/>
                  </a:cubicBezTo>
                  <a:cubicBezTo>
                    <a:pt x="1273" y="1254"/>
                    <a:pt x="1263" y="1258"/>
                    <a:pt x="1253" y="1264"/>
                  </a:cubicBezTo>
                  <a:cubicBezTo>
                    <a:pt x="1244" y="1269"/>
                    <a:pt x="1234" y="1277"/>
                    <a:pt x="1225" y="1286"/>
                  </a:cubicBezTo>
                  <a:cubicBezTo>
                    <a:pt x="1217" y="1295"/>
                    <a:pt x="1209" y="1304"/>
                    <a:pt x="1203" y="1313"/>
                  </a:cubicBezTo>
                  <a:cubicBezTo>
                    <a:pt x="1197" y="1322"/>
                    <a:pt x="1193" y="1332"/>
                    <a:pt x="1191" y="1341"/>
                  </a:cubicBezTo>
                  <a:cubicBezTo>
                    <a:pt x="1189" y="1350"/>
                    <a:pt x="1190" y="1360"/>
                    <a:pt x="1193" y="1370"/>
                  </a:cubicBezTo>
                  <a:cubicBezTo>
                    <a:pt x="1196" y="1379"/>
                    <a:pt x="1202" y="1389"/>
                    <a:pt x="1211" y="1398"/>
                  </a:cubicBezTo>
                  <a:cubicBezTo>
                    <a:pt x="1220" y="1407"/>
                    <a:pt x="1229" y="1413"/>
                    <a:pt x="1238" y="1416"/>
                  </a:cubicBezTo>
                  <a:cubicBezTo>
                    <a:pt x="1247" y="1419"/>
                    <a:pt x="1257" y="1420"/>
                    <a:pt x="1266" y="1419"/>
                  </a:cubicBezTo>
                  <a:cubicBezTo>
                    <a:pt x="1276" y="1417"/>
                    <a:pt x="1286" y="1413"/>
                    <a:pt x="1295" y="1408"/>
                  </a:cubicBezTo>
                  <a:cubicBezTo>
                    <a:pt x="1305" y="1402"/>
                    <a:pt x="1314" y="1394"/>
                    <a:pt x="1323" y="1385"/>
                  </a:cubicBezTo>
                  <a:close/>
                  <a:moveTo>
                    <a:pt x="1541" y="1589"/>
                  </a:moveTo>
                  <a:cubicBezTo>
                    <a:pt x="1536" y="1593"/>
                    <a:pt x="1532" y="1595"/>
                    <a:pt x="1527" y="1595"/>
                  </a:cubicBezTo>
                  <a:cubicBezTo>
                    <a:pt x="1523" y="1595"/>
                    <a:pt x="1520" y="1593"/>
                    <a:pt x="1517" y="1590"/>
                  </a:cubicBezTo>
                  <a:lnTo>
                    <a:pt x="1412" y="1485"/>
                  </a:lnTo>
                  <a:cubicBezTo>
                    <a:pt x="1403" y="1494"/>
                    <a:pt x="1396" y="1503"/>
                    <a:pt x="1391" y="1512"/>
                  </a:cubicBezTo>
                  <a:cubicBezTo>
                    <a:pt x="1385" y="1521"/>
                    <a:pt x="1382" y="1530"/>
                    <a:pt x="1381" y="1539"/>
                  </a:cubicBezTo>
                  <a:cubicBezTo>
                    <a:pt x="1380" y="1548"/>
                    <a:pt x="1382" y="1557"/>
                    <a:pt x="1386" y="1567"/>
                  </a:cubicBezTo>
                  <a:cubicBezTo>
                    <a:pt x="1390" y="1576"/>
                    <a:pt x="1397" y="1585"/>
                    <a:pt x="1406" y="1595"/>
                  </a:cubicBezTo>
                  <a:cubicBezTo>
                    <a:pt x="1414" y="1603"/>
                    <a:pt x="1421" y="1609"/>
                    <a:pt x="1428" y="1613"/>
                  </a:cubicBezTo>
                  <a:cubicBezTo>
                    <a:pt x="1435" y="1618"/>
                    <a:pt x="1442" y="1622"/>
                    <a:pt x="1448" y="1625"/>
                  </a:cubicBezTo>
                  <a:cubicBezTo>
                    <a:pt x="1454" y="1627"/>
                    <a:pt x="1459" y="1630"/>
                    <a:pt x="1463" y="1631"/>
                  </a:cubicBezTo>
                  <a:cubicBezTo>
                    <a:pt x="1467" y="1633"/>
                    <a:pt x="1469" y="1634"/>
                    <a:pt x="1471" y="1636"/>
                  </a:cubicBezTo>
                  <a:cubicBezTo>
                    <a:pt x="1472" y="1636"/>
                    <a:pt x="1472" y="1637"/>
                    <a:pt x="1472" y="1638"/>
                  </a:cubicBezTo>
                  <a:cubicBezTo>
                    <a:pt x="1473" y="1639"/>
                    <a:pt x="1472" y="1641"/>
                    <a:pt x="1472" y="1642"/>
                  </a:cubicBezTo>
                  <a:cubicBezTo>
                    <a:pt x="1471" y="1643"/>
                    <a:pt x="1471" y="1644"/>
                    <a:pt x="1469" y="1646"/>
                  </a:cubicBezTo>
                  <a:cubicBezTo>
                    <a:pt x="1468" y="1648"/>
                    <a:pt x="1466" y="1650"/>
                    <a:pt x="1464" y="1652"/>
                  </a:cubicBezTo>
                  <a:cubicBezTo>
                    <a:pt x="1463" y="1653"/>
                    <a:pt x="1461" y="1655"/>
                    <a:pt x="1460" y="1656"/>
                  </a:cubicBezTo>
                  <a:cubicBezTo>
                    <a:pt x="1459" y="1657"/>
                    <a:pt x="1458" y="1657"/>
                    <a:pt x="1457" y="1658"/>
                  </a:cubicBezTo>
                  <a:cubicBezTo>
                    <a:pt x="1456" y="1659"/>
                    <a:pt x="1454" y="1659"/>
                    <a:pt x="1453" y="1660"/>
                  </a:cubicBezTo>
                  <a:cubicBezTo>
                    <a:pt x="1452" y="1660"/>
                    <a:pt x="1451" y="1660"/>
                    <a:pt x="1450" y="1660"/>
                  </a:cubicBezTo>
                  <a:cubicBezTo>
                    <a:pt x="1448" y="1660"/>
                    <a:pt x="1445" y="1659"/>
                    <a:pt x="1441" y="1657"/>
                  </a:cubicBezTo>
                  <a:cubicBezTo>
                    <a:pt x="1436" y="1656"/>
                    <a:pt x="1431" y="1653"/>
                    <a:pt x="1424" y="1649"/>
                  </a:cubicBezTo>
                  <a:cubicBezTo>
                    <a:pt x="1418" y="1646"/>
                    <a:pt x="1410" y="1641"/>
                    <a:pt x="1403" y="1636"/>
                  </a:cubicBezTo>
                  <a:cubicBezTo>
                    <a:pt x="1395" y="1630"/>
                    <a:pt x="1387" y="1624"/>
                    <a:pt x="1380" y="1616"/>
                  </a:cubicBezTo>
                  <a:cubicBezTo>
                    <a:pt x="1367" y="1603"/>
                    <a:pt x="1357" y="1590"/>
                    <a:pt x="1351" y="1576"/>
                  </a:cubicBezTo>
                  <a:cubicBezTo>
                    <a:pt x="1345" y="1563"/>
                    <a:pt x="1342" y="1549"/>
                    <a:pt x="1342" y="1535"/>
                  </a:cubicBezTo>
                  <a:cubicBezTo>
                    <a:pt x="1343" y="1521"/>
                    <a:pt x="1347" y="1507"/>
                    <a:pt x="1354" y="1493"/>
                  </a:cubicBezTo>
                  <a:cubicBezTo>
                    <a:pt x="1361" y="1479"/>
                    <a:pt x="1372" y="1464"/>
                    <a:pt x="1387" y="1450"/>
                  </a:cubicBezTo>
                  <a:cubicBezTo>
                    <a:pt x="1400" y="1436"/>
                    <a:pt x="1414" y="1426"/>
                    <a:pt x="1429" y="1418"/>
                  </a:cubicBezTo>
                  <a:cubicBezTo>
                    <a:pt x="1443" y="1411"/>
                    <a:pt x="1458" y="1407"/>
                    <a:pt x="1472" y="1406"/>
                  </a:cubicBezTo>
                  <a:cubicBezTo>
                    <a:pt x="1486" y="1405"/>
                    <a:pt x="1500" y="1407"/>
                    <a:pt x="1514" y="1412"/>
                  </a:cubicBezTo>
                  <a:cubicBezTo>
                    <a:pt x="1527" y="1418"/>
                    <a:pt x="1540" y="1426"/>
                    <a:pt x="1551" y="1438"/>
                  </a:cubicBezTo>
                  <a:cubicBezTo>
                    <a:pt x="1564" y="1450"/>
                    <a:pt x="1572" y="1463"/>
                    <a:pt x="1577" y="1476"/>
                  </a:cubicBezTo>
                  <a:cubicBezTo>
                    <a:pt x="1582" y="1489"/>
                    <a:pt x="1584" y="1501"/>
                    <a:pt x="1583" y="1514"/>
                  </a:cubicBezTo>
                  <a:cubicBezTo>
                    <a:pt x="1582" y="1526"/>
                    <a:pt x="1578" y="1538"/>
                    <a:pt x="1571" y="1550"/>
                  </a:cubicBezTo>
                  <a:cubicBezTo>
                    <a:pt x="1565" y="1562"/>
                    <a:pt x="1556" y="1573"/>
                    <a:pt x="1546" y="1583"/>
                  </a:cubicBezTo>
                  <a:lnTo>
                    <a:pt x="1541" y="1589"/>
                  </a:lnTo>
                  <a:close/>
                  <a:moveTo>
                    <a:pt x="1520" y="1551"/>
                  </a:moveTo>
                  <a:cubicBezTo>
                    <a:pt x="1536" y="1536"/>
                    <a:pt x="1544" y="1520"/>
                    <a:pt x="1546" y="1504"/>
                  </a:cubicBezTo>
                  <a:cubicBezTo>
                    <a:pt x="1547" y="1488"/>
                    <a:pt x="1541" y="1473"/>
                    <a:pt x="1527" y="1459"/>
                  </a:cubicBezTo>
                  <a:cubicBezTo>
                    <a:pt x="1520" y="1452"/>
                    <a:pt x="1512" y="1447"/>
                    <a:pt x="1504" y="1444"/>
                  </a:cubicBezTo>
                  <a:cubicBezTo>
                    <a:pt x="1496" y="1442"/>
                    <a:pt x="1488" y="1441"/>
                    <a:pt x="1479" y="1441"/>
                  </a:cubicBezTo>
                  <a:cubicBezTo>
                    <a:pt x="1471" y="1442"/>
                    <a:pt x="1463" y="1445"/>
                    <a:pt x="1455" y="1449"/>
                  </a:cubicBezTo>
                  <a:cubicBezTo>
                    <a:pt x="1447" y="1452"/>
                    <a:pt x="1440" y="1458"/>
                    <a:pt x="1433" y="1464"/>
                  </a:cubicBezTo>
                  <a:lnTo>
                    <a:pt x="1520" y="1551"/>
                  </a:lnTo>
                  <a:close/>
                  <a:moveTo>
                    <a:pt x="1728" y="1785"/>
                  </a:moveTo>
                  <a:cubicBezTo>
                    <a:pt x="1714" y="1799"/>
                    <a:pt x="1700" y="1810"/>
                    <a:pt x="1686" y="1818"/>
                  </a:cubicBezTo>
                  <a:cubicBezTo>
                    <a:pt x="1672" y="1826"/>
                    <a:pt x="1658" y="1831"/>
                    <a:pt x="1644" y="1833"/>
                  </a:cubicBezTo>
                  <a:cubicBezTo>
                    <a:pt x="1631" y="1834"/>
                    <a:pt x="1618" y="1833"/>
                    <a:pt x="1605" y="1829"/>
                  </a:cubicBezTo>
                  <a:cubicBezTo>
                    <a:pt x="1592" y="1824"/>
                    <a:pt x="1580" y="1817"/>
                    <a:pt x="1569" y="1806"/>
                  </a:cubicBezTo>
                  <a:cubicBezTo>
                    <a:pt x="1564" y="1801"/>
                    <a:pt x="1561" y="1796"/>
                    <a:pt x="1558" y="1791"/>
                  </a:cubicBezTo>
                  <a:cubicBezTo>
                    <a:pt x="1554" y="1786"/>
                    <a:pt x="1552" y="1781"/>
                    <a:pt x="1550" y="1775"/>
                  </a:cubicBezTo>
                  <a:cubicBezTo>
                    <a:pt x="1548" y="1769"/>
                    <a:pt x="1547" y="1763"/>
                    <a:pt x="1546" y="1756"/>
                  </a:cubicBezTo>
                  <a:cubicBezTo>
                    <a:pt x="1546" y="1749"/>
                    <a:pt x="1545" y="1741"/>
                    <a:pt x="1545" y="1733"/>
                  </a:cubicBezTo>
                  <a:lnTo>
                    <a:pt x="1466" y="1813"/>
                  </a:lnTo>
                  <a:cubicBezTo>
                    <a:pt x="1465" y="1814"/>
                    <a:pt x="1464" y="1814"/>
                    <a:pt x="1462" y="1814"/>
                  </a:cubicBezTo>
                  <a:cubicBezTo>
                    <a:pt x="1461" y="1815"/>
                    <a:pt x="1460" y="1814"/>
                    <a:pt x="1458" y="1814"/>
                  </a:cubicBezTo>
                  <a:cubicBezTo>
                    <a:pt x="1457" y="1813"/>
                    <a:pt x="1455" y="1812"/>
                    <a:pt x="1453" y="1810"/>
                  </a:cubicBezTo>
                  <a:cubicBezTo>
                    <a:pt x="1451" y="1809"/>
                    <a:pt x="1448" y="1807"/>
                    <a:pt x="1445" y="1804"/>
                  </a:cubicBezTo>
                  <a:cubicBezTo>
                    <a:pt x="1442" y="1801"/>
                    <a:pt x="1440" y="1798"/>
                    <a:pt x="1439" y="1796"/>
                  </a:cubicBezTo>
                  <a:cubicBezTo>
                    <a:pt x="1437" y="1794"/>
                    <a:pt x="1436" y="1792"/>
                    <a:pt x="1435" y="1791"/>
                  </a:cubicBezTo>
                  <a:cubicBezTo>
                    <a:pt x="1434" y="1789"/>
                    <a:pt x="1434" y="1788"/>
                    <a:pt x="1435" y="1786"/>
                  </a:cubicBezTo>
                  <a:cubicBezTo>
                    <a:pt x="1435" y="1785"/>
                    <a:pt x="1435" y="1784"/>
                    <a:pt x="1436" y="1783"/>
                  </a:cubicBezTo>
                  <a:lnTo>
                    <a:pt x="1659" y="1561"/>
                  </a:lnTo>
                  <a:cubicBezTo>
                    <a:pt x="1660" y="1560"/>
                    <a:pt x="1661" y="1559"/>
                    <a:pt x="1662" y="1559"/>
                  </a:cubicBezTo>
                  <a:cubicBezTo>
                    <a:pt x="1663" y="1559"/>
                    <a:pt x="1664" y="1559"/>
                    <a:pt x="1666" y="1560"/>
                  </a:cubicBezTo>
                  <a:cubicBezTo>
                    <a:pt x="1667" y="1560"/>
                    <a:pt x="1669" y="1561"/>
                    <a:pt x="1671" y="1563"/>
                  </a:cubicBezTo>
                  <a:cubicBezTo>
                    <a:pt x="1672" y="1564"/>
                    <a:pt x="1674" y="1566"/>
                    <a:pt x="1677" y="1568"/>
                  </a:cubicBezTo>
                  <a:cubicBezTo>
                    <a:pt x="1679" y="1571"/>
                    <a:pt x="1681" y="1573"/>
                    <a:pt x="1683" y="1575"/>
                  </a:cubicBezTo>
                  <a:cubicBezTo>
                    <a:pt x="1684" y="1577"/>
                    <a:pt x="1685" y="1578"/>
                    <a:pt x="1686" y="1580"/>
                  </a:cubicBezTo>
                  <a:cubicBezTo>
                    <a:pt x="1686" y="1581"/>
                    <a:pt x="1686" y="1583"/>
                    <a:pt x="1686" y="1584"/>
                  </a:cubicBezTo>
                  <a:cubicBezTo>
                    <a:pt x="1686" y="1585"/>
                    <a:pt x="1685" y="1586"/>
                    <a:pt x="1684" y="1587"/>
                  </a:cubicBezTo>
                  <a:lnTo>
                    <a:pt x="1663" y="1608"/>
                  </a:lnTo>
                  <a:cubicBezTo>
                    <a:pt x="1673" y="1608"/>
                    <a:pt x="1682" y="1608"/>
                    <a:pt x="1690" y="1609"/>
                  </a:cubicBezTo>
                  <a:cubicBezTo>
                    <a:pt x="1698" y="1610"/>
                    <a:pt x="1705" y="1612"/>
                    <a:pt x="1712" y="1614"/>
                  </a:cubicBezTo>
                  <a:cubicBezTo>
                    <a:pt x="1719" y="1616"/>
                    <a:pt x="1726" y="1619"/>
                    <a:pt x="1732" y="1622"/>
                  </a:cubicBezTo>
                  <a:cubicBezTo>
                    <a:pt x="1738" y="1626"/>
                    <a:pt x="1743" y="1630"/>
                    <a:pt x="1749" y="1635"/>
                  </a:cubicBezTo>
                  <a:cubicBezTo>
                    <a:pt x="1760" y="1647"/>
                    <a:pt x="1768" y="1659"/>
                    <a:pt x="1772" y="1672"/>
                  </a:cubicBezTo>
                  <a:cubicBezTo>
                    <a:pt x="1775" y="1684"/>
                    <a:pt x="1776" y="1697"/>
                    <a:pt x="1773" y="1710"/>
                  </a:cubicBezTo>
                  <a:cubicBezTo>
                    <a:pt x="1770" y="1723"/>
                    <a:pt x="1765" y="1736"/>
                    <a:pt x="1757" y="1748"/>
                  </a:cubicBezTo>
                  <a:cubicBezTo>
                    <a:pt x="1749" y="1761"/>
                    <a:pt x="1739" y="1773"/>
                    <a:pt x="1728" y="1785"/>
                  </a:cubicBezTo>
                  <a:close/>
                  <a:moveTo>
                    <a:pt x="1694" y="1758"/>
                  </a:moveTo>
                  <a:cubicBezTo>
                    <a:pt x="1702" y="1750"/>
                    <a:pt x="1710" y="1741"/>
                    <a:pt x="1716" y="1732"/>
                  </a:cubicBezTo>
                  <a:cubicBezTo>
                    <a:pt x="1722" y="1723"/>
                    <a:pt x="1727" y="1715"/>
                    <a:pt x="1730" y="1706"/>
                  </a:cubicBezTo>
                  <a:cubicBezTo>
                    <a:pt x="1733" y="1697"/>
                    <a:pt x="1733" y="1688"/>
                    <a:pt x="1732" y="1679"/>
                  </a:cubicBezTo>
                  <a:cubicBezTo>
                    <a:pt x="1730" y="1671"/>
                    <a:pt x="1726" y="1663"/>
                    <a:pt x="1718" y="1655"/>
                  </a:cubicBezTo>
                  <a:cubicBezTo>
                    <a:pt x="1714" y="1651"/>
                    <a:pt x="1710" y="1648"/>
                    <a:pt x="1705" y="1645"/>
                  </a:cubicBezTo>
                  <a:cubicBezTo>
                    <a:pt x="1700" y="1643"/>
                    <a:pt x="1695" y="1641"/>
                    <a:pt x="1689" y="1640"/>
                  </a:cubicBezTo>
                  <a:cubicBezTo>
                    <a:pt x="1683" y="1638"/>
                    <a:pt x="1675" y="1637"/>
                    <a:pt x="1667" y="1637"/>
                  </a:cubicBezTo>
                  <a:cubicBezTo>
                    <a:pt x="1659" y="1637"/>
                    <a:pt x="1650" y="1637"/>
                    <a:pt x="1640" y="1639"/>
                  </a:cubicBezTo>
                  <a:lnTo>
                    <a:pt x="1576" y="1702"/>
                  </a:lnTo>
                  <a:cubicBezTo>
                    <a:pt x="1575" y="1720"/>
                    <a:pt x="1575" y="1735"/>
                    <a:pt x="1577" y="1747"/>
                  </a:cubicBezTo>
                  <a:cubicBezTo>
                    <a:pt x="1579" y="1760"/>
                    <a:pt x="1584" y="1770"/>
                    <a:pt x="1592" y="1778"/>
                  </a:cubicBezTo>
                  <a:cubicBezTo>
                    <a:pt x="1599" y="1785"/>
                    <a:pt x="1607" y="1790"/>
                    <a:pt x="1616" y="1791"/>
                  </a:cubicBezTo>
                  <a:cubicBezTo>
                    <a:pt x="1625" y="1793"/>
                    <a:pt x="1634" y="1793"/>
                    <a:pt x="1643" y="1790"/>
                  </a:cubicBezTo>
                  <a:cubicBezTo>
                    <a:pt x="1652" y="1788"/>
                    <a:pt x="1661" y="1783"/>
                    <a:pt x="1670" y="1778"/>
                  </a:cubicBezTo>
                  <a:cubicBezTo>
                    <a:pt x="1679" y="1772"/>
                    <a:pt x="1687" y="1765"/>
                    <a:pt x="1694" y="1758"/>
                  </a:cubicBezTo>
                  <a:close/>
                  <a:moveTo>
                    <a:pt x="1903" y="1951"/>
                  </a:moveTo>
                  <a:cubicBezTo>
                    <a:pt x="1898" y="1955"/>
                    <a:pt x="1894" y="1957"/>
                    <a:pt x="1889" y="1957"/>
                  </a:cubicBezTo>
                  <a:cubicBezTo>
                    <a:pt x="1885" y="1957"/>
                    <a:pt x="1882" y="1955"/>
                    <a:pt x="1879" y="1952"/>
                  </a:cubicBezTo>
                  <a:lnTo>
                    <a:pt x="1774" y="1847"/>
                  </a:lnTo>
                  <a:cubicBezTo>
                    <a:pt x="1765" y="1856"/>
                    <a:pt x="1758" y="1865"/>
                    <a:pt x="1753" y="1874"/>
                  </a:cubicBezTo>
                  <a:cubicBezTo>
                    <a:pt x="1747" y="1883"/>
                    <a:pt x="1744" y="1892"/>
                    <a:pt x="1743" y="1901"/>
                  </a:cubicBezTo>
                  <a:cubicBezTo>
                    <a:pt x="1742" y="1910"/>
                    <a:pt x="1744" y="1919"/>
                    <a:pt x="1748" y="1929"/>
                  </a:cubicBezTo>
                  <a:cubicBezTo>
                    <a:pt x="1752" y="1938"/>
                    <a:pt x="1759" y="1947"/>
                    <a:pt x="1768" y="1957"/>
                  </a:cubicBezTo>
                  <a:cubicBezTo>
                    <a:pt x="1776" y="1965"/>
                    <a:pt x="1783" y="1971"/>
                    <a:pt x="1790" y="1975"/>
                  </a:cubicBezTo>
                  <a:cubicBezTo>
                    <a:pt x="1797" y="1980"/>
                    <a:pt x="1804" y="1984"/>
                    <a:pt x="1810" y="1987"/>
                  </a:cubicBezTo>
                  <a:cubicBezTo>
                    <a:pt x="1816" y="1989"/>
                    <a:pt x="1821" y="1992"/>
                    <a:pt x="1825" y="1993"/>
                  </a:cubicBezTo>
                  <a:cubicBezTo>
                    <a:pt x="1829" y="1995"/>
                    <a:pt x="1831" y="1996"/>
                    <a:pt x="1833" y="1998"/>
                  </a:cubicBezTo>
                  <a:cubicBezTo>
                    <a:pt x="1834" y="1998"/>
                    <a:pt x="1834" y="1999"/>
                    <a:pt x="1834" y="2000"/>
                  </a:cubicBezTo>
                  <a:cubicBezTo>
                    <a:pt x="1835" y="2002"/>
                    <a:pt x="1834" y="2003"/>
                    <a:pt x="1834" y="2004"/>
                  </a:cubicBezTo>
                  <a:cubicBezTo>
                    <a:pt x="1834" y="2005"/>
                    <a:pt x="1833" y="2006"/>
                    <a:pt x="1831" y="2008"/>
                  </a:cubicBezTo>
                  <a:cubicBezTo>
                    <a:pt x="1830" y="2010"/>
                    <a:pt x="1828" y="2012"/>
                    <a:pt x="1826" y="2014"/>
                  </a:cubicBezTo>
                  <a:cubicBezTo>
                    <a:pt x="1825" y="2015"/>
                    <a:pt x="1823" y="2017"/>
                    <a:pt x="1822" y="2018"/>
                  </a:cubicBezTo>
                  <a:cubicBezTo>
                    <a:pt x="1821" y="2019"/>
                    <a:pt x="1820" y="2019"/>
                    <a:pt x="1819" y="2020"/>
                  </a:cubicBezTo>
                  <a:cubicBezTo>
                    <a:pt x="1818" y="2021"/>
                    <a:pt x="1816" y="2021"/>
                    <a:pt x="1815" y="2022"/>
                  </a:cubicBezTo>
                  <a:cubicBezTo>
                    <a:pt x="1814" y="2022"/>
                    <a:pt x="1813" y="2022"/>
                    <a:pt x="1812" y="2022"/>
                  </a:cubicBezTo>
                  <a:cubicBezTo>
                    <a:pt x="1810" y="2022"/>
                    <a:pt x="1807" y="2021"/>
                    <a:pt x="1803" y="2019"/>
                  </a:cubicBezTo>
                  <a:cubicBezTo>
                    <a:pt x="1798" y="2018"/>
                    <a:pt x="1793" y="2015"/>
                    <a:pt x="1786" y="2011"/>
                  </a:cubicBezTo>
                  <a:cubicBezTo>
                    <a:pt x="1780" y="2008"/>
                    <a:pt x="1772" y="2003"/>
                    <a:pt x="1765" y="1998"/>
                  </a:cubicBezTo>
                  <a:cubicBezTo>
                    <a:pt x="1757" y="1992"/>
                    <a:pt x="1749" y="1986"/>
                    <a:pt x="1742" y="1978"/>
                  </a:cubicBezTo>
                  <a:cubicBezTo>
                    <a:pt x="1729" y="1965"/>
                    <a:pt x="1719" y="1952"/>
                    <a:pt x="1713" y="1938"/>
                  </a:cubicBezTo>
                  <a:cubicBezTo>
                    <a:pt x="1707" y="1925"/>
                    <a:pt x="1704" y="1911"/>
                    <a:pt x="1704" y="1897"/>
                  </a:cubicBezTo>
                  <a:cubicBezTo>
                    <a:pt x="1705" y="1883"/>
                    <a:pt x="1709" y="1869"/>
                    <a:pt x="1716" y="1855"/>
                  </a:cubicBezTo>
                  <a:cubicBezTo>
                    <a:pt x="1724" y="1841"/>
                    <a:pt x="1734" y="1826"/>
                    <a:pt x="1749" y="1812"/>
                  </a:cubicBezTo>
                  <a:cubicBezTo>
                    <a:pt x="1762" y="1798"/>
                    <a:pt x="1777" y="1788"/>
                    <a:pt x="1791" y="1780"/>
                  </a:cubicBezTo>
                  <a:cubicBezTo>
                    <a:pt x="1805" y="1773"/>
                    <a:pt x="1820" y="1769"/>
                    <a:pt x="1834" y="1768"/>
                  </a:cubicBezTo>
                  <a:cubicBezTo>
                    <a:pt x="1848" y="1767"/>
                    <a:pt x="1862" y="1769"/>
                    <a:pt x="1876" y="1774"/>
                  </a:cubicBezTo>
                  <a:cubicBezTo>
                    <a:pt x="1889" y="1780"/>
                    <a:pt x="1902" y="1788"/>
                    <a:pt x="1913" y="1800"/>
                  </a:cubicBezTo>
                  <a:cubicBezTo>
                    <a:pt x="1926" y="1813"/>
                    <a:pt x="1934" y="1825"/>
                    <a:pt x="1939" y="1838"/>
                  </a:cubicBezTo>
                  <a:cubicBezTo>
                    <a:pt x="1944" y="1851"/>
                    <a:pt x="1946" y="1863"/>
                    <a:pt x="1945" y="1876"/>
                  </a:cubicBezTo>
                  <a:cubicBezTo>
                    <a:pt x="1944" y="1888"/>
                    <a:pt x="1940" y="1900"/>
                    <a:pt x="1933" y="1912"/>
                  </a:cubicBezTo>
                  <a:cubicBezTo>
                    <a:pt x="1927" y="1924"/>
                    <a:pt x="1918" y="1935"/>
                    <a:pt x="1908" y="1945"/>
                  </a:cubicBezTo>
                  <a:lnTo>
                    <a:pt x="1903" y="1951"/>
                  </a:lnTo>
                  <a:close/>
                  <a:moveTo>
                    <a:pt x="1882" y="1913"/>
                  </a:moveTo>
                  <a:cubicBezTo>
                    <a:pt x="1898" y="1898"/>
                    <a:pt x="1906" y="1882"/>
                    <a:pt x="1908" y="1866"/>
                  </a:cubicBezTo>
                  <a:cubicBezTo>
                    <a:pt x="1909" y="1850"/>
                    <a:pt x="1903" y="1835"/>
                    <a:pt x="1889" y="1821"/>
                  </a:cubicBezTo>
                  <a:cubicBezTo>
                    <a:pt x="1882" y="1814"/>
                    <a:pt x="1874" y="1809"/>
                    <a:pt x="1866" y="1806"/>
                  </a:cubicBezTo>
                  <a:cubicBezTo>
                    <a:pt x="1858" y="1804"/>
                    <a:pt x="1850" y="1803"/>
                    <a:pt x="1841" y="1803"/>
                  </a:cubicBezTo>
                  <a:cubicBezTo>
                    <a:pt x="1833" y="1804"/>
                    <a:pt x="1825" y="1807"/>
                    <a:pt x="1817" y="1811"/>
                  </a:cubicBezTo>
                  <a:cubicBezTo>
                    <a:pt x="1809" y="1814"/>
                    <a:pt x="1802" y="1820"/>
                    <a:pt x="1795" y="1826"/>
                  </a:cubicBezTo>
                  <a:lnTo>
                    <a:pt x="1882" y="1913"/>
                  </a:lnTo>
                  <a:close/>
                  <a:moveTo>
                    <a:pt x="1999" y="2219"/>
                  </a:moveTo>
                  <a:cubicBezTo>
                    <a:pt x="1998" y="2220"/>
                    <a:pt x="1997" y="2221"/>
                    <a:pt x="1995" y="2221"/>
                  </a:cubicBezTo>
                  <a:cubicBezTo>
                    <a:pt x="1994" y="2221"/>
                    <a:pt x="1993" y="2221"/>
                    <a:pt x="1992" y="2220"/>
                  </a:cubicBezTo>
                  <a:cubicBezTo>
                    <a:pt x="1990" y="2220"/>
                    <a:pt x="1988" y="2219"/>
                    <a:pt x="1986" y="2217"/>
                  </a:cubicBezTo>
                  <a:cubicBezTo>
                    <a:pt x="1984" y="2215"/>
                    <a:pt x="1981" y="2213"/>
                    <a:pt x="1979" y="2210"/>
                  </a:cubicBezTo>
                  <a:cubicBezTo>
                    <a:pt x="1976" y="2207"/>
                    <a:pt x="1973" y="2205"/>
                    <a:pt x="1972" y="2203"/>
                  </a:cubicBezTo>
                  <a:cubicBezTo>
                    <a:pt x="1970" y="2201"/>
                    <a:pt x="1969" y="2199"/>
                    <a:pt x="1968" y="2197"/>
                  </a:cubicBezTo>
                  <a:cubicBezTo>
                    <a:pt x="1968" y="2196"/>
                    <a:pt x="1968" y="2194"/>
                    <a:pt x="1968" y="2193"/>
                  </a:cubicBezTo>
                  <a:cubicBezTo>
                    <a:pt x="1968" y="2192"/>
                    <a:pt x="1968" y="2191"/>
                    <a:pt x="1969" y="2190"/>
                  </a:cubicBezTo>
                  <a:lnTo>
                    <a:pt x="2063" y="2097"/>
                  </a:lnTo>
                  <a:cubicBezTo>
                    <a:pt x="2072" y="2088"/>
                    <a:pt x="2078" y="2080"/>
                    <a:pt x="2082" y="2073"/>
                  </a:cubicBezTo>
                  <a:cubicBezTo>
                    <a:pt x="2086" y="2066"/>
                    <a:pt x="2089" y="2059"/>
                    <a:pt x="2091" y="2052"/>
                  </a:cubicBezTo>
                  <a:cubicBezTo>
                    <a:pt x="2092" y="2046"/>
                    <a:pt x="2091" y="2039"/>
                    <a:pt x="2089" y="2033"/>
                  </a:cubicBezTo>
                  <a:cubicBezTo>
                    <a:pt x="2087" y="2026"/>
                    <a:pt x="2083" y="2020"/>
                    <a:pt x="2077" y="2015"/>
                  </a:cubicBezTo>
                  <a:cubicBezTo>
                    <a:pt x="2070" y="2007"/>
                    <a:pt x="2060" y="2003"/>
                    <a:pt x="2048" y="2000"/>
                  </a:cubicBezTo>
                  <a:cubicBezTo>
                    <a:pt x="2035" y="1998"/>
                    <a:pt x="2020" y="1998"/>
                    <a:pt x="2002" y="2000"/>
                  </a:cubicBezTo>
                  <a:lnTo>
                    <a:pt x="1891" y="2112"/>
                  </a:lnTo>
                  <a:cubicBezTo>
                    <a:pt x="1890" y="2112"/>
                    <a:pt x="1889" y="2113"/>
                    <a:pt x="1888" y="2113"/>
                  </a:cubicBezTo>
                  <a:cubicBezTo>
                    <a:pt x="1887" y="2113"/>
                    <a:pt x="1885" y="2113"/>
                    <a:pt x="1884" y="2113"/>
                  </a:cubicBezTo>
                  <a:cubicBezTo>
                    <a:pt x="1882" y="2112"/>
                    <a:pt x="1880" y="2111"/>
                    <a:pt x="1878" y="2109"/>
                  </a:cubicBezTo>
                  <a:cubicBezTo>
                    <a:pt x="1876" y="2108"/>
                    <a:pt x="1874" y="2105"/>
                    <a:pt x="1871" y="2102"/>
                  </a:cubicBezTo>
                  <a:cubicBezTo>
                    <a:pt x="1868" y="2099"/>
                    <a:pt x="1866" y="2097"/>
                    <a:pt x="1864" y="2095"/>
                  </a:cubicBezTo>
                  <a:cubicBezTo>
                    <a:pt x="1862" y="2093"/>
                    <a:pt x="1861" y="2091"/>
                    <a:pt x="1860" y="2089"/>
                  </a:cubicBezTo>
                  <a:cubicBezTo>
                    <a:pt x="1860" y="2088"/>
                    <a:pt x="1860" y="2086"/>
                    <a:pt x="1860" y="2085"/>
                  </a:cubicBezTo>
                  <a:cubicBezTo>
                    <a:pt x="1860" y="2084"/>
                    <a:pt x="1861" y="2083"/>
                    <a:pt x="1862" y="2082"/>
                  </a:cubicBezTo>
                  <a:lnTo>
                    <a:pt x="2021" y="1923"/>
                  </a:lnTo>
                  <a:cubicBezTo>
                    <a:pt x="2022" y="1922"/>
                    <a:pt x="2023" y="1922"/>
                    <a:pt x="2024" y="1921"/>
                  </a:cubicBezTo>
                  <a:cubicBezTo>
                    <a:pt x="2025" y="1921"/>
                    <a:pt x="2026" y="1921"/>
                    <a:pt x="2027" y="1922"/>
                  </a:cubicBezTo>
                  <a:cubicBezTo>
                    <a:pt x="2029" y="1922"/>
                    <a:pt x="2031" y="1923"/>
                    <a:pt x="2033" y="1925"/>
                  </a:cubicBezTo>
                  <a:cubicBezTo>
                    <a:pt x="2034" y="1926"/>
                    <a:pt x="2037" y="1928"/>
                    <a:pt x="2039" y="1931"/>
                  </a:cubicBezTo>
                  <a:cubicBezTo>
                    <a:pt x="2042" y="1934"/>
                    <a:pt x="2044" y="1936"/>
                    <a:pt x="2046" y="1938"/>
                  </a:cubicBezTo>
                  <a:cubicBezTo>
                    <a:pt x="2047" y="1940"/>
                    <a:pt x="2048" y="1941"/>
                    <a:pt x="2049" y="1943"/>
                  </a:cubicBezTo>
                  <a:cubicBezTo>
                    <a:pt x="2049" y="1944"/>
                    <a:pt x="2049" y="1946"/>
                    <a:pt x="2049" y="1947"/>
                  </a:cubicBezTo>
                  <a:cubicBezTo>
                    <a:pt x="2049" y="1948"/>
                    <a:pt x="2048" y="1949"/>
                    <a:pt x="2047" y="1950"/>
                  </a:cubicBezTo>
                  <a:lnTo>
                    <a:pt x="2026" y="1971"/>
                  </a:lnTo>
                  <a:cubicBezTo>
                    <a:pt x="2045" y="1970"/>
                    <a:pt x="2061" y="1971"/>
                    <a:pt x="2075" y="1975"/>
                  </a:cubicBezTo>
                  <a:cubicBezTo>
                    <a:pt x="2088" y="1980"/>
                    <a:pt x="2100" y="1986"/>
                    <a:pt x="2109" y="1995"/>
                  </a:cubicBezTo>
                  <a:cubicBezTo>
                    <a:pt x="2119" y="2006"/>
                    <a:pt x="2126" y="2017"/>
                    <a:pt x="2130" y="2028"/>
                  </a:cubicBezTo>
                  <a:cubicBezTo>
                    <a:pt x="2134" y="2038"/>
                    <a:pt x="2135" y="2049"/>
                    <a:pt x="2133" y="2060"/>
                  </a:cubicBezTo>
                  <a:cubicBezTo>
                    <a:pt x="2132" y="2070"/>
                    <a:pt x="2128" y="2080"/>
                    <a:pt x="2122" y="2090"/>
                  </a:cubicBezTo>
                  <a:cubicBezTo>
                    <a:pt x="2116" y="2100"/>
                    <a:pt x="2107" y="2111"/>
                    <a:pt x="2096" y="2122"/>
                  </a:cubicBezTo>
                  <a:lnTo>
                    <a:pt x="1999" y="2219"/>
                  </a:lnTo>
                  <a:close/>
                  <a:moveTo>
                    <a:pt x="2083" y="2304"/>
                  </a:moveTo>
                  <a:cubicBezTo>
                    <a:pt x="2082" y="2305"/>
                    <a:pt x="2081" y="2305"/>
                    <a:pt x="2080" y="2306"/>
                  </a:cubicBezTo>
                  <a:cubicBezTo>
                    <a:pt x="2079" y="2306"/>
                    <a:pt x="2078" y="2305"/>
                    <a:pt x="2076" y="2305"/>
                  </a:cubicBezTo>
                  <a:cubicBezTo>
                    <a:pt x="2074" y="2304"/>
                    <a:pt x="2073" y="2303"/>
                    <a:pt x="2071" y="2302"/>
                  </a:cubicBezTo>
                  <a:cubicBezTo>
                    <a:pt x="2068" y="2300"/>
                    <a:pt x="2066" y="2298"/>
                    <a:pt x="2063" y="2295"/>
                  </a:cubicBezTo>
                  <a:cubicBezTo>
                    <a:pt x="2060" y="2292"/>
                    <a:pt x="2058" y="2289"/>
                    <a:pt x="2056" y="2287"/>
                  </a:cubicBezTo>
                  <a:cubicBezTo>
                    <a:pt x="2055" y="2285"/>
                    <a:pt x="2053" y="2283"/>
                    <a:pt x="2053" y="2282"/>
                  </a:cubicBezTo>
                  <a:cubicBezTo>
                    <a:pt x="2052" y="2280"/>
                    <a:pt x="2052" y="2279"/>
                    <a:pt x="2052" y="2278"/>
                  </a:cubicBezTo>
                  <a:cubicBezTo>
                    <a:pt x="2052" y="2277"/>
                    <a:pt x="2053" y="2276"/>
                    <a:pt x="2054" y="2275"/>
                  </a:cubicBezTo>
                  <a:lnTo>
                    <a:pt x="2213" y="2116"/>
                  </a:lnTo>
                  <a:cubicBezTo>
                    <a:pt x="2214" y="2115"/>
                    <a:pt x="2215" y="2114"/>
                    <a:pt x="2216" y="2114"/>
                  </a:cubicBezTo>
                  <a:cubicBezTo>
                    <a:pt x="2217" y="2114"/>
                    <a:pt x="2218" y="2114"/>
                    <a:pt x="2220" y="2114"/>
                  </a:cubicBezTo>
                  <a:cubicBezTo>
                    <a:pt x="2222" y="2115"/>
                    <a:pt x="2223" y="2116"/>
                    <a:pt x="2226" y="2118"/>
                  </a:cubicBezTo>
                  <a:cubicBezTo>
                    <a:pt x="2228" y="2120"/>
                    <a:pt x="2230" y="2122"/>
                    <a:pt x="2233" y="2125"/>
                  </a:cubicBezTo>
                  <a:cubicBezTo>
                    <a:pt x="2236" y="2128"/>
                    <a:pt x="2238" y="2130"/>
                    <a:pt x="2240" y="2132"/>
                  </a:cubicBezTo>
                  <a:cubicBezTo>
                    <a:pt x="2242" y="2134"/>
                    <a:pt x="2243" y="2136"/>
                    <a:pt x="2243" y="2138"/>
                  </a:cubicBezTo>
                  <a:cubicBezTo>
                    <a:pt x="2244" y="2139"/>
                    <a:pt x="2244" y="2141"/>
                    <a:pt x="2244" y="2142"/>
                  </a:cubicBezTo>
                  <a:cubicBezTo>
                    <a:pt x="2244" y="2143"/>
                    <a:pt x="2243" y="2144"/>
                    <a:pt x="2242" y="2145"/>
                  </a:cubicBezTo>
                  <a:lnTo>
                    <a:pt x="2083" y="2304"/>
                  </a:lnTo>
                  <a:close/>
                  <a:moveTo>
                    <a:pt x="2299" y="2094"/>
                  </a:moveTo>
                  <a:cubicBezTo>
                    <a:pt x="2292" y="2101"/>
                    <a:pt x="2286" y="2105"/>
                    <a:pt x="2281" y="2104"/>
                  </a:cubicBezTo>
                  <a:cubicBezTo>
                    <a:pt x="2276" y="2104"/>
                    <a:pt x="2270" y="2101"/>
                    <a:pt x="2263" y="2094"/>
                  </a:cubicBezTo>
                  <a:cubicBezTo>
                    <a:pt x="2257" y="2087"/>
                    <a:pt x="2253" y="2081"/>
                    <a:pt x="2253" y="2076"/>
                  </a:cubicBezTo>
                  <a:cubicBezTo>
                    <a:pt x="2253" y="2071"/>
                    <a:pt x="2256" y="2065"/>
                    <a:pt x="2263" y="2059"/>
                  </a:cubicBezTo>
                  <a:cubicBezTo>
                    <a:pt x="2270" y="2052"/>
                    <a:pt x="2276" y="2048"/>
                    <a:pt x="2281" y="2049"/>
                  </a:cubicBezTo>
                  <a:cubicBezTo>
                    <a:pt x="2286" y="2049"/>
                    <a:pt x="2292" y="2052"/>
                    <a:pt x="2299" y="2059"/>
                  </a:cubicBezTo>
                  <a:cubicBezTo>
                    <a:pt x="2306" y="2066"/>
                    <a:pt x="2309" y="2072"/>
                    <a:pt x="2309" y="2077"/>
                  </a:cubicBezTo>
                  <a:cubicBezTo>
                    <a:pt x="2309" y="2082"/>
                    <a:pt x="2306" y="2088"/>
                    <a:pt x="2299" y="2094"/>
                  </a:cubicBezTo>
                  <a:close/>
                  <a:moveTo>
                    <a:pt x="2283" y="2455"/>
                  </a:moveTo>
                  <a:cubicBezTo>
                    <a:pt x="2281" y="2457"/>
                    <a:pt x="2279" y="2459"/>
                    <a:pt x="2278" y="2460"/>
                  </a:cubicBezTo>
                  <a:cubicBezTo>
                    <a:pt x="2276" y="2462"/>
                    <a:pt x="2275" y="2463"/>
                    <a:pt x="2273" y="2463"/>
                  </a:cubicBezTo>
                  <a:cubicBezTo>
                    <a:pt x="2272" y="2464"/>
                    <a:pt x="2271" y="2465"/>
                    <a:pt x="2270" y="2465"/>
                  </a:cubicBezTo>
                  <a:cubicBezTo>
                    <a:pt x="2268" y="2465"/>
                    <a:pt x="2266" y="2466"/>
                    <a:pt x="2263" y="2466"/>
                  </a:cubicBezTo>
                  <a:cubicBezTo>
                    <a:pt x="2260" y="2466"/>
                    <a:pt x="2256" y="2465"/>
                    <a:pt x="2250" y="2464"/>
                  </a:cubicBezTo>
                  <a:cubicBezTo>
                    <a:pt x="2245" y="2462"/>
                    <a:pt x="2239" y="2460"/>
                    <a:pt x="2233" y="2457"/>
                  </a:cubicBezTo>
                  <a:cubicBezTo>
                    <a:pt x="2227" y="2455"/>
                    <a:pt x="2220" y="2451"/>
                    <a:pt x="2214" y="2447"/>
                  </a:cubicBezTo>
                  <a:cubicBezTo>
                    <a:pt x="2208" y="2443"/>
                    <a:pt x="2202" y="2438"/>
                    <a:pt x="2196" y="2433"/>
                  </a:cubicBezTo>
                  <a:cubicBezTo>
                    <a:pt x="2185" y="2421"/>
                    <a:pt x="2177" y="2409"/>
                    <a:pt x="2172" y="2397"/>
                  </a:cubicBezTo>
                  <a:cubicBezTo>
                    <a:pt x="2167" y="2384"/>
                    <a:pt x="2165" y="2371"/>
                    <a:pt x="2166" y="2358"/>
                  </a:cubicBezTo>
                  <a:cubicBezTo>
                    <a:pt x="2167" y="2345"/>
                    <a:pt x="2172" y="2331"/>
                    <a:pt x="2179" y="2318"/>
                  </a:cubicBezTo>
                  <a:cubicBezTo>
                    <a:pt x="2186" y="2304"/>
                    <a:pt x="2197" y="2290"/>
                    <a:pt x="2211" y="2276"/>
                  </a:cubicBezTo>
                  <a:cubicBezTo>
                    <a:pt x="2227" y="2261"/>
                    <a:pt x="2242" y="2249"/>
                    <a:pt x="2257" y="2242"/>
                  </a:cubicBezTo>
                  <a:cubicBezTo>
                    <a:pt x="2272" y="2234"/>
                    <a:pt x="2287" y="2230"/>
                    <a:pt x="2300" y="2230"/>
                  </a:cubicBezTo>
                  <a:cubicBezTo>
                    <a:pt x="2314" y="2229"/>
                    <a:pt x="2327" y="2232"/>
                    <a:pt x="2340" y="2237"/>
                  </a:cubicBezTo>
                  <a:cubicBezTo>
                    <a:pt x="2352" y="2243"/>
                    <a:pt x="2364" y="2251"/>
                    <a:pt x="2374" y="2261"/>
                  </a:cubicBezTo>
                  <a:cubicBezTo>
                    <a:pt x="2379" y="2266"/>
                    <a:pt x="2384" y="2272"/>
                    <a:pt x="2388" y="2278"/>
                  </a:cubicBezTo>
                  <a:cubicBezTo>
                    <a:pt x="2392" y="2283"/>
                    <a:pt x="2395" y="2289"/>
                    <a:pt x="2397" y="2294"/>
                  </a:cubicBezTo>
                  <a:cubicBezTo>
                    <a:pt x="2400" y="2300"/>
                    <a:pt x="2401" y="2305"/>
                    <a:pt x="2403" y="2310"/>
                  </a:cubicBezTo>
                  <a:cubicBezTo>
                    <a:pt x="2404" y="2316"/>
                    <a:pt x="2404" y="2320"/>
                    <a:pt x="2404" y="2322"/>
                  </a:cubicBezTo>
                  <a:cubicBezTo>
                    <a:pt x="2404" y="2325"/>
                    <a:pt x="2404" y="2327"/>
                    <a:pt x="2404" y="2329"/>
                  </a:cubicBezTo>
                  <a:cubicBezTo>
                    <a:pt x="2404" y="2330"/>
                    <a:pt x="2403" y="2331"/>
                    <a:pt x="2402" y="2333"/>
                  </a:cubicBezTo>
                  <a:cubicBezTo>
                    <a:pt x="2401" y="2334"/>
                    <a:pt x="2400" y="2336"/>
                    <a:pt x="2399" y="2337"/>
                  </a:cubicBezTo>
                  <a:cubicBezTo>
                    <a:pt x="2398" y="2339"/>
                    <a:pt x="2396" y="2341"/>
                    <a:pt x="2394" y="2343"/>
                  </a:cubicBezTo>
                  <a:cubicBezTo>
                    <a:pt x="2389" y="2348"/>
                    <a:pt x="2386" y="2350"/>
                    <a:pt x="2383" y="2351"/>
                  </a:cubicBezTo>
                  <a:cubicBezTo>
                    <a:pt x="2380" y="2352"/>
                    <a:pt x="2378" y="2351"/>
                    <a:pt x="2376" y="2350"/>
                  </a:cubicBezTo>
                  <a:cubicBezTo>
                    <a:pt x="2374" y="2348"/>
                    <a:pt x="2373" y="2345"/>
                    <a:pt x="2373" y="2341"/>
                  </a:cubicBezTo>
                  <a:cubicBezTo>
                    <a:pt x="2373" y="2337"/>
                    <a:pt x="2372" y="2331"/>
                    <a:pt x="2371" y="2326"/>
                  </a:cubicBezTo>
                  <a:cubicBezTo>
                    <a:pt x="2370" y="2320"/>
                    <a:pt x="2367" y="2313"/>
                    <a:pt x="2364" y="2306"/>
                  </a:cubicBezTo>
                  <a:cubicBezTo>
                    <a:pt x="2361" y="2299"/>
                    <a:pt x="2356" y="2292"/>
                    <a:pt x="2349" y="2286"/>
                  </a:cubicBezTo>
                  <a:cubicBezTo>
                    <a:pt x="2335" y="2272"/>
                    <a:pt x="2319" y="2266"/>
                    <a:pt x="2301" y="2270"/>
                  </a:cubicBezTo>
                  <a:cubicBezTo>
                    <a:pt x="2283" y="2273"/>
                    <a:pt x="2263" y="2285"/>
                    <a:pt x="2243" y="2305"/>
                  </a:cubicBezTo>
                  <a:cubicBezTo>
                    <a:pt x="2233" y="2316"/>
                    <a:pt x="2225" y="2325"/>
                    <a:pt x="2219" y="2335"/>
                  </a:cubicBezTo>
                  <a:cubicBezTo>
                    <a:pt x="2213" y="2345"/>
                    <a:pt x="2209" y="2354"/>
                    <a:pt x="2208" y="2363"/>
                  </a:cubicBezTo>
                  <a:cubicBezTo>
                    <a:pt x="2207" y="2372"/>
                    <a:pt x="2207" y="2380"/>
                    <a:pt x="2210" y="2389"/>
                  </a:cubicBezTo>
                  <a:cubicBezTo>
                    <a:pt x="2213" y="2397"/>
                    <a:pt x="2218" y="2404"/>
                    <a:pt x="2225" y="2411"/>
                  </a:cubicBezTo>
                  <a:cubicBezTo>
                    <a:pt x="2232" y="2418"/>
                    <a:pt x="2239" y="2423"/>
                    <a:pt x="2246" y="2426"/>
                  </a:cubicBezTo>
                  <a:cubicBezTo>
                    <a:pt x="2253" y="2429"/>
                    <a:pt x="2260" y="2431"/>
                    <a:pt x="2266" y="2432"/>
                  </a:cubicBezTo>
                  <a:cubicBezTo>
                    <a:pt x="2273" y="2433"/>
                    <a:pt x="2278" y="2434"/>
                    <a:pt x="2283" y="2434"/>
                  </a:cubicBezTo>
                  <a:cubicBezTo>
                    <a:pt x="2287" y="2435"/>
                    <a:pt x="2290" y="2436"/>
                    <a:pt x="2292" y="2437"/>
                  </a:cubicBezTo>
                  <a:cubicBezTo>
                    <a:pt x="2293" y="2438"/>
                    <a:pt x="2293" y="2439"/>
                    <a:pt x="2293" y="2440"/>
                  </a:cubicBezTo>
                  <a:cubicBezTo>
                    <a:pt x="2293" y="2441"/>
                    <a:pt x="2293" y="2442"/>
                    <a:pt x="2292" y="2444"/>
                  </a:cubicBezTo>
                  <a:cubicBezTo>
                    <a:pt x="2291" y="2445"/>
                    <a:pt x="2290" y="2447"/>
                    <a:pt x="2289" y="2449"/>
                  </a:cubicBezTo>
                  <a:cubicBezTo>
                    <a:pt x="2287" y="2451"/>
                    <a:pt x="2285" y="2453"/>
                    <a:pt x="2283" y="2455"/>
                  </a:cubicBezTo>
                  <a:close/>
                  <a:moveTo>
                    <a:pt x="2422" y="2643"/>
                  </a:moveTo>
                  <a:cubicBezTo>
                    <a:pt x="2421" y="2644"/>
                    <a:pt x="2420" y="2644"/>
                    <a:pt x="2419" y="2644"/>
                  </a:cubicBezTo>
                  <a:cubicBezTo>
                    <a:pt x="2418" y="2645"/>
                    <a:pt x="2417" y="2645"/>
                    <a:pt x="2415" y="2644"/>
                  </a:cubicBezTo>
                  <a:cubicBezTo>
                    <a:pt x="2413" y="2643"/>
                    <a:pt x="2411" y="2642"/>
                    <a:pt x="2409" y="2640"/>
                  </a:cubicBezTo>
                  <a:cubicBezTo>
                    <a:pt x="2407" y="2638"/>
                    <a:pt x="2404" y="2636"/>
                    <a:pt x="2401" y="2633"/>
                  </a:cubicBezTo>
                  <a:cubicBezTo>
                    <a:pt x="2398" y="2630"/>
                    <a:pt x="2396" y="2627"/>
                    <a:pt x="2394" y="2625"/>
                  </a:cubicBezTo>
                  <a:cubicBezTo>
                    <a:pt x="2392" y="2623"/>
                    <a:pt x="2390" y="2621"/>
                    <a:pt x="2389" y="2619"/>
                  </a:cubicBezTo>
                  <a:cubicBezTo>
                    <a:pt x="2388" y="2617"/>
                    <a:pt x="2388" y="2615"/>
                    <a:pt x="2388" y="2614"/>
                  </a:cubicBezTo>
                  <a:cubicBezTo>
                    <a:pt x="2388" y="2612"/>
                    <a:pt x="2388" y="2610"/>
                    <a:pt x="2388" y="2608"/>
                  </a:cubicBezTo>
                  <a:lnTo>
                    <a:pt x="2409" y="2453"/>
                  </a:lnTo>
                  <a:lnTo>
                    <a:pt x="2321" y="2541"/>
                  </a:lnTo>
                  <a:cubicBezTo>
                    <a:pt x="2320" y="2542"/>
                    <a:pt x="2319" y="2543"/>
                    <a:pt x="2318" y="2543"/>
                  </a:cubicBezTo>
                  <a:cubicBezTo>
                    <a:pt x="2316" y="2543"/>
                    <a:pt x="2315" y="2543"/>
                    <a:pt x="2314" y="2542"/>
                  </a:cubicBezTo>
                  <a:cubicBezTo>
                    <a:pt x="2312" y="2542"/>
                    <a:pt x="2310" y="2541"/>
                    <a:pt x="2308" y="2539"/>
                  </a:cubicBezTo>
                  <a:cubicBezTo>
                    <a:pt x="2306" y="2537"/>
                    <a:pt x="2303" y="2535"/>
                    <a:pt x="2301" y="2532"/>
                  </a:cubicBezTo>
                  <a:cubicBezTo>
                    <a:pt x="2298" y="2529"/>
                    <a:pt x="2295" y="2527"/>
                    <a:pt x="2294" y="2525"/>
                  </a:cubicBezTo>
                  <a:cubicBezTo>
                    <a:pt x="2292" y="2523"/>
                    <a:pt x="2291" y="2521"/>
                    <a:pt x="2290" y="2519"/>
                  </a:cubicBezTo>
                  <a:cubicBezTo>
                    <a:pt x="2290" y="2518"/>
                    <a:pt x="2289" y="2516"/>
                    <a:pt x="2290" y="2515"/>
                  </a:cubicBezTo>
                  <a:cubicBezTo>
                    <a:pt x="2290" y="2514"/>
                    <a:pt x="2291" y="2513"/>
                    <a:pt x="2292" y="2512"/>
                  </a:cubicBezTo>
                  <a:lnTo>
                    <a:pt x="2528" y="2276"/>
                  </a:lnTo>
                  <a:cubicBezTo>
                    <a:pt x="2529" y="2275"/>
                    <a:pt x="2530" y="2275"/>
                    <a:pt x="2531" y="2274"/>
                  </a:cubicBezTo>
                  <a:cubicBezTo>
                    <a:pt x="2532" y="2274"/>
                    <a:pt x="2533" y="2274"/>
                    <a:pt x="2535" y="2275"/>
                  </a:cubicBezTo>
                  <a:cubicBezTo>
                    <a:pt x="2536" y="2275"/>
                    <a:pt x="2538" y="2277"/>
                    <a:pt x="2540" y="2278"/>
                  </a:cubicBezTo>
                  <a:cubicBezTo>
                    <a:pt x="2543" y="2280"/>
                    <a:pt x="2545" y="2282"/>
                    <a:pt x="2548" y="2285"/>
                  </a:cubicBezTo>
                  <a:cubicBezTo>
                    <a:pt x="2551" y="2288"/>
                    <a:pt x="2553" y="2290"/>
                    <a:pt x="2555" y="2293"/>
                  </a:cubicBezTo>
                  <a:cubicBezTo>
                    <a:pt x="2556" y="2295"/>
                    <a:pt x="2557" y="2296"/>
                    <a:pt x="2558" y="2298"/>
                  </a:cubicBezTo>
                  <a:cubicBezTo>
                    <a:pt x="2559" y="2300"/>
                    <a:pt x="2559" y="2301"/>
                    <a:pt x="2559" y="2302"/>
                  </a:cubicBezTo>
                  <a:cubicBezTo>
                    <a:pt x="2558" y="2303"/>
                    <a:pt x="2558" y="2304"/>
                    <a:pt x="2557" y="2305"/>
                  </a:cubicBezTo>
                  <a:lnTo>
                    <a:pt x="2413" y="2449"/>
                  </a:lnTo>
                  <a:lnTo>
                    <a:pt x="2539" y="2443"/>
                  </a:lnTo>
                  <a:cubicBezTo>
                    <a:pt x="2541" y="2443"/>
                    <a:pt x="2543" y="2443"/>
                    <a:pt x="2545" y="2443"/>
                  </a:cubicBezTo>
                  <a:cubicBezTo>
                    <a:pt x="2547" y="2444"/>
                    <a:pt x="2549" y="2444"/>
                    <a:pt x="2551" y="2445"/>
                  </a:cubicBezTo>
                  <a:cubicBezTo>
                    <a:pt x="2553" y="2446"/>
                    <a:pt x="2555" y="2447"/>
                    <a:pt x="2557" y="2449"/>
                  </a:cubicBezTo>
                  <a:cubicBezTo>
                    <a:pt x="2559" y="2451"/>
                    <a:pt x="2562" y="2453"/>
                    <a:pt x="2565" y="2456"/>
                  </a:cubicBezTo>
                  <a:cubicBezTo>
                    <a:pt x="2568" y="2459"/>
                    <a:pt x="2570" y="2462"/>
                    <a:pt x="2572" y="2464"/>
                  </a:cubicBezTo>
                  <a:cubicBezTo>
                    <a:pt x="2574" y="2466"/>
                    <a:pt x="2575" y="2468"/>
                    <a:pt x="2576" y="2470"/>
                  </a:cubicBezTo>
                  <a:cubicBezTo>
                    <a:pt x="2577" y="2471"/>
                    <a:pt x="2577" y="2473"/>
                    <a:pt x="2577" y="2474"/>
                  </a:cubicBezTo>
                  <a:cubicBezTo>
                    <a:pt x="2577" y="2475"/>
                    <a:pt x="2576" y="2476"/>
                    <a:pt x="2575" y="2477"/>
                  </a:cubicBezTo>
                  <a:cubicBezTo>
                    <a:pt x="2574" y="2479"/>
                    <a:pt x="2572" y="2480"/>
                    <a:pt x="2570" y="2480"/>
                  </a:cubicBezTo>
                  <a:cubicBezTo>
                    <a:pt x="2567" y="2481"/>
                    <a:pt x="2565" y="2481"/>
                    <a:pt x="2561" y="2481"/>
                  </a:cubicBezTo>
                  <a:lnTo>
                    <a:pt x="2446" y="2481"/>
                  </a:lnTo>
                  <a:lnTo>
                    <a:pt x="2426" y="2630"/>
                  </a:lnTo>
                  <a:cubicBezTo>
                    <a:pt x="2426" y="2634"/>
                    <a:pt x="2425" y="2636"/>
                    <a:pt x="2425" y="2638"/>
                  </a:cubicBezTo>
                  <a:cubicBezTo>
                    <a:pt x="2424" y="2640"/>
                    <a:pt x="2423" y="2642"/>
                    <a:pt x="2422" y="2643"/>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410" name="Freeform 157"/>
            <p:cNvSpPr>
              <a:spLocks noEditPoints="1"/>
            </p:cNvSpPr>
            <p:nvPr/>
          </p:nvSpPr>
          <p:spPr bwMode="auto">
            <a:xfrm>
              <a:off x="292" y="2098"/>
              <a:ext cx="184" cy="195"/>
            </a:xfrm>
            <a:custGeom>
              <a:avLst/>
              <a:gdLst>
                <a:gd name="T0" fmla="*/ 232 w 1751"/>
                <a:gd name="T1" fmla="*/ 207 h 1841"/>
                <a:gd name="T2" fmla="*/ 207 w 1751"/>
                <a:gd name="T3" fmla="*/ 232 h 1841"/>
                <a:gd name="T4" fmla="*/ 1 w 1751"/>
                <a:gd name="T5" fmla="*/ 225 h 1841"/>
                <a:gd name="T6" fmla="*/ 341 w 1751"/>
                <a:gd name="T7" fmla="*/ 116 h 1841"/>
                <a:gd name="T8" fmla="*/ 261 w 1751"/>
                <a:gd name="T9" fmla="*/ 484 h 1841"/>
                <a:gd name="T10" fmla="*/ 198 w 1751"/>
                <a:gd name="T11" fmla="*/ 333 h 1841"/>
                <a:gd name="T12" fmla="*/ 384 w 1751"/>
                <a:gd name="T13" fmla="*/ 333 h 1841"/>
                <a:gd name="T14" fmla="*/ 296 w 1751"/>
                <a:gd name="T15" fmla="*/ 253 h 1841"/>
                <a:gd name="T16" fmla="*/ 392 w 1751"/>
                <a:gd name="T17" fmla="*/ 275 h 1841"/>
                <a:gd name="T18" fmla="*/ 283 w 1751"/>
                <a:gd name="T19" fmla="*/ 359 h 1841"/>
                <a:gd name="T20" fmla="*/ 331 w 1751"/>
                <a:gd name="T21" fmla="*/ 403 h 1841"/>
                <a:gd name="T22" fmla="*/ 336 w 1751"/>
                <a:gd name="T23" fmla="*/ 557 h 1841"/>
                <a:gd name="T24" fmla="*/ 604 w 1751"/>
                <a:gd name="T25" fmla="*/ 340 h 1841"/>
                <a:gd name="T26" fmla="*/ 527 w 1751"/>
                <a:gd name="T27" fmla="*/ 754 h 1841"/>
                <a:gd name="T28" fmla="*/ 439 w 1751"/>
                <a:gd name="T29" fmla="*/ 664 h 1841"/>
                <a:gd name="T30" fmla="*/ 656 w 1751"/>
                <a:gd name="T31" fmla="*/ 396 h 1841"/>
                <a:gd name="T32" fmla="*/ 538 w 1751"/>
                <a:gd name="T33" fmla="*/ 570 h 1841"/>
                <a:gd name="T34" fmla="*/ 702 w 1751"/>
                <a:gd name="T35" fmla="*/ 595 h 1841"/>
                <a:gd name="T36" fmla="*/ 809 w 1751"/>
                <a:gd name="T37" fmla="*/ 853 h 1841"/>
                <a:gd name="T38" fmla="*/ 696 w 1751"/>
                <a:gd name="T39" fmla="*/ 877 h 1841"/>
                <a:gd name="T40" fmla="*/ 728 w 1751"/>
                <a:gd name="T41" fmla="*/ 920 h 1841"/>
                <a:gd name="T42" fmla="*/ 619 w 1751"/>
                <a:gd name="T43" fmla="*/ 840 h 1841"/>
                <a:gd name="T44" fmla="*/ 845 w 1751"/>
                <a:gd name="T45" fmla="*/ 740 h 1841"/>
                <a:gd name="T46" fmla="*/ 772 w 1751"/>
                <a:gd name="T47" fmla="*/ 708 h 1841"/>
                <a:gd name="T48" fmla="*/ 892 w 1751"/>
                <a:gd name="T49" fmla="*/ 1119 h 1841"/>
                <a:gd name="T50" fmla="*/ 996 w 1751"/>
                <a:gd name="T51" fmla="*/ 954 h 1841"/>
                <a:gd name="T52" fmla="*/ 784 w 1751"/>
                <a:gd name="T53" fmla="*/ 1011 h 1841"/>
                <a:gd name="T54" fmla="*/ 933 w 1751"/>
                <a:gd name="T55" fmla="*/ 824 h 1841"/>
                <a:gd name="T56" fmla="*/ 981 w 1751"/>
                <a:gd name="T57" fmla="*/ 877 h 1841"/>
                <a:gd name="T58" fmla="*/ 1146 w 1751"/>
                <a:gd name="T59" fmla="*/ 1274 h 1841"/>
                <a:gd name="T60" fmla="*/ 986 w 1751"/>
                <a:gd name="T61" fmla="*/ 1202 h 1841"/>
                <a:gd name="T62" fmla="*/ 960 w 1751"/>
                <a:gd name="T63" fmla="*/ 1177 h 1841"/>
                <a:gd name="T64" fmla="*/ 1227 w 1751"/>
                <a:gd name="T65" fmla="*/ 966 h 1841"/>
                <a:gd name="T66" fmla="*/ 1233 w 1751"/>
                <a:gd name="T67" fmla="*/ 1167 h 1841"/>
                <a:gd name="T68" fmla="*/ 1165 w 1751"/>
                <a:gd name="T69" fmla="*/ 1102 h 1841"/>
                <a:gd name="T70" fmla="*/ 1103 w 1751"/>
                <a:gd name="T71" fmla="*/ 1247 h 1841"/>
                <a:gd name="T72" fmla="*/ 1204 w 1751"/>
                <a:gd name="T73" fmla="*/ 1357 h 1841"/>
                <a:gd name="T74" fmla="*/ 1294 w 1751"/>
                <a:gd name="T75" fmla="*/ 1460 h 1841"/>
                <a:gd name="T76" fmla="*/ 1246 w 1751"/>
                <a:gd name="T77" fmla="*/ 1468 h 1841"/>
                <a:gd name="T78" fmla="*/ 1294 w 1751"/>
                <a:gd name="T79" fmla="*/ 1224 h 1841"/>
                <a:gd name="T80" fmla="*/ 1342 w 1751"/>
                <a:gd name="T81" fmla="*/ 1369 h 1841"/>
                <a:gd name="T82" fmla="*/ 1564 w 1751"/>
                <a:gd name="T83" fmla="*/ 1483 h 1841"/>
                <a:gd name="T84" fmla="*/ 1529 w 1751"/>
                <a:gd name="T85" fmla="*/ 1467 h 1841"/>
                <a:gd name="T86" fmla="*/ 1339 w 1751"/>
                <a:gd name="T87" fmla="*/ 1566 h 1841"/>
                <a:gd name="T88" fmla="*/ 1488 w 1751"/>
                <a:gd name="T89" fmla="*/ 1378 h 1841"/>
                <a:gd name="T90" fmla="*/ 1512 w 1751"/>
                <a:gd name="T91" fmla="*/ 1426 h 1841"/>
                <a:gd name="T92" fmla="*/ 1575 w 1751"/>
                <a:gd name="T93" fmla="*/ 1470 h 1841"/>
                <a:gd name="T94" fmla="*/ 1697 w 1751"/>
                <a:gd name="T95" fmla="*/ 1661 h 1841"/>
                <a:gd name="T96" fmla="*/ 1528 w 1751"/>
                <a:gd name="T97" fmla="*/ 1636 h 1841"/>
                <a:gd name="T98" fmla="*/ 1574 w 1751"/>
                <a:gd name="T99" fmla="*/ 1820 h 1841"/>
                <a:gd name="T100" fmla="*/ 1414 w 1751"/>
                <a:gd name="T101" fmla="*/ 1683 h 1841"/>
                <a:gd name="T102" fmla="*/ 1535 w 1751"/>
                <a:gd name="T103" fmla="*/ 1604 h 1841"/>
                <a:gd name="T104" fmla="*/ 1700 w 1751"/>
                <a:gd name="T105" fmla="*/ 1590 h 1841"/>
                <a:gd name="T106" fmla="*/ 1619 w 1751"/>
                <a:gd name="T107" fmla="*/ 1568 h 1841"/>
                <a:gd name="T108" fmla="*/ 1655 w 1751"/>
                <a:gd name="T109" fmla="*/ 1652 h 1841"/>
                <a:gd name="T110" fmla="*/ 1445 w 1751"/>
                <a:gd name="T111" fmla="*/ 1709 h 1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51" h="1841">
                  <a:moveTo>
                    <a:pt x="333" y="127"/>
                  </a:moveTo>
                  <a:cubicBezTo>
                    <a:pt x="331" y="130"/>
                    <a:pt x="329" y="131"/>
                    <a:pt x="327" y="133"/>
                  </a:cubicBezTo>
                  <a:cubicBezTo>
                    <a:pt x="325" y="134"/>
                    <a:pt x="323" y="135"/>
                    <a:pt x="322" y="136"/>
                  </a:cubicBezTo>
                  <a:cubicBezTo>
                    <a:pt x="320" y="136"/>
                    <a:pt x="319" y="136"/>
                    <a:pt x="317" y="136"/>
                  </a:cubicBezTo>
                  <a:cubicBezTo>
                    <a:pt x="316" y="135"/>
                    <a:pt x="315" y="135"/>
                    <a:pt x="314" y="134"/>
                  </a:cubicBezTo>
                  <a:lnTo>
                    <a:pt x="230" y="50"/>
                  </a:lnTo>
                  <a:lnTo>
                    <a:pt x="153" y="128"/>
                  </a:lnTo>
                  <a:lnTo>
                    <a:pt x="232" y="207"/>
                  </a:lnTo>
                  <a:cubicBezTo>
                    <a:pt x="233" y="208"/>
                    <a:pt x="233" y="209"/>
                    <a:pt x="234" y="210"/>
                  </a:cubicBezTo>
                  <a:cubicBezTo>
                    <a:pt x="234" y="211"/>
                    <a:pt x="234" y="213"/>
                    <a:pt x="234" y="214"/>
                  </a:cubicBezTo>
                  <a:cubicBezTo>
                    <a:pt x="233" y="216"/>
                    <a:pt x="232" y="217"/>
                    <a:pt x="231" y="219"/>
                  </a:cubicBezTo>
                  <a:cubicBezTo>
                    <a:pt x="230" y="221"/>
                    <a:pt x="228" y="223"/>
                    <a:pt x="225" y="226"/>
                  </a:cubicBezTo>
                  <a:cubicBezTo>
                    <a:pt x="223" y="228"/>
                    <a:pt x="221" y="230"/>
                    <a:pt x="219" y="231"/>
                  </a:cubicBezTo>
                  <a:cubicBezTo>
                    <a:pt x="217" y="233"/>
                    <a:pt x="216" y="233"/>
                    <a:pt x="214" y="234"/>
                  </a:cubicBezTo>
                  <a:cubicBezTo>
                    <a:pt x="213" y="234"/>
                    <a:pt x="211" y="234"/>
                    <a:pt x="210" y="234"/>
                  </a:cubicBezTo>
                  <a:cubicBezTo>
                    <a:pt x="209" y="234"/>
                    <a:pt x="207" y="233"/>
                    <a:pt x="207" y="232"/>
                  </a:cubicBezTo>
                  <a:lnTo>
                    <a:pt x="127" y="153"/>
                  </a:lnTo>
                  <a:lnTo>
                    <a:pt x="32" y="249"/>
                  </a:lnTo>
                  <a:cubicBezTo>
                    <a:pt x="31" y="249"/>
                    <a:pt x="30" y="250"/>
                    <a:pt x="29" y="250"/>
                  </a:cubicBezTo>
                  <a:cubicBezTo>
                    <a:pt x="28" y="251"/>
                    <a:pt x="26" y="250"/>
                    <a:pt x="25" y="250"/>
                  </a:cubicBezTo>
                  <a:cubicBezTo>
                    <a:pt x="23" y="249"/>
                    <a:pt x="21" y="248"/>
                    <a:pt x="19" y="246"/>
                  </a:cubicBezTo>
                  <a:cubicBezTo>
                    <a:pt x="17" y="244"/>
                    <a:pt x="14" y="242"/>
                    <a:pt x="11" y="239"/>
                  </a:cubicBezTo>
                  <a:cubicBezTo>
                    <a:pt x="8" y="236"/>
                    <a:pt x="6" y="234"/>
                    <a:pt x="4" y="231"/>
                  </a:cubicBezTo>
                  <a:cubicBezTo>
                    <a:pt x="3" y="229"/>
                    <a:pt x="2" y="227"/>
                    <a:pt x="1" y="225"/>
                  </a:cubicBezTo>
                  <a:cubicBezTo>
                    <a:pt x="0" y="224"/>
                    <a:pt x="0" y="222"/>
                    <a:pt x="0" y="221"/>
                  </a:cubicBezTo>
                  <a:cubicBezTo>
                    <a:pt x="0" y="220"/>
                    <a:pt x="1" y="219"/>
                    <a:pt x="2" y="218"/>
                  </a:cubicBezTo>
                  <a:lnTo>
                    <a:pt x="214" y="6"/>
                  </a:lnTo>
                  <a:cubicBezTo>
                    <a:pt x="218" y="2"/>
                    <a:pt x="223" y="0"/>
                    <a:pt x="227" y="0"/>
                  </a:cubicBezTo>
                  <a:cubicBezTo>
                    <a:pt x="231" y="1"/>
                    <a:pt x="234" y="3"/>
                    <a:pt x="237" y="5"/>
                  </a:cubicBezTo>
                  <a:lnTo>
                    <a:pt x="340" y="108"/>
                  </a:lnTo>
                  <a:cubicBezTo>
                    <a:pt x="341" y="109"/>
                    <a:pt x="341" y="110"/>
                    <a:pt x="342" y="111"/>
                  </a:cubicBezTo>
                  <a:cubicBezTo>
                    <a:pt x="342" y="113"/>
                    <a:pt x="342" y="114"/>
                    <a:pt x="341" y="116"/>
                  </a:cubicBezTo>
                  <a:cubicBezTo>
                    <a:pt x="341" y="117"/>
                    <a:pt x="340" y="119"/>
                    <a:pt x="339" y="121"/>
                  </a:cubicBezTo>
                  <a:cubicBezTo>
                    <a:pt x="337" y="123"/>
                    <a:pt x="335" y="125"/>
                    <a:pt x="333" y="127"/>
                  </a:cubicBezTo>
                  <a:close/>
                  <a:moveTo>
                    <a:pt x="288" y="505"/>
                  </a:moveTo>
                  <a:cubicBezTo>
                    <a:pt x="286" y="506"/>
                    <a:pt x="285" y="507"/>
                    <a:pt x="283" y="506"/>
                  </a:cubicBezTo>
                  <a:cubicBezTo>
                    <a:pt x="281" y="506"/>
                    <a:pt x="280" y="505"/>
                    <a:pt x="278" y="504"/>
                  </a:cubicBezTo>
                  <a:cubicBezTo>
                    <a:pt x="276" y="503"/>
                    <a:pt x="273" y="501"/>
                    <a:pt x="270" y="497"/>
                  </a:cubicBezTo>
                  <a:cubicBezTo>
                    <a:pt x="267" y="494"/>
                    <a:pt x="264" y="492"/>
                    <a:pt x="263" y="490"/>
                  </a:cubicBezTo>
                  <a:cubicBezTo>
                    <a:pt x="261" y="487"/>
                    <a:pt x="261" y="486"/>
                    <a:pt x="261" y="484"/>
                  </a:cubicBezTo>
                  <a:cubicBezTo>
                    <a:pt x="260" y="483"/>
                    <a:pt x="261" y="481"/>
                    <a:pt x="262" y="480"/>
                  </a:cubicBezTo>
                  <a:lnTo>
                    <a:pt x="278" y="464"/>
                  </a:lnTo>
                  <a:cubicBezTo>
                    <a:pt x="264" y="464"/>
                    <a:pt x="250" y="462"/>
                    <a:pt x="238" y="458"/>
                  </a:cubicBezTo>
                  <a:cubicBezTo>
                    <a:pt x="225" y="453"/>
                    <a:pt x="214" y="446"/>
                    <a:pt x="204" y="437"/>
                  </a:cubicBezTo>
                  <a:cubicBezTo>
                    <a:pt x="196" y="428"/>
                    <a:pt x="190" y="420"/>
                    <a:pt x="185" y="411"/>
                  </a:cubicBezTo>
                  <a:cubicBezTo>
                    <a:pt x="180" y="402"/>
                    <a:pt x="178" y="393"/>
                    <a:pt x="177" y="384"/>
                  </a:cubicBezTo>
                  <a:cubicBezTo>
                    <a:pt x="177" y="375"/>
                    <a:pt x="178" y="366"/>
                    <a:pt x="181" y="358"/>
                  </a:cubicBezTo>
                  <a:cubicBezTo>
                    <a:pt x="185" y="349"/>
                    <a:pt x="190" y="341"/>
                    <a:pt x="198" y="333"/>
                  </a:cubicBezTo>
                  <a:cubicBezTo>
                    <a:pt x="207" y="324"/>
                    <a:pt x="216" y="318"/>
                    <a:pt x="227" y="315"/>
                  </a:cubicBezTo>
                  <a:cubicBezTo>
                    <a:pt x="237" y="312"/>
                    <a:pt x="248" y="312"/>
                    <a:pt x="259" y="315"/>
                  </a:cubicBezTo>
                  <a:cubicBezTo>
                    <a:pt x="270" y="317"/>
                    <a:pt x="282" y="322"/>
                    <a:pt x="294" y="330"/>
                  </a:cubicBezTo>
                  <a:cubicBezTo>
                    <a:pt x="306" y="338"/>
                    <a:pt x="318" y="348"/>
                    <a:pt x="330" y="360"/>
                  </a:cubicBezTo>
                  <a:lnTo>
                    <a:pt x="352" y="382"/>
                  </a:lnTo>
                  <a:lnTo>
                    <a:pt x="365" y="370"/>
                  </a:lnTo>
                  <a:cubicBezTo>
                    <a:pt x="371" y="364"/>
                    <a:pt x="376" y="357"/>
                    <a:pt x="379" y="351"/>
                  </a:cubicBezTo>
                  <a:cubicBezTo>
                    <a:pt x="382" y="345"/>
                    <a:pt x="384" y="339"/>
                    <a:pt x="384" y="333"/>
                  </a:cubicBezTo>
                  <a:cubicBezTo>
                    <a:pt x="385" y="327"/>
                    <a:pt x="383" y="321"/>
                    <a:pt x="380" y="315"/>
                  </a:cubicBezTo>
                  <a:cubicBezTo>
                    <a:pt x="377" y="309"/>
                    <a:pt x="372" y="302"/>
                    <a:pt x="366" y="296"/>
                  </a:cubicBezTo>
                  <a:cubicBezTo>
                    <a:pt x="359" y="289"/>
                    <a:pt x="351" y="283"/>
                    <a:pt x="344" y="279"/>
                  </a:cubicBezTo>
                  <a:cubicBezTo>
                    <a:pt x="336" y="275"/>
                    <a:pt x="329" y="272"/>
                    <a:pt x="323" y="270"/>
                  </a:cubicBezTo>
                  <a:cubicBezTo>
                    <a:pt x="317" y="267"/>
                    <a:pt x="311" y="266"/>
                    <a:pt x="307" y="264"/>
                  </a:cubicBezTo>
                  <a:cubicBezTo>
                    <a:pt x="302" y="263"/>
                    <a:pt x="299" y="262"/>
                    <a:pt x="298" y="261"/>
                  </a:cubicBezTo>
                  <a:cubicBezTo>
                    <a:pt x="297" y="260"/>
                    <a:pt x="296" y="259"/>
                    <a:pt x="296" y="257"/>
                  </a:cubicBezTo>
                  <a:cubicBezTo>
                    <a:pt x="296" y="256"/>
                    <a:pt x="296" y="255"/>
                    <a:pt x="296" y="253"/>
                  </a:cubicBezTo>
                  <a:cubicBezTo>
                    <a:pt x="297" y="252"/>
                    <a:pt x="297" y="250"/>
                    <a:pt x="299" y="249"/>
                  </a:cubicBezTo>
                  <a:cubicBezTo>
                    <a:pt x="300" y="247"/>
                    <a:pt x="301" y="245"/>
                    <a:pt x="303" y="243"/>
                  </a:cubicBezTo>
                  <a:cubicBezTo>
                    <a:pt x="306" y="240"/>
                    <a:pt x="309" y="238"/>
                    <a:pt x="311" y="237"/>
                  </a:cubicBezTo>
                  <a:cubicBezTo>
                    <a:pt x="313" y="236"/>
                    <a:pt x="315" y="235"/>
                    <a:pt x="319" y="235"/>
                  </a:cubicBezTo>
                  <a:cubicBezTo>
                    <a:pt x="322" y="235"/>
                    <a:pt x="326" y="236"/>
                    <a:pt x="332" y="238"/>
                  </a:cubicBezTo>
                  <a:cubicBezTo>
                    <a:pt x="338" y="240"/>
                    <a:pt x="345" y="242"/>
                    <a:pt x="351" y="246"/>
                  </a:cubicBezTo>
                  <a:cubicBezTo>
                    <a:pt x="358" y="249"/>
                    <a:pt x="365" y="253"/>
                    <a:pt x="372" y="258"/>
                  </a:cubicBezTo>
                  <a:cubicBezTo>
                    <a:pt x="379" y="263"/>
                    <a:pt x="386" y="269"/>
                    <a:pt x="392" y="275"/>
                  </a:cubicBezTo>
                  <a:cubicBezTo>
                    <a:pt x="403" y="286"/>
                    <a:pt x="412" y="297"/>
                    <a:pt x="417" y="308"/>
                  </a:cubicBezTo>
                  <a:cubicBezTo>
                    <a:pt x="423" y="318"/>
                    <a:pt x="425" y="329"/>
                    <a:pt x="425" y="339"/>
                  </a:cubicBezTo>
                  <a:cubicBezTo>
                    <a:pt x="425" y="349"/>
                    <a:pt x="423" y="358"/>
                    <a:pt x="418" y="368"/>
                  </a:cubicBezTo>
                  <a:cubicBezTo>
                    <a:pt x="412" y="378"/>
                    <a:pt x="405" y="388"/>
                    <a:pt x="395" y="397"/>
                  </a:cubicBezTo>
                  <a:lnTo>
                    <a:pt x="288" y="505"/>
                  </a:lnTo>
                  <a:close/>
                  <a:moveTo>
                    <a:pt x="331" y="403"/>
                  </a:moveTo>
                  <a:lnTo>
                    <a:pt x="306" y="378"/>
                  </a:lnTo>
                  <a:cubicBezTo>
                    <a:pt x="298" y="370"/>
                    <a:pt x="291" y="364"/>
                    <a:pt x="283" y="359"/>
                  </a:cubicBezTo>
                  <a:cubicBezTo>
                    <a:pt x="276" y="355"/>
                    <a:pt x="269" y="352"/>
                    <a:pt x="263" y="351"/>
                  </a:cubicBezTo>
                  <a:cubicBezTo>
                    <a:pt x="256" y="349"/>
                    <a:pt x="250" y="350"/>
                    <a:pt x="245" y="352"/>
                  </a:cubicBezTo>
                  <a:cubicBezTo>
                    <a:pt x="239" y="354"/>
                    <a:pt x="234" y="357"/>
                    <a:pt x="229" y="362"/>
                  </a:cubicBezTo>
                  <a:cubicBezTo>
                    <a:pt x="221" y="370"/>
                    <a:pt x="217" y="379"/>
                    <a:pt x="217" y="389"/>
                  </a:cubicBezTo>
                  <a:cubicBezTo>
                    <a:pt x="218" y="399"/>
                    <a:pt x="222" y="409"/>
                    <a:pt x="232" y="419"/>
                  </a:cubicBezTo>
                  <a:cubicBezTo>
                    <a:pt x="240" y="426"/>
                    <a:pt x="249" y="431"/>
                    <a:pt x="259" y="434"/>
                  </a:cubicBezTo>
                  <a:cubicBezTo>
                    <a:pt x="269" y="437"/>
                    <a:pt x="282" y="438"/>
                    <a:pt x="297" y="437"/>
                  </a:cubicBezTo>
                  <a:lnTo>
                    <a:pt x="331" y="403"/>
                  </a:lnTo>
                  <a:close/>
                  <a:moveTo>
                    <a:pt x="367" y="584"/>
                  </a:moveTo>
                  <a:cubicBezTo>
                    <a:pt x="366" y="585"/>
                    <a:pt x="365" y="585"/>
                    <a:pt x="364" y="585"/>
                  </a:cubicBezTo>
                  <a:cubicBezTo>
                    <a:pt x="363" y="585"/>
                    <a:pt x="361" y="585"/>
                    <a:pt x="360" y="585"/>
                  </a:cubicBezTo>
                  <a:cubicBezTo>
                    <a:pt x="358" y="584"/>
                    <a:pt x="356" y="583"/>
                    <a:pt x="354" y="581"/>
                  </a:cubicBezTo>
                  <a:cubicBezTo>
                    <a:pt x="352" y="580"/>
                    <a:pt x="350" y="577"/>
                    <a:pt x="347" y="574"/>
                  </a:cubicBezTo>
                  <a:cubicBezTo>
                    <a:pt x="344" y="572"/>
                    <a:pt x="342" y="569"/>
                    <a:pt x="340" y="567"/>
                  </a:cubicBezTo>
                  <a:cubicBezTo>
                    <a:pt x="338" y="565"/>
                    <a:pt x="337" y="563"/>
                    <a:pt x="336" y="561"/>
                  </a:cubicBezTo>
                  <a:cubicBezTo>
                    <a:pt x="336" y="560"/>
                    <a:pt x="336" y="558"/>
                    <a:pt x="336" y="557"/>
                  </a:cubicBezTo>
                  <a:cubicBezTo>
                    <a:pt x="336" y="556"/>
                    <a:pt x="337" y="555"/>
                    <a:pt x="338" y="554"/>
                  </a:cubicBezTo>
                  <a:lnTo>
                    <a:pt x="574" y="318"/>
                  </a:lnTo>
                  <a:cubicBezTo>
                    <a:pt x="575" y="317"/>
                    <a:pt x="576" y="317"/>
                    <a:pt x="577" y="316"/>
                  </a:cubicBezTo>
                  <a:cubicBezTo>
                    <a:pt x="578" y="316"/>
                    <a:pt x="579" y="316"/>
                    <a:pt x="581" y="317"/>
                  </a:cubicBezTo>
                  <a:cubicBezTo>
                    <a:pt x="583" y="318"/>
                    <a:pt x="584" y="319"/>
                    <a:pt x="587" y="320"/>
                  </a:cubicBezTo>
                  <a:cubicBezTo>
                    <a:pt x="589" y="322"/>
                    <a:pt x="591" y="324"/>
                    <a:pt x="594" y="327"/>
                  </a:cubicBezTo>
                  <a:cubicBezTo>
                    <a:pt x="597" y="330"/>
                    <a:pt x="599" y="333"/>
                    <a:pt x="601" y="335"/>
                  </a:cubicBezTo>
                  <a:cubicBezTo>
                    <a:pt x="602" y="337"/>
                    <a:pt x="604" y="339"/>
                    <a:pt x="604" y="340"/>
                  </a:cubicBezTo>
                  <a:cubicBezTo>
                    <a:pt x="605" y="342"/>
                    <a:pt x="605" y="343"/>
                    <a:pt x="605" y="344"/>
                  </a:cubicBezTo>
                  <a:cubicBezTo>
                    <a:pt x="604" y="345"/>
                    <a:pt x="604" y="346"/>
                    <a:pt x="603" y="347"/>
                  </a:cubicBezTo>
                  <a:lnTo>
                    <a:pt x="367" y="584"/>
                  </a:lnTo>
                  <a:close/>
                  <a:moveTo>
                    <a:pt x="548" y="764"/>
                  </a:moveTo>
                  <a:cubicBezTo>
                    <a:pt x="547" y="765"/>
                    <a:pt x="546" y="766"/>
                    <a:pt x="544" y="766"/>
                  </a:cubicBezTo>
                  <a:cubicBezTo>
                    <a:pt x="543" y="766"/>
                    <a:pt x="542" y="766"/>
                    <a:pt x="540" y="765"/>
                  </a:cubicBezTo>
                  <a:cubicBezTo>
                    <a:pt x="539" y="765"/>
                    <a:pt x="537" y="763"/>
                    <a:pt x="535" y="762"/>
                  </a:cubicBezTo>
                  <a:cubicBezTo>
                    <a:pt x="532" y="760"/>
                    <a:pt x="530" y="757"/>
                    <a:pt x="527" y="754"/>
                  </a:cubicBezTo>
                  <a:cubicBezTo>
                    <a:pt x="523" y="751"/>
                    <a:pt x="521" y="748"/>
                    <a:pt x="519" y="746"/>
                  </a:cubicBezTo>
                  <a:cubicBezTo>
                    <a:pt x="517" y="744"/>
                    <a:pt x="516" y="742"/>
                    <a:pt x="515" y="740"/>
                  </a:cubicBezTo>
                  <a:cubicBezTo>
                    <a:pt x="514" y="738"/>
                    <a:pt x="513" y="737"/>
                    <a:pt x="513" y="735"/>
                  </a:cubicBezTo>
                  <a:cubicBezTo>
                    <a:pt x="513" y="733"/>
                    <a:pt x="513" y="732"/>
                    <a:pt x="513" y="730"/>
                  </a:cubicBezTo>
                  <a:lnTo>
                    <a:pt x="534" y="575"/>
                  </a:lnTo>
                  <a:lnTo>
                    <a:pt x="446" y="663"/>
                  </a:lnTo>
                  <a:cubicBezTo>
                    <a:pt x="445" y="664"/>
                    <a:pt x="444" y="664"/>
                    <a:pt x="443" y="664"/>
                  </a:cubicBezTo>
                  <a:cubicBezTo>
                    <a:pt x="442" y="665"/>
                    <a:pt x="440" y="664"/>
                    <a:pt x="439" y="664"/>
                  </a:cubicBezTo>
                  <a:cubicBezTo>
                    <a:pt x="437" y="663"/>
                    <a:pt x="436" y="662"/>
                    <a:pt x="433" y="660"/>
                  </a:cubicBezTo>
                  <a:cubicBezTo>
                    <a:pt x="431" y="659"/>
                    <a:pt x="429" y="657"/>
                    <a:pt x="426" y="654"/>
                  </a:cubicBezTo>
                  <a:cubicBezTo>
                    <a:pt x="423" y="651"/>
                    <a:pt x="421" y="648"/>
                    <a:pt x="419" y="646"/>
                  </a:cubicBezTo>
                  <a:cubicBezTo>
                    <a:pt x="417" y="644"/>
                    <a:pt x="416" y="642"/>
                    <a:pt x="416" y="641"/>
                  </a:cubicBezTo>
                  <a:cubicBezTo>
                    <a:pt x="415" y="639"/>
                    <a:pt x="415" y="638"/>
                    <a:pt x="415" y="637"/>
                  </a:cubicBezTo>
                  <a:cubicBezTo>
                    <a:pt x="415" y="636"/>
                    <a:pt x="416" y="635"/>
                    <a:pt x="417" y="634"/>
                  </a:cubicBezTo>
                  <a:lnTo>
                    <a:pt x="653" y="397"/>
                  </a:lnTo>
                  <a:cubicBezTo>
                    <a:pt x="654" y="396"/>
                    <a:pt x="655" y="396"/>
                    <a:pt x="656" y="396"/>
                  </a:cubicBezTo>
                  <a:cubicBezTo>
                    <a:pt x="657" y="395"/>
                    <a:pt x="659" y="395"/>
                    <a:pt x="660" y="396"/>
                  </a:cubicBezTo>
                  <a:cubicBezTo>
                    <a:pt x="662" y="397"/>
                    <a:pt x="664" y="398"/>
                    <a:pt x="666" y="400"/>
                  </a:cubicBezTo>
                  <a:cubicBezTo>
                    <a:pt x="668" y="401"/>
                    <a:pt x="670" y="403"/>
                    <a:pt x="673" y="406"/>
                  </a:cubicBezTo>
                  <a:cubicBezTo>
                    <a:pt x="676" y="409"/>
                    <a:pt x="678" y="412"/>
                    <a:pt x="680" y="414"/>
                  </a:cubicBezTo>
                  <a:cubicBezTo>
                    <a:pt x="682" y="416"/>
                    <a:pt x="683" y="418"/>
                    <a:pt x="683" y="419"/>
                  </a:cubicBezTo>
                  <a:cubicBezTo>
                    <a:pt x="684" y="421"/>
                    <a:pt x="684" y="422"/>
                    <a:pt x="684" y="423"/>
                  </a:cubicBezTo>
                  <a:cubicBezTo>
                    <a:pt x="684" y="425"/>
                    <a:pt x="683" y="426"/>
                    <a:pt x="682" y="427"/>
                  </a:cubicBezTo>
                  <a:lnTo>
                    <a:pt x="538" y="570"/>
                  </a:lnTo>
                  <a:lnTo>
                    <a:pt x="664" y="564"/>
                  </a:lnTo>
                  <a:cubicBezTo>
                    <a:pt x="667" y="564"/>
                    <a:pt x="669" y="564"/>
                    <a:pt x="670" y="565"/>
                  </a:cubicBezTo>
                  <a:cubicBezTo>
                    <a:pt x="672" y="565"/>
                    <a:pt x="674" y="565"/>
                    <a:pt x="676" y="566"/>
                  </a:cubicBezTo>
                  <a:cubicBezTo>
                    <a:pt x="678" y="567"/>
                    <a:pt x="680" y="569"/>
                    <a:pt x="682" y="571"/>
                  </a:cubicBezTo>
                  <a:cubicBezTo>
                    <a:pt x="685" y="572"/>
                    <a:pt x="687" y="575"/>
                    <a:pt x="690" y="578"/>
                  </a:cubicBezTo>
                  <a:cubicBezTo>
                    <a:pt x="693" y="580"/>
                    <a:pt x="695" y="583"/>
                    <a:pt x="697" y="585"/>
                  </a:cubicBezTo>
                  <a:cubicBezTo>
                    <a:pt x="699" y="587"/>
                    <a:pt x="700" y="589"/>
                    <a:pt x="701" y="591"/>
                  </a:cubicBezTo>
                  <a:cubicBezTo>
                    <a:pt x="702" y="593"/>
                    <a:pt x="702" y="594"/>
                    <a:pt x="702" y="595"/>
                  </a:cubicBezTo>
                  <a:cubicBezTo>
                    <a:pt x="702" y="596"/>
                    <a:pt x="701" y="598"/>
                    <a:pt x="700" y="599"/>
                  </a:cubicBezTo>
                  <a:cubicBezTo>
                    <a:pt x="699" y="600"/>
                    <a:pt x="697" y="601"/>
                    <a:pt x="695" y="602"/>
                  </a:cubicBezTo>
                  <a:cubicBezTo>
                    <a:pt x="693" y="602"/>
                    <a:pt x="690" y="603"/>
                    <a:pt x="686" y="603"/>
                  </a:cubicBezTo>
                  <a:lnTo>
                    <a:pt x="571" y="603"/>
                  </a:lnTo>
                  <a:lnTo>
                    <a:pt x="552" y="751"/>
                  </a:lnTo>
                  <a:cubicBezTo>
                    <a:pt x="551" y="755"/>
                    <a:pt x="551" y="758"/>
                    <a:pt x="550" y="760"/>
                  </a:cubicBezTo>
                  <a:cubicBezTo>
                    <a:pt x="550" y="762"/>
                    <a:pt x="549" y="763"/>
                    <a:pt x="548" y="764"/>
                  </a:cubicBezTo>
                  <a:close/>
                  <a:moveTo>
                    <a:pt x="809" y="853"/>
                  </a:moveTo>
                  <a:cubicBezTo>
                    <a:pt x="804" y="857"/>
                    <a:pt x="800" y="859"/>
                    <a:pt x="795" y="859"/>
                  </a:cubicBezTo>
                  <a:cubicBezTo>
                    <a:pt x="791" y="859"/>
                    <a:pt x="788" y="857"/>
                    <a:pt x="785" y="854"/>
                  </a:cubicBezTo>
                  <a:lnTo>
                    <a:pt x="680" y="749"/>
                  </a:lnTo>
                  <a:cubicBezTo>
                    <a:pt x="671" y="758"/>
                    <a:pt x="664" y="767"/>
                    <a:pt x="659" y="776"/>
                  </a:cubicBezTo>
                  <a:cubicBezTo>
                    <a:pt x="653" y="785"/>
                    <a:pt x="650" y="794"/>
                    <a:pt x="649" y="803"/>
                  </a:cubicBezTo>
                  <a:cubicBezTo>
                    <a:pt x="648" y="812"/>
                    <a:pt x="650" y="821"/>
                    <a:pt x="654" y="831"/>
                  </a:cubicBezTo>
                  <a:cubicBezTo>
                    <a:pt x="658" y="840"/>
                    <a:pt x="664" y="849"/>
                    <a:pt x="674" y="859"/>
                  </a:cubicBezTo>
                  <a:cubicBezTo>
                    <a:pt x="682" y="867"/>
                    <a:pt x="689" y="873"/>
                    <a:pt x="696" y="877"/>
                  </a:cubicBezTo>
                  <a:cubicBezTo>
                    <a:pt x="703" y="882"/>
                    <a:pt x="710" y="886"/>
                    <a:pt x="716" y="889"/>
                  </a:cubicBezTo>
                  <a:cubicBezTo>
                    <a:pt x="722" y="891"/>
                    <a:pt x="727" y="894"/>
                    <a:pt x="731" y="895"/>
                  </a:cubicBezTo>
                  <a:cubicBezTo>
                    <a:pt x="735" y="897"/>
                    <a:pt x="737" y="898"/>
                    <a:pt x="739" y="900"/>
                  </a:cubicBezTo>
                  <a:cubicBezTo>
                    <a:pt x="740" y="900"/>
                    <a:pt x="740" y="901"/>
                    <a:pt x="740" y="902"/>
                  </a:cubicBezTo>
                  <a:cubicBezTo>
                    <a:pt x="741" y="904"/>
                    <a:pt x="740" y="905"/>
                    <a:pt x="740" y="906"/>
                  </a:cubicBezTo>
                  <a:cubicBezTo>
                    <a:pt x="739" y="907"/>
                    <a:pt x="739" y="908"/>
                    <a:pt x="737" y="910"/>
                  </a:cubicBezTo>
                  <a:cubicBezTo>
                    <a:pt x="736" y="912"/>
                    <a:pt x="734" y="914"/>
                    <a:pt x="732" y="916"/>
                  </a:cubicBezTo>
                  <a:cubicBezTo>
                    <a:pt x="731" y="917"/>
                    <a:pt x="729" y="919"/>
                    <a:pt x="728" y="920"/>
                  </a:cubicBezTo>
                  <a:cubicBezTo>
                    <a:pt x="727" y="921"/>
                    <a:pt x="726" y="921"/>
                    <a:pt x="725" y="922"/>
                  </a:cubicBezTo>
                  <a:cubicBezTo>
                    <a:pt x="724" y="923"/>
                    <a:pt x="722" y="923"/>
                    <a:pt x="721" y="924"/>
                  </a:cubicBezTo>
                  <a:cubicBezTo>
                    <a:pt x="720" y="924"/>
                    <a:pt x="719" y="924"/>
                    <a:pt x="718" y="924"/>
                  </a:cubicBezTo>
                  <a:cubicBezTo>
                    <a:pt x="716" y="924"/>
                    <a:pt x="713" y="923"/>
                    <a:pt x="709" y="921"/>
                  </a:cubicBezTo>
                  <a:cubicBezTo>
                    <a:pt x="704" y="920"/>
                    <a:pt x="699" y="917"/>
                    <a:pt x="692" y="913"/>
                  </a:cubicBezTo>
                  <a:cubicBezTo>
                    <a:pt x="686" y="910"/>
                    <a:pt x="678" y="905"/>
                    <a:pt x="671" y="900"/>
                  </a:cubicBezTo>
                  <a:cubicBezTo>
                    <a:pt x="663" y="894"/>
                    <a:pt x="655" y="888"/>
                    <a:pt x="648" y="880"/>
                  </a:cubicBezTo>
                  <a:cubicBezTo>
                    <a:pt x="635" y="867"/>
                    <a:pt x="625" y="854"/>
                    <a:pt x="619" y="840"/>
                  </a:cubicBezTo>
                  <a:cubicBezTo>
                    <a:pt x="613" y="827"/>
                    <a:pt x="610" y="813"/>
                    <a:pt x="610" y="799"/>
                  </a:cubicBezTo>
                  <a:cubicBezTo>
                    <a:pt x="611" y="785"/>
                    <a:pt x="615" y="771"/>
                    <a:pt x="622" y="757"/>
                  </a:cubicBezTo>
                  <a:cubicBezTo>
                    <a:pt x="629" y="743"/>
                    <a:pt x="640" y="728"/>
                    <a:pt x="655" y="714"/>
                  </a:cubicBezTo>
                  <a:cubicBezTo>
                    <a:pt x="668" y="700"/>
                    <a:pt x="682" y="690"/>
                    <a:pt x="697" y="682"/>
                  </a:cubicBezTo>
                  <a:cubicBezTo>
                    <a:pt x="711" y="675"/>
                    <a:pt x="726" y="671"/>
                    <a:pt x="740" y="670"/>
                  </a:cubicBezTo>
                  <a:cubicBezTo>
                    <a:pt x="754" y="669"/>
                    <a:pt x="768" y="671"/>
                    <a:pt x="782" y="676"/>
                  </a:cubicBezTo>
                  <a:cubicBezTo>
                    <a:pt x="795" y="682"/>
                    <a:pt x="808" y="690"/>
                    <a:pt x="819" y="702"/>
                  </a:cubicBezTo>
                  <a:cubicBezTo>
                    <a:pt x="832" y="714"/>
                    <a:pt x="840" y="727"/>
                    <a:pt x="845" y="740"/>
                  </a:cubicBezTo>
                  <a:cubicBezTo>
                    <a:pt x="850" y="753"/>
                    <a:pt x="852" y="765"/>
                    <a:pt x="851" y="778"/>
                  </a:cubicBezTo>
                  <a:cubicBezTo>
                    <a:pt x="850" y="790"/>
                    <a:pt x="846" y="802"/>
                    <a:pt x="839" y="814"/>
                  </a:cubicBezTo>
                  <a:cubicBezTo>
                    <a:pt x="833" y="826"/>
                    <a:pt x="824" y="837"/>
                    <a:pt x="814" y="847"/>
                  </a:cubicBezTo>
                  <a:lnTo>
                    <a:pt x="809" y="853"/>
                  </a:lnTo>
                  <a:close/>
                  <a:moveTo>
                    <a:pt x="788" y="815"/>
                  </a:moveTo>
                  <a:cubicBezTo>
                    <a:pt x="804" y="800"/>
                    <a:pt x="812" y="784"/>
                    <a:pt x="814" y="768"/>
                  </a:cubicBezTo>
                  <a:cubicBezTo>
                    <a:pt x="815" y="752"/>
                    <a:pt x="809" y="737"/>
                    <a:pt x="795" y="723"/>
                  </a:cubicBezTo>
                  <a:cubicBezTo>
                    <a:pt x="788" y="716"/>
                    <a:pt x="780" y="711"/>
                    <a:pt x="772" y="708"/>
                  </a:cubicBezTo>
                  <a:cubicBezTo>
                    <a:pt x="764" y="706"/>
                    <a:pt x="756" y="705"/>
                    <a:pt x="747" y="705"/>
                  </a:cubicBezTo>
                  <a:cubicBezTo>
                    <a:pt x="739" y="706"/>
                    <a:pt x="731" y="709"/>
                    <a:pt x="723" y="713"/>
                  </a:cubicBezTo>
                  <a:cubicBezTo>
                    <a:pt x="715" y="716"/>
                    <a:pt x="708" y="722"/>
                    <a:pt x="701" y="728"/>
                  </a:cubicBezTo>
                  <a:lnTo>
                    <a:pt x="788" y="815"/>
                  </a:lnTo>
                  <a:close/>
                  <a:moveTo>
                    <a:pt x="905" y="1121"/>
                  </a:moveTo>
                  <a:cubicBezTo>
                    <a:pt x="904" y="1122"/>
                    <a:pt x="903" y="1123"/>
                    <a:pt x="901" y="1123"/>
                  </a:cubicBezTo>
                  <a:cubicBezTo>
                    <a:pt x="900" y="1123"/>
                    <a:pt x="899" y="1123"/>
                    <a:pt x="897" y="1122"/>
                  </a:cubicBezTo>
                  <a:cubicBezTo>
                    <a:pt x="896" y="1122"/>
                    <a:pt x="894" y="1121"/>
                    <a:pt x="892" y="1119"/>
                  </a:cubicBezTo>
                  <a:cubicBezTo>
                    <a:pt x="890" y="1117"/>
                    <a:pt x="887" y="1115"/>
                    <a:pt x="885" y="1112"/>
                  </a:cubicBezTo>
                  <a:cubicBezTo>
                    <a:pt x="882" y="1109"/>
                    <a:pt x="879" y="1107"/>
                    <a:pt x="878" y="1105"/>
                  </a:cubicBezTo>
                  <a:cubicBezTo>
                    <a:pt x="876" y="1103"/>
                    <a:pt x="875" y="1101"/>
                    <a:pt x="874" y="1099"/>
                  </a:cubicBezTo>
                  <a:cubicBezTo>
                    <a:pt x="874" y="1098"/>
                    <a:pt x="874" y="1096"/>
                    <a:pt x="874" y="1095"/>
                  </a:cubicBezTo>
                  <a:cubicBezTo>
                    <a:pt x="874" y="1094"/>
                    <a:pt x="874" y="1093"/>
                    <a:pt x="875" y="1092"/>
                  </a:cubicBezTo>
                  <a:lnTo>
                    <a:pt x="969" y="999"/>
                  </a:lnTo>
                  <a:cubicBezTo>
                    <a:pt x="978" y="990"/>
                    <a:pt x="984" y="982"/>
                    <a:pt x="988" y="975"/>
                  </a:cubicBezTo>
                  <a:cubicBezTo>
                    <a:pt x="992" y="968"/>
                    <a:pt x="995" y="961"/>
                    <a:pt x="996" y="954"/>
                  </a:cubicBezTo>
                  <a:cubicBezTo>
                    <a:pt x="998" y="948"/>
                    <a:pt x="997" y="941"/>
                    <a:pt x="995" y="935"/>
                  </a:cubicBezTo>
                  <a:cubicBezTo>
                    <a:pt x="993" y="928"/>
                    <a:pt x="989" y="922"/>
                    <a:pt x="983" y="917"/>
                  </a:cubicBezTo>
                  <a:cubicBezTo>
                    <a:pt x="976" y="909"/>
                    <a:pt x="966" y="905"/>
                    <a:pt x="954" y="902"/>
                  </a:cubicBezTo>
                  <a:cubicBezTo>
                    <a:pt x="941" y="900"/>
                    <a:pt x="926" y="900"/>
                    <a:pt x="908" y="902"/>
                  </a:cubicBezTo>
                  <a:lnTo>
                    <a:pt x="797" y="1013"/>
                  </a:lnTo>
                  <a:cubicBezTo>
                    <a:pt x="796" y="1014"/>
                    <a:pt x="795" y="1015"/>
                    <a:pt x="794" y="1015"/>
                  </a:cubicBezTo>
                  <a:cubicBezTo>
                    <a:pt x="792" y="1015"/>
                    <a:pt x="791" y="1015"/>
                    <a:pt x="790" y="1015"/>
                  </a:cubicBezTo>
                  <a:cubicBezTo>
                    <a:pt x="788" y="1014"/>
                    <a:pt x="786" y="1013"/>
                    <a:pt x="784" y="1011"/>
                  </a:cubicBezTo>
                  <a:cubicBezTo>
                    <a:pt x="782" y="1010"/>
                    <a:pt x="779" y="1007"/>
                    <a:pt x="777" y="1004"/>
                  </a:cubicBezTo>
                  <a:cubicBezTo>
                    <a:pt x="774" y="1001"/>
                    <a:pt x="771" y="999"/>
                    <a:pt x="770" y="997"/>
                  </a:cubicBezTo>
                  <a:cubicBezTo>
                    <a:pt x="768" y="995"/>
                    <a:pt x="767" y="993"/>
                    <a:pt x="766" y="991"/>
                  </a:cubicBezTo>
                  <a:cubicBezTo>
                    <a:pt x="766" y="990"/>
                    <a:pt x="766" y="988"/>
                    <a:pt x="766" y="987"/>
                  </a:cubicBezTo>
                  <a:cubicBezTo>
                    <a:pt x="766" y="986"/>
                    <a:pt x="767" y="985"/>
                    <a:pt x="768" y="984"/>
                  </a:cubicBezTo>
                  <a:lnTo>
                    <a:pt x="927" y="825"/>
                  </a:lnTo>
                  <a:cubicBezTo>
                    <a:pt x="928" y="824"/>
                    <a:pt x="929" y="824"/>
                    <a:pt x="930" y="823"/>
                  </a:cubicBezTo>
                  <a:cubicBezTo>
                    <a:pt x="931" y="823"/>
                    <a:pt x="932" y="823"/>
                    <a:pt x="933" y="824"/>
                  </a:cubicBezTo>
                  <a:cubicBezTo>
                    <a:pt x="935" y="824"/>
                    <a:pt x="937" y="825"/>
                    <a:pt x="939" y="827"/>
                  </a:cubicBezTo>
                  <a:cubicBezTo>
                    <a:pt x="940" y="828"/>
                    <a:pt x="943" y="830"/>
                    <a:pt x="945" y="833"/>
                  </a:cubicBezTo>
                  <a:cubicBezTo>
                    <a:pt x="948" y="836"/>
                    <a:pt x="950" y="838"/>
                    <a:pt x="952" y="840"/>
                  </a:cubicBezTo>
                  <a:cubicBezTo>
                    <a:pt x="953" y="842"/>
                    <a:pt x="954" y="843"/>
                    <a:pt x="954" y="845"/>
                  </a:cubicBezTo>
                  <a:cubicBezTo>
                    <a:pt x="955" y="846"/>
                    <a:pt x="955" y="847"/>
                    <a:pt x="955" y="849"/>
                  </a:cubicBezTo>
                  <a:cubicBezTo>
                    <a:pt x="955" y="850"/>
                    <a:pt x="954" y="851"/>
                    <a:pt x="953" y="852"/>
                  </a:cubicBezTo>
                  <a:lnTo>
                    <a:pt x="932" y="873"/>
                  </a:lnTo>
                  <a:cubicBezTo>
                    <a:pt x="951" y="872"/>
                    <a:pt x="967" y="873"/>
                    <a:pt x="981" y="877"/>
                  </a:cubicBezTo>
                  <a:cubicBezTo>
                    <a:pt x="994" y="882"/>
                    <a:pt x="1006" y="888"/>
                    <a:pt x="1015" y="897"/>
                  </a:cubicBezTo>
                  <a:cubicBezTo>
                    <a:pt x="1025" y="908"/>
                    <a:pt x="1032" y="919"/>
                    <a:pt x="1036" y="930"/>
                  </a:cubicBezTo>
                  <a:cubicBezTo>
                    <a:pt x="1040" y="940"/>
                    <a:pt x="1041" y="951"/>
                    <a:pt x="1039" y="962"/>
                  </a:cubicBezTo>
                  <a:cubicBezTo>
                    <a:pt x="1038" y="972"/>
                    <a:pt x="1034" y="982"/>
                    <a:pt x="1028" y="992"/>
                  </a:cubicBezTo>
                  <a:cubicBezTo>
                    <a:pt x="1022" y="1002"/>
                    <a:pt x="1013" y="1013"/>
                    <a:pt x="1002" y="1024"/>
                  </a:cubicBezTo>
                  <a:lnTo>
                    <a:pt x="905" y="1121"/>
                  </a:lnTo>
                  <a:close/>
                  <a:moveTo>
                    <a:pt x="1188" y="1241"/>
                  </a:moveTo>
                  <a:cubicBezTo>
                    <a:pt x="1174" y="1255"/>
                    <a:pt x="1160" y="1266"/>
                    <a:pt x="1146" y="1274"/>
                  </a:cubicBezTo>
                  <a:cubicBezTo>
                    <a:pt x="1132" y="1282"/>
                    <a:pt x="1118" y="1287"/>
                    <a:pt x="1105" y="1289"/>
                  </a:cubicBezTo>
                  <a:cubicBezTo>
                    <a:pt x="1091" y="1291"/>
                    <a:pt x="1078" y="1290"/>
                    <a:pt x="1065" y="1285"/>
                  </a:cubicBezTo>
                  <a:cubicBezTo>
                    <a:pt x="1053" y="1281"/>
                    <a:pt x="1041" y="1273"/>
                    <a:pt x="1030" y="1262"/>
                  </a:cubicBezTo>
                  <a:cubicBezTo>
                    <a:pt x="1025" y="1257"/>
                    <a:pt x="1021" y="1252"/>
                    <a:pt x="1017" y="1247"/>
                  </a:cubicBezTo>
                  <a:cubicBezTo>
                    <a:pt x="1014" y="1242"/>
                    <a:pt x="1012" y="1236"/>
                    <a:pt x="1010" y="1229"/>
                  </a:cubicBezTo>
                  <a:cubicBezTo>
                    <a:pt x="1008" y="1223"/>
                    <a:pt x="1007" y="1216"/>
                    <a:pt x="1006" y="1208"/>
                  </a:cubicBezTo>
                  <a:cubicBezTo>
                    <a:pt x="1005" y="1201"/>
                    <a:pt x="1005" y="1192"/>
                    <a:pt x="1005" y="1183"/>
                  </a:cubicBezTo>
                  <a:lnTo>
                    <a:pt x="986" y="1202"/>
                  </a:lnTo>
                  <a:cubicBezTo>
                    <a:pt x="985" y="1203"/>
                    <a:pt x="984" y="1204"/>
                    <a:pt x="982" y="1204"/>
                  </a:cubicBezTo>
                  <a:cubicBezTo>
                    <a:pt x="981" y="1204"/>
                    <a:pt x="980" y="1204"/>
                    <a:pt x="979" y="1204"/>
                  </a:cubicBezTo>
                  <a:cubicBezTo>
                    <a:pt x="977" y="1203"/>
                    <a:pt x="975" y="1202"/>
                    <a:pt x="974" y="1201"/>
                  </a:cubicBezTo>
                  <a:cubicBezTo>
                    <a:pt x="972" y="1199"/>
                    <a:pt x="970" y="1197"/>
                    <a:pt x="967" y="1195"/>
                  </a:cubicBezTo>
                  <a:cubicBezTo>
                    <a:pt x="965" y="1192"/>
                    <a:pt x="963" y="1190"/>
                    <a:pt x="961" y="1188"/>
                  </a:cubicBezTo>
                  <a:cubicBezTo>
                    <a:pt x="960" y="1187"/>
                    <a:pt x="959" y="1185"/>
                    <a:pt x="958" y="1183"/>
                  </a:cubicBezTo>
                  <a:cubicBezTo>
                    <a:pt x="958" y="1182"/>
                    <a:pt x="958" y="1181"/>
                    <a:pt x="958" y="1180"/>
                  </a:cubicBezTo>
                  <a:cubicBezTo>
                    <a:pt x="958" y="1179"/>
                    <a:pt x="959" y="1178"/>
                    <a:pt x="960" y="1177"/>
                  </a:cubicBezTo>
                  <a:lnTo>
                    <a:pt x="1196" y="940"/>
                  </a:lnTo>
                  <a:cubicBezTo>
                    <a:pt x="1197" y="940"/>
                    <a:pt x="1198" y="939"/>
                    <a:pt x="1199" y="939"/>
                  </a:cubicBezTo>
                  <a:cubicBezTo>
                    <a:pt x="1200" y="938"/>
                    <a:pt x="1202" y="938"/>
                    <a:pt x="1203" y="939"/>
                  </a:cubicBezTo>
                  <a:cubicBezTo>
                    <a:pt x="1205" y="940"/>
                    <a:pt x="1207" y="941"/>
                    <a:pt x="1209" y="943"/>
                  </a:cubicBezTo>
                  <a:cubicBezTo>
                    <a:pt x="1211" y="944"/>
                    <a:pt x="1213" y="946"/>
                    <a:pt x="1216" y="949"/>
                  </a:cubicBezTo>
                  <a:cubicBezTo>
                    <a:pt x="1219" y="952"/>
                    <a:pt x="1221" y="955"/>
                    <a:pt x="1223" y="957"/>
                  </a:cubicBezTo>
                  <a:cubicBezTo>
                    <a:pt x="1225" y="959"/>
                    <a:pt x="1226" y="961"/>
                    <a:pt x="1226" y="962"/>
                  </a:cubicBezTo>
                  <a:cubicBezTo>
                    <a:pt x="1227" y="964"/>
                    <a:pt x="1227" y="965"/>
                    <a:pt x="1227" y="966"/>
                  </a:cubicBezTo>
                  <a:cubicBezTo>
                    <a:pt x="1227" y="968"/>
                    <a:pt x="1226" y="969"/>
                    <a:pt x="1225" y="970"/>
                  </a:cubicBezTo>
                  <a:lnTo>
                    <a:pt x="1130" y="1065"/>
                  </a:lnTo>
                  <a:cubicBezTo>
                    <a:pt x="1139" y="1065"/>
                    <a:pt x="1148" y="1065"/>
                    <a:pt x="1156" y="1066"/>
                  </a:cubicBezTo>
                  <a:cubicBezTo>
                    <a:pt x="1164" y="1068"/>
                    <a:pt x="1171" y="1069"/>
                    <a:pt x="1177" y="1071"/>
                  </a:cubicBezTo>
                  <a:cubicBezTo>
                    <a:pt x="1183" y="1074"/>
                    <a:pt x="1189" y="1076"/>
                    <a:pt x="1194" y="1080"/>
                  </a:cubicBezTo>
                  <a:cubicBezTo>
                    <a:pt x="1199" y="1083"/>
                    <a:pt x="1204" y="1087"/>
                    <a:pt x="1209" y="1092"/>
                  </a:cubicBezTo>
                  <a:cubicBezTo>
                    <a:pt x="1220" y="1103"/>
                    <a:pt x="1228" y="1115"/>
                    <a:pt x="1232" y="1128"/>
                  </a:cubicBezTo>
                  <a:cubicBezTo>
                    <a:pt x="1235" y="1141"/>
                    <a:pt x="1236" y="1154"/>
                    <a:pt x="1233" y="1167"/>
                  </a:cubicBezTo>
                  <a:cubicBezTo>
                    <a:pt x="1231" y="1179"/>
                    <a:pt x="1225" y="1192"/>
                    <a:pt x="1217" y="1205"/>
                  </a:cubicBezTo>
                  <a:cubicBezTo>
                    <a:pt x="1209" y="1218"/>
                    <a:pt x="1199" y="1230"/>
                    <a:pt x="1188" y="1241"/>
                  </a:cubicBezTo>
                  <a:close/>
                  <a:moveTo>
                    <a:pt x="1154" y="1214"/>
                  </a:moveTo>
                  <a:cubicBezTo>
                    <a:pt x="1162" y="1206"/>
                    <a:pt x="1170" y="1198"/>
                    <a:pt x="1176" y="1189"/>
                  </a:cubicBezTo>
                  <a:cubicBezTo>
                    <a:pt x="1183" y="1180"/>
                    <a:pt x="1187" y="1171"/>
                    <a:pt x="1190" y="1162"/>
                  </a:cubicBezTo>
                  <a:cubicBezTo>
                    <a:pt x="1193" y="1153"/>
                    <a:pt x="1193" y="1144"/>
                    <a:pt x="1192" y="1136"/>
                  </a:cubicBezTo>
                  <a:cubicBezTo>
                    <a:pt x="1190" y="1127"/>
                    <a:pt x="1186" y="1119"/>
                    <a:pt x="1178" y="1111"/>
                  </a:cubicBezTo>
                  <a:cubicBezTo>
                    <a:pt x="1174" y="1107"/>
                    <a:pt x="1170" y="1104"/>
                    <a:pt x="1165" y="1102"/>
                  </a:cubicBezTo>
                  <a:cubicBezTo>
                    <a:pt x="1161" y="1099"/>
                    <a:pt x="1155" y="1097"/>
                    <a:pt x="1149" y="1096"/>
                  </a:cubicBezTo>
                  <a:cubicBezTo>
                    <a:pt x="1143" y="1094"/>
                    <a:pt x="1136" y="1094"/>
                    <a:pt x="1128" y="1093"/>
                  </a:cubicBezTo>
                  <a:cubicBezTo>
                    <a:pt x="1120" y="1093"/>
                    <a:pt x="1110" y="1094"/>
                    <a:pt x="1100" y="1095"/>
                  </a:cubicBezTo>
                  <a:lnTo>
                    <a:pt x="1036" y="1158"/>
                  </a:lnTo>
                  <a:cubicBezTo>
                    <a:pt x="1035" y="1176"/>
                    <a:pt x="1035" y="1191"/>
                    <a:pt x="1037" y="1204"/>
                  </a:cubicBezTo>
                  <a:cubicBezTo>
                    <a:pt x="1039" y="1216"/>
                    <a:pt x="1044" y="1227"/>
                    <a:pt x="1052" y="1235"/>
                  </a:cubicBezTo>
                  <a:cubicBezTo>
                    <a:pt x="1060" y="1242"/>
                    <a:pt x="1068" y="1246"/>
                    <a:pt x="1077" y="1248"/>
                  </a:cubicBezTo>
                  <a:cubicBezTo>
                    <a:pt x="1085" y="1250"/>
                    <a:pt x="1094" y="1249"/>
                    <a:pt x="1103" y="1247"/>
                  </a:cubicBezTo>
                  <a:cubicBezTo>
                    <a:pt x="1112" y="1244"/>
                    <a:pt x="1121" y="1240"/>
                    <a:pt x="1130" y="1234"/>
                  </a:cubicBezTo>
                  <a:cubicBezTo>
                    <a:pt x="1139" y="1228"/>
                    <a:pt x="1147" y="1222"/>
                    <a:pt x="1154" y="1214"/>
                  </a:cubicBezTo>
                  <a:close/>
                  <a:moveTo>
                    <a:pt x="1363" y="1407"/>
                  </a:moveTo>
                  <a:cubicBezTo>
                    <a:pt x="1358" y="1412"/>
                    <a:pt x="1354" y="1414"/>
                    <a:pt x="1350" y="1413"/>
                  </a:cubicBezTo>
                  <a:cubicBezTo>
                    <a:pt x="1346" y="1413"/>
                    <a:pt x="1342" y="1411"/>
                    <a:pt x="1339" y="1408"/>
                  </a:cubicBezTo>
                  <a:lnTo>
                    <a:pt x="1234" y="1304"/>
                  </a:lnTo>
                  <a:cubicBezTo>
                    <a:pt x="1225" y="1312"/>
                    <a:pt x="1218" y="1321"/>
                    <a:pt x="1213" y="1330"/>
                  </a:cubicBezTo>
                  <a:cubicBezTo>
                    <a:pt x="1208" y="1339"/>
                    <a:pt x="1205" y="1348"/>
                    <a:pt x="1204" y="1357"/>
                  </a:cubicBezTo>
                  <a:cubicBezTo>
                    <a:pt x="1203" y="1366"/>
                    <a:pt x="1204" y="1376"/>
                    <a:pt x="1208" y="1385"/>
                  </a:cubicBezTo>
                  <a:cubicBezTo>
                    <a:pt x="1212" y="1394"/>
                    <a:pt x="1219" y="1404"/>
                    <a:pt x="1228" y="1413"/>
                  </a:cubicBezTo>
                  <a:cubicBezTo>
                    <a:pt x="1236" y="1421"/>
                    <a:pt x="1243" y="1427"/>
                    <a:pt x="1251" y="1432"/>
                  </a:cubicBezTo>
                  <a:cubicBezTo>
                    <a:pt x="1258" y="1437"/>
                    <a:pt x="1264" y="1440"/>
                    <a:pt x="1270" y="1443"/>
                  </a:cubicBezTo>
                  <a:cubicBezTo>
                    <a:pt x="1276" y="1446"/>
                    <a:pt x="1281" y="1448"/>
                    <a:pt x="1285" y="1450"/>
                  </a:cubicBezTo>
                  <a:cubicBezTo>
                    <a:pt x="1289" y="1451"/>
                    <a:pt x="1292" y="1453"/>
                    <a:pt x="1293" y="1454"/>
                  </a:cubicBezTo>
                  <a:cubicBezTo>
                    <a:pt x="1294" y="1455"/>
                    <a:pt x="1294" y="1456"/>
                    <a:pt x="1295" y="1457"/>
                  </a:cubicBezTo>
                  <a:cubicBezTo>
                    <a:pt x="1295" y="1458"/>
                    <a:pt x="1295" y="1459"/>
                    <a:pt x="1294" y="1460"/>
                  </a:cubicBezTo>
                  <a:cubicBezTo>
                    <a:pt x="1294" y="1461"/>
                    <a:pt x="1293" y="1463"/>
                    <a:pt x="1292" y="1464"/>
                  </a:cubicBezTo>
                  <a:cubicBezTo>
                    <a:pt x="1290" y="1466"/>
                    <a:pt x="1289" y="1468"/>
                    <a:pt x="1287" y="1470"/>
                  </a:cubicBezTo>
                  <a:cubicBezTo>
                    <a:pt x="1285" y="1472"/>
                    <a:pt x="1284" y="1473"/>
                    <a:pt x="1282" y="1474"/>
                  </a:cubicBezTo>
                  <a:cubicBezTo>
                    <a:pt x="1281" y="1475"/>
                    <a:pt x="1280" y="1476"/>
                    <a:pt x="1279" y="1476"/>
                  </a:cubicBezTo>
                  <a:cubicBezTo>
                    <a:pt x="1278" y="1477"/>
                    <a:pt x="1277" y="1478"/>
                    <a:pt x="1276" y="1478"/>
                  </a:cubicBezTo>
                  <a:cubicBezTo>
                    <a:pt x="1275" y="1478"/>
                    <a:pt x="1273" y="1478"/>
                    <a:pt x="1272" y="1478"/>
                  </a:cubicBezTo>
                  <a:cubicBezTo>
                    <a:pt x="1271" y="1478"/>
                    <a:pt x="1268" y="1478"/>
                    <a:pt x="1263" y="1476"/>
                  </a:cubicBezTo>
                  <a:cubicBezTo>
                    <a:pt x="1258" y="1474"/>
                    <a:pt x="1253" y="1471"/>
                    <a:pt x="1246" y="1468"/>
                  </a:cubicBezTo>
                  <a:cubicBezTo>
                    <a:pt x="1240" y="1464"/>
                    <a:pt x="1233" y="1460"/>
                    <a:pt x="1225" y="1454"/>
                  </a:cubicBezTo>
                  <a:cubicBezTo>
                    <a:pt x="1217" y="1448"/>
                    <a:pt x="1210" y="1442"/>
                    <a:pt x="1202" y="1434"/>
                  </a:cubicBezTo>
                  <a:cubicBezTo>
                    <a:pt x="1189" y="1421"/>
                    <a:pt x="1179" y="1408"/>
                    <a:pt x="1173" y="1395"/>
                  </a:cubicBezTo>
                  <a:cubicBezTo>
                    <a:pt x="1167" y="1381"/>
                    <a:pt x="1164" y="1367"/>
                    <a:pt x="1165" y="1353"/>
                  </a:cubicBezTo>
                  <a:cubicBezTo>
                    <a:pt x="1165" y="1340"/>
                    <a:pt x="1169" y="1325"/>
                    <a:pt x="1176" y="1311"/>
                  </a:cubicBezTo>
                  <a:cubicBezTo>
                    <a:pt x="1184" y="1297"/>
                    <a:pt x="1195" y="1283"/>
                    <a:pt x="1209" y="1268"/>
                  </a:cubicBezTo>
                  <a:cubicBezTo>
                    <a:pt x="1223" y="1255"/>
                    <a:pt x="1237" y="1244"/>
                    <a:pt x="1251" y="1237"/>
                  </a:cubicBezTo>
                  <a:cubicBezTo>
                    <a:pt x="1266" y="1229"/>
                    <a:pt x="1280" y="1225"/>
                    <a:pt x="1294" y="1224"/>
                  </a:cubicBezTo>
                  <a:cubicBezTo>
                    <a:pt x="1309" y="1223"/>
                    <a:pt x="1322" y="1225"/>
                    <a:pt x="1336" y="1231"/>
                  </a:cubicBezTo>
                  <a:cubicBezTo>
                    <a:pt x="1349" y="1236"/>
                    <a:pt x="1362" y="1245"/>
                    <a:pt x="1374" y="1256"/>
                  </a:cubicBezTo>
                  <a:cubicBezTo>
                    <a:pt x="1386" y="1269"/>
                    <a:pt x="1395" y="1282"/>
                    <a:pt x="1400" y="1294"/>
                  </a:cubicBezTo>
                  <a:cubicBezTo>
                    <a:pt x="1404" y="1307"/>
                    <a:pt x="1406" y="1320"/>
                    <a:pt x="1405" y="1332"/>
                  </a:cubicBezTo>
                  <a:cubicBezTo>
                    <a:pt x="1404" y="1345"/>
                    <a:pt x="1400" y="1357"/>
                    <a:pt x="1394" y="1368"/>
                  </a:cubicBezTo>
                  <a:cubicBezTo>
                    <a:pt x="1387" y="1380"/>
                    <a:pt x="1379" y="1391"/>
                    <a:pt x="1368" y="1402"/>
                  </a:cubicBezTo>
                  <a:lnTo>
                    <a:pt x="1363" y="1407"/>
                  </a:lnTo>
                  <a:close/>
                  <a:moveTo>
                    <a:pt x="1342" y="1369"/>
                  </a:moveTo>
                  <a:cubicBezTo>
                    <a:pt x="1358" y="1354"/>
                    <a:pt x="1367" y="1339"/>
                    <a:pt x="1368" y="1323"/>
                  </a:cubicBezTo>
                  <a:cubicBezTo>
                    <a:pt x="1370" y="1307"/>
                    <a:pt x="1364" y="1292"/>
                    <a:pt x="1349" y="1278"/>
                  </a:cubicBezTo>
                  <a:cubicBezTo>
                    <a:pt x="1342" y="1270"/>
                    <a:pt x="1334" y="1265"/>
                    <a:pt x="1326" y="1263"/>
                  </a:cubicBezTo>
                  <a:cubicBezTo>
                    <a:pt x="1318" y="1260"/>
                    <a:pt x="1310" y="1259"/>
                    <a:pt x="1302" y="1260"/>
                  </a:cubicBezTo>
                  <a:cubicBezTo>
                    <a:pt x="1294" y="1261"/>
                    <a:pt x="1286" y="1263"/>
                    <a:pt x="1278" y="1267"/>
                  </a:cubicBezTo>
                  <a:cubicBezTo>
                    <a:pt x="1270" y="1271"/>
                    <a:pt x="1262" y="1276"/>
                    <a:pt x="1256" y="1282"/>
                  </a:cubicBezTo>
                  <a:lnTo>
                    <a:pt x="1342" y="1369"/>
                  </a:lnTo>
                  <a:close/>
                  <a:moveTo>
                    <a:pt x="1564" y="1483"/>
                  </a:moveTo>
                  <a:cubicBezTo>
                    <a:pt x="1561" y="1486"/>
                    <a:pt x="1559" y="1488"/>
                    <a:pt x="1557" y="1489"/>
                  </a:cubicBezTo>
                  <a:cubicBezTo>
                    <a:pt x="1555" y="1491"/>
                    <a:pt x="1553" y="1492"/>
                    <a:pt x="1552" y="1493"/>
                  </a:cubicBezTo>
                  <a:cubicBezTo>
                    <a:pt x="1551" y="1493"/>
                    <a:pt x="1549" y="1494"/>
                    <a:pt x="1548" y="1494"/>
                  </a:cubicBezTo>
                  <a:cubicBezTo>
                    <a:pt x="1547" y="1494"/>
                    <a:pt x="1546" y="1493"/>
                    <a:pt x="1545" y="1492"/>
                  </a:cubicBezTo>
                  <a:cubicBezTo>
                    <a:pt x="1544" y="1491"/>
                    <a:pt x="1544" y="1490"/>
                    <a:pt x="1543" y="1488"/>
                  </a:cubicBezTo>
                  <a:cubicBezTo>
                    <a:pt x="1542" y="1486"/>
                    <a:pt x="1541" y="1484"/>
                    <a:pt x="1540" y="1482"/>
                  </a:cubicBezTo>
                  <a:cubicBezTo>
                    <a:pt x="1539" y="1480"/>
                    <a:pt x="1537" y="1477"/>
                    <a:pt x="1535" y="1475"/>
                  </a:cubicBezTo>
                  <a:cubicBezTo>
                    <a:pt x="1534" y="1472"/>
                    <a:pt x="1532" y="1470"/>
                    <a:pt x="1529" y="1467"/>
                  </a:cubicBezTo>
                  <a:cubicBezTo>
                    <a:pt x="1526" y="1464"/>
                    <a:pt x="1523" y="1462"/>
                    <a:pt x="1519" y="1460"/>
                  </a:cubicBezTo>
                  <a:cubicBezTo>
                    <a:pt x="1515" y="1459"/>
                    <a:pt x="1510" y="1458"/>
                    <a:pt x="1504" y="1457"/>
                  </a:cubicBezTo>
                  <a:cubicBezTo>
                    <a:pt x="1498" y="1457"/>
                    <a:pt x="1491" y="1457"/>
                    <a:pt x="1483" y="1458"/>
                  </a:cubicBezTo>
                  <a:cubicBezTo>
                    <a:pt x="1476" y="1459"/>
                    <a:pt x="1466" y="1461"/>
                    <a:pt x="1456" y="1463"/>
                  </a:cubicBezTo>
                  <a:lnTo>
                    <a:pt x="1351" y="1568"/>
                  </a:lnTo>
                  <a:cubicBezTo>
                    <a:pt x="1350" y="1569"/>
                    <a:pt x="1349" y="1569"/>
                    <a:pt x="1348" y="1570"/>
                  </a:cubicBezTo>
                  <a:cubicBezTo>
                    <a:pt x="1347" y="1570"/>
                    <a:pt x="1346" y="1570"/>
                    <a:pt x="1344" y="1569"/>
                  </a:cubicBezTo>
                  <a:cubicBezTo>
                    <a:pt x="1342" y="1568"/>
                    <a:pt x="1341" y="1567"/>
                    <a:pt x="1339" y="1566"/>
                  </a:cubicBezTo>
                  <a:cubicBezTo>
                    <a:pt x="1336" y="1564"/>
                    <a:pt x="1334" y="1562"/>
                    <a:pt x="1331" y="1559"/>
                  </a:cubicBezTo>
                  <a:cubicBezTo>
                    <a:pt x="1328" y="1556"/>
                    <a:pt x="1326" y="1553"/>
                    <a:pt x="1324" y="1551"/>
                  </a:cubicBezTo>
                  <a:cubicBezTo>
                    <a:pt x="1323" y="1549"/>
                    <a:pt x="1321" y="1547"/>
                    <a:pt x="1321" y="1546"/>
                  </a:cubicBezTo>
                  <a:cubicBezTo>
                    <a:pt x="1320" y="1544"/>
                    <a:pt x="1320" y="1543"/>
                    <a:pt x="1320" y="1542"/>
                  </a:cubicBezTo>
                  <a:cubicBezTo>
                    <a:pt x="1320" y="1541"/>
                    <a:pt x="1321" y="1540"/>
                    <a:pt x="1322" y="1539"/>
                  </a:cubicBezTo>
                  <a:lnTo>
                    <a:pt x="1481" y="1380"/>
                  </a:lnTo>
                  <a:cubicBezTo>
                    <a:pt x="1482" y="1379"/>
                    <a:pt x="1483" y="1378"/>
                    <a:pt x="1484" y="1378"/>
                  </a:cubicBezTo>
                  <a:cubicBezTo>
                    <a:pt x="1485" y="1377"/>
                    <a:pt x="1486" y="1378"/>
                    <a:pt x="1488" y="1378"/>
                  </a:cubicBezTo>
                  <a:cubicBezTo>
                    <a:pt x="1489" y="1379"/>
                    <a:pt x="1491" y="1380"/>
                    <a:pt x="1493" y="1381"/>
                  </a:cubicBezTo>
                  <a:cubicBezTo>
                    <a:pt x="1495" y="1383"/>
                    <a:pt x="1497" y="1385"/>
                    <a:pt x="1500" y="1387"/>
                  </a:cubicBezTo>
                  <a:cubicBezTo>
                    <a:pt x="1502" y="1390"/>
                    <a:pt x="1504" y="1392"/>
                    <a:pt x="1506" y="1394"/>
                  </a:cubicBezTo>
                  <a:cubicBezTo>
                    <a:pt x="1507" y="1396"/>
                    <a:pt x="1508" y="1398"/>
                    <a:pt x="1509" y="1399"/>
                  </a:cubicBezTo>
                  <a:cubicBezTo>
                    <a:pt x="1509" y="1401"/>
                    <a:pt x="1509" y="1402"/>
                    <a:pt x="1509" y="1403"/>
                  </a:cubicBezTo>
                  <a:cubicBezTo>
                    <a:pt x="1509" y="1404"/>
                    <a:pt x="1508" y="1405"/>
                    <a:pt x="1507" y="1406"/>
                  </a:cubicBezTo>
                  <a:lnTo>
                    <a:pt x="1484" y="1429"/>
                  </a:lnTo>
                  <a:cubicBezTo>
                    <a:pt x="1495" y="1427"/>
                    <a:pt x="1504" y="1426"/>
                    <a:pt x="1512" y="1426"/>
                  </a:cubicBezTo>
                  <a:cubicBezTo>
                    <a:pt x="1520" y="1426"/>
                    <a:pt x="1527" y="1426"/>
                    <a:pt x="1532" y="1427"/>
                  </a:cubicBezTo>
                  <a:cubicBezTo>
                    <a:pt x="1538" y="1428"/>
                    <a:pt x="1543" y="1430"/>
                    <a:pt x="1547" y="1433"/>
                  </a:cubicBezTo>
                  <a:cubicBezTo>
                    <a:pt x="1552" y="1435"/>
                    <a:pt x="1555" y="1438"/>
                    <a:pt x="1559" y="1441"/>
                  </a:cubicBezTo>
                  <a:cubicBezTo>
                    <a:pt x="1560" y="1443"/>
                    <a:pt x="1562" y="1445"/>
                    <a:pt x="1564" y="1447"/>
                  </a:cubicBezTo>
                  <a:cubicBezTo>
                    <a:pt x="1566" y="1449"/>
                    <a:pt x="1567" y="1451"/>
                    <a:pt x="1569" y="1454"/>
                  </a:cubicBezTo>
                  <a:cubicBezTo>
                    <a:pt x="1571" y="1457"/>
                    <a:pt x="1572" y="1459"/>
                    <a:pt x="1573" y="1461"/>
                  </a:cubicBezTo>
                  <a:cubicBezTo>
                    <a:pt x="1574" y="1464"/>
                    <a:pt x="1575" y="1465"/>
                    <a:pt x="1575" y="1467"/>
                  </a:cubicBezTo>
                  <a:cubicBezTo>
                    <a:pt x="1575" y="1468"/>
                    <a:pt x="1575" y="1469"/>
                    <a:pt x="1575" y="1470"/>
                  </a:cubicBezTo>
                  <a:cubicBezTo>
                    <a:pt x="1574" y="1471"/>
                    <a:pt x="1574" y="1471"/>
                    <a:pt x="1573" y="1472"/>
                  </a:cubicBezTo>
                  <a:cubicBezTo>
                    <a:pt x="1573" y="1473"/>
                    <a:pt x="1571" y="1475"/>
                    <a:pt x="1570" y="1476"/>
                  </a:cubicBezTo>
                  <a:cubicBezTo>
                    <a:pt x="1568" y="1478"/>
                    <a:pt x="1566" y="1480"/>
                    <a:pt x="1564" y="1483"/>
                  </a:cubicBezTo>
                  <a:close/>
                  <a:moveTo>
                    <a:pt x="1742" y="1656"/>
                  </a:moveTo>
                  <a:cubicBezTo>
                    <a:pt x="1738" y="1660"/>
                    <a:pt x="1735" y="1662"/>
                    <a:pt x="1732" y="1663"/>
                  </a:cubicBezTo>
                  <a:cubicBezTo>
                    <a:pt x="1729" y="1663"/>
                    <a:pt x="1727" y="1663"/>
                    <a:pt x="1725" y="1661"/>
                  </a:cubicBezTo>
                  <a:lnTo>
                    <a:pt x="1702" y="1638"/>
                  </a:lnTo>
                  <a:cubicBezTo>
                    <a:pt x="1702" y="1647"/>
                    <a:pt x="1700" y="1654"/>
                    <a:pt x="1697" y="1661"/>
                  </a:cubicBezTo>
                  <a:cubicBezTo>
                    <a:pt x="1693" y="1668"/>
                    <a:pt x="1689" y="1674"/>
                    <a:pt x="1683" y="1680"/>
                  </a:cubicBezTo>
                  <a:cubicBezTo>
                    <a:pt x="1674" y="1689"/>
                    <a:pt x="1664" y="1695"/>
                    <a:pt x="1654" y="1700"/>
                  </a:cubicBezTo>
                  <a:cubicBezTo>
                    <a:pt x="1644" y="1704"/>
                    <a:pt x="1634" y="1705"/>
                    <a:pt x="1624" y="1705"/>
                  </a:cubicBezTo>
                  <a:cubicBezTo>
                    <a:pt x="1613" y="1704"/>
                    <a:pt x="1603" y="1701"/>
                    <a:pt x="1593" y="1697"/>
                  </a:cubicBezTo>
                  <a:cubicBezTo>
                    <a:pt x="1583" y="1692"/>
                    <a:pt x="1573" y="1685"/>
                    <a:pt x="1564" y="1675"/>
                  </a:cubicBezTo>
                  <a:cubicBezTo>
                    <a:pt x="1557" y="1669"/>
                    <a:pt x="1552" y="1662"/>
                    <a:pt x="1548" y="1654"/>
                  </a:cubicBezTo>
                  <a:cubicBezTo>
                    <a:pt x="1544" y="1647"/>
                    <a:pt x="1542" y="1640"/>
                    <a:pt x="1541" y="1634"/>
                  </a:cubicBezTo>
                  <a:cubicBezTo>
                    <a:pt x="1537" y="1634"/>
                    <a:pt x="1533" y="1635"/>
                    <a:pt x="1528" y="1636"/>
                  </a:cubicBezTo>
                  <a:cubicBezTo>
                    <a:pt x="1524" y="1638"/>
                    <a:pt x="1521" y="1640"/>
                    <a:pt x="1517" y="1644"/>
                  </a:cubicBezTo>
                  <a:cubicBezTo>
                    <a:pt x="1513" y="1648"/>
                    <a:pt x="1511" y="1653"/>
                    <a:pt x="1513" y="1660"/>
                  </a:cubicBezTo>
                  <a:cubicBezTo>
                    <a:pt x="1514" y="1666"/>
                    <a:pt x="1517" y="1673"/>
                    <a:pt x="1523" y="1679"/>
                  </a:cubicBezTo>
                  <a:lnTo>
                    <a:pt x="1563" y="1723"/>
                  </a:lnTo>
                  <a:cubicBezTo>
                    <a:pt x="1571" y="1731"/>
                    <a:pt x="1577" y="1739"/>
                    <a:pt x="1582" y="1748"/>
                  </a:cubicBezTo>
                  <a:cubicBezTo>
                    <a:pt x="1586" y="1756"/>
                    <a:pt x="1589" y="1765"/>
                    <a:pt x="1591" y="1773"/>
                  </a:cubicBezTo>
                  <a:cubicBezTo>
                    <a:pt x="1592" y="1782"/>
                    <a:pt x="1591" y="1790"/>
                    <a:pt x="1589" y="1798"/>
                  </a:cubicBezTo>
                  <a:cubicBezTo>
                    <a:pt x="1586" y="1806"/>
                    <a:pt x="1581" y="1813"/>
                    <a:pt x="1574" y="1820"/>
                  </a:cubicBezTo>
                  <a:cubicBezTo>
                    <a:pt x="1567" y="1827"/>
                    <a:pt x="1559" y="1833"/>
                    <a:pt x="1549" y="1836"/>
                  </a:cubicBezTo>
                  <a:cubicBezTo>
                    <a:pt x="1539" y="1840"/>
                    <a:pt x="1529" y="1841"/>
                    <a:pt x="1517" y="1840"/>
                  </a:cubicBezTo>
                  <a:cubicBezTo>
                    <a:pt x="1506" y="1838"/>
                    <a:pt x="1494" y="1834"/>
                    <a:pt x="1481" y="1827"/>
                  </a:cubicBezTo>
                  <a:cubicBezTo>
                    <a:pt x="1469" y="1821"/>
                    <a:pt x="1456" y="1810"/>
                    <a:pt x="1442" y="1797"/>
                  </a:cubicBezTo>
                  <a:cubicBezTo>
                    <a:pt x="1430" y="1784"/>
                    <a:pt x="1420" y="1772"/>
                    <a:pt x="1413" y="1761"/>
                  </a:cubicBezTo>
                  <a:cubicBezTo>
                    <a:pt x="1406" y="1750"/>
                    <a:pt x="1402" y="1740"/>
                    <a:pt x="1400" y="1730"/>
                  </a:cubicBezTo>
                  <a:cubicBezTo>
                    <a:pt x="1398" y="1720"/>
                    <a:pt x="1398" y="1712"/>
                    <a:pt x="1401" y="1704"/>
                  </a:cubicBezTo>
                  <a:cubicBezTo>
                    <a:pt x="1403" y="1696"/>
                    <a:pt x="1408" y="1689"/>
                    <a:pt x="1414" y="1683"/>
                  </a:cubicBezTo>
                  <a:cubicBezTo>
                    <a:pt x="1418" y="1679"/>
                    <a:pt x="1422" y="1676"/>
                    <a:pt x="1427" y="1673"/>
                  </a:cubicBezTo>
                  <a:cubicBezTo>
                    <a:pt x="1431" y="1670"/>
                    <a:pt x="1436" y="1668"/>
                    <a:pt x="1441" y="1667"/>
                  </a:cubicBezTo>
                  <a:cubicBezTo>
                    <a:pt x="1447" y="1666"/>
                    <a:pt x="1452" y="1665"/>
                    <a:pt x="1458" y="1665"/>
                  </a:cubicBezTo>
                  <a:cubicBezTo>
                    <a:pt x="1464" y="1665"/>
                    <a:pt x="1470" y="1665"/>
                    <a:pt x="1477" y="1666"/>
                  </a:cubicBezTo>
                  <a:cubicBezTo>
                    <a:pt x="1474" y="1657"/>
                    <a:pt x="1474" y="1649"/>
                    <a:pt x="1475" y="1642"/>
                  </a:cubicBezTo>
                  <a:cubicBezTo>
                    <a:pt x="1477" y="1635"/>
                    <a:pt x="1480" y="1628"/>
                    <a:pt x="1486" y="1623"/>
                  </a:cubicBezTo>
                  <a:cubicBezTo>
                    <a:pt x="1493" y="1616"/>
                    <a:pt x="1501" y="1611"/>
                    <a:pt x="1509" y="1608"/>
                  </a:cubicBezTo>
                  <a:cubicBezTo>
                    <a:pt x="1518" y="1606"/>
                    <a:pt x="1527" y="1604"/>
                    <a:pt x="1535" y="1604"/>
                  </a:cubicBezTo>
                  <a:cubicBezTo>
                    <a:pt x="1536" y="1596"/>
                    <a:pt x="1538" y="1588"/>
                    <a:pt x="1542" y="1581"/>
                  </a:cubicBezTo>
                  <a:cubicBezTo>
                    <a:pt x="1545" y="1573"/>
                    <a:pt x="1550" y="1565"/>
                    <a:pt x="1558" y="1558"/>
                  </a:cubicBezTo>
                  <a:cubicBezTo>
                    <a:pt x="1567" y="1549"/>
                    <a:pt x="1577" y="1542"/>
                    <a:pt x="1587" y="1538"/>
                  </a:cubicBezTo>
                  <a:cubicBezTo>
                    <a:pt x="1597" y="1534"/>
                    <a:pt x="1608" y="1532"/>
                    <a:pt x="1618" y="1532"/>
                  </a:cubicBezTo>
                  <a:cubicBezTo>
                    <a:pt x="1629" y="1533"/>
                    <a:pt x="1639" y="1536"/>
                    <a:pt x="1649" y="1540"/>
                  </a:cubicBezTo>
                  <a:cubicBezTo>
                    <a:pt x="1659" y="1545"/>
                    <a:pt x="1669" y="1552"/>
                    <a:pt x="1678" y="1561"/>
                  </a:cubicBezTo>
                  <a:cubicBezTo>
                    <a:pt x="1683" y="1566"/>
                    <a:pt x="1687" y="1571"/>
                    <a:pt x="1691" y="1576"/>
                  </a:cubicBezTo>
                  <a:cubicBezTo>
                    <a:pt x="1694" y="1580"/>
                    <a:pt x="1697" y="1585"/>
                    <a:pt x="1700" y="1590"/>
                  </a:cubicBezTo>
                  <a:lnTo>
                    <a:pt x="1748" y="1638"/>
                  </a:lnTo>
                  <a:cubicBezTo>
                    <a:pt x="1750" y="1640"/>
                    <a:pt x="1751" y="1642"/>
                    <a:pt x="1750" y="1645"/>
                  </a:cubicBezTo>
                  <a:cubicBezTo>
                    <a:pt x="1749" y="1648"/>
                    <a:pt x="1746" y="1652"/>
                    <a:pt x="1742" y="1656"/>
                  </a:cubicBezTo>
                  <a:close/>
                  <a:moveTo>
                    <a:pt x="1655" y="1652"/>
                  </a:moveTo>
                  <a:cubicBezTo>
                    <a:pt x="1666" y="1641"/>
                    <a:pt x="1671" y="1630"/>
                    <a:pt x="1671" y="1618"/>
                  </a:cubicBezTo>
                  <a:cubicBezTo>
                    <a:pt x="1672" y="1606"/>
                    <a:pt x="1666" y="1594"/>
                    <a:pt x="1655" y="1583"/>
                  </a:cubicBezTo>
                  <a:cubicBezTo>
                    <a:pt x="1649" y="1577"/>
                    <a:pt x="1644" y="1573"/>
                    <a:pt x="1638" y="1571"/>
                  </a:cubicBezTo>
                  <a:cubicBezTo>
                    <a:pt x="1631" y="1569"/>
                    <a:pt x="1625" y="1568"/>
                    <a:pt x="1619" y="1568"/>
                  </a:cubicBezTo>
                  <a:cubicBezTo>
                    <a:pt x="1613" y="1569"/>
                    <a:pt x="1607" y="1571"/>
                    <a:pt x="1602" y="1574"/>
                  </a:cubicBezTo>
                  <a:cubicBezTo>
                    <a:pt x="1596" y="1577"/>
                    <a:pt x="1591" y="1580"/>
                    <a:pt x="1586" y="1585"/>
                  </a:cubicBezTo>
                  <a:cubicBezTo>
                    <a:pt x="1576" y="1596"/>
                    <a:pt x="1570" y="1607"/>
                    <a:pt x="1570" y="1619"/>
                  </a:cubicBezTo>
                  <a:cubicBezTo>
                    <a:pt x="1570" y="1631"/>
                    <a:pt x="1576" y="1642"/>
                    <a:pt x="1586" y="1653"/>
                  </a:cubicBezTo>
                  <a:cubicBezTo>
                    <a:pt x="1592" y="1659"/>
                    <a:pt x="1598" y="1663"/>
                    <a:pt x="1604" y="1665"/>
                  </a:cubicBezTo>
                  <a:cubicBezTo>
                    <a:pt x="1610" y="1668"/>
                    <a:pt x="1616" y="1669"/>
                    <a:pt x="1622" y="1668"/>
                  </a:cubicBezTo>
                  <a:cubicBezTo>
                    <a:pt x="1628" y="1668"/>
                    <a:pt x="1634" y="1666"/>
                    <a:pt x="1640" y="1663"/>
                  </a:cubicBezTo>
                  <a:cubicBezTo>
                    <a:pt x="1645" y="1660"/>
                    <a:pt x="1650" y="1656"/>
                    <a:pt x="1655" y="1652"/>
                  </a:cubicBezTo>
                  <a:close/>
                  <a:moveTo>
                    <a:pt x="1544" y="1793"/>
                  </a:moveTo>
                  <a:cubicBezTo>
                    <a:pt x="1550" y="1786"/>
                    <a:pt x="1553" y="1778"/>
                    <a:pt x="1551" y="1768"/>
                  </a:cubicBezTo>
                  <a:cubicBezTo>
                    <a:pt x="1549" y="1759"/>
                    <a:pt x="1544" y="1749"/>
                    <a:pt x="1534" y="1740"/>
                  </a:cubicBezTo>
                  <a:lnTo>
                    <a:pt x="1494" y="1697"/>
                  </a:lnTo>
                  <a:cubicBezTo>
                    <a:pt x="1488" y="1696"/>
                    <a:pt x="1482" y="1696"/>
                    <a:pt x="1477" y="1696"/>
                  </a:cubicBezTo>
                  <a:cubicBezTo>
                    <a:pt x="1472" y="1696"/>
                    <a:pt x="1467" y="1697"/>
                    <a:pt x="1463" y="1698"/>
                  </a:cubicBezTo>
                  <a:cubicBezTo>
                    <a:pt x="1460" y="1699"/>
                    <a:pt x="1456" y="1700"/>
                    <a:pt x="1453" y="1702"/>
                  </a:cubicBezTo>
                  <a:cubicBezTo>
                    <a:pt x="1450" y="1704"/>
                    <a:pt x="1448" y="1706"/>
                    <a:pt x="1445" y="1709"/>
                  </a:cubicBezTo>
                  <a:cubicBezTo>
                    <a:pt x="1438" y="1716"/>
                    <a:pt x="1436" y="1726"/>
                    <a:pt x="1440" y="1738"/>
                  </a:cubicBezTo>
                  <a:cubicBezTo>
                    <a:pt x="1443" y="1750"/>
                    <a:pt x="1452" y="1762"/>
                    <a:pt x="1466" y="1776"/>
                  </a:cubicBezTo>
                  <a:cubicBezTo>
                    <a:pt x="1475" y="1785"/>
                    <a:pt x="1483" y="1792"/>
                    <a:pt x="1491" y="1796"/>
                  </a:cubicBezTo>
                  <a:cubicBezTo>
                    <a:pt x="1499" y="1800"/>
                    <a:pt x="1506" y="1803"/>
                    <a:pt x="1512" y="1803"/>
                  </a:cubicBezTo>
                  <a:cubicBezTo>
                    <a:pt x="1519" y="1804"/>
                    <a:pt x="1524" y="1804"/>
                    <a:pt x="1530" y="1802"/>
                  </a:cubicBezTo>
                  <a:cubicBezTo>
                    <a:pt x="1535" y="1800"/>
                    <a:pt x="1540" y="1797"/>
                    <a:pt x="1544" y="1793"/>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411" name="Oval 158"/>
            <p:cNvSpPr>
              <a:spLocks noChangeArrowheads="1"/>
            </p:cNvSpPr>
            <p:nvPr/>
          </p:nvSpPr>
          <p:spPr bwMode="auto">
            <a:xfrm>
              <a:off x="446" y="2322"/>
              <a:ext cx="37" cy="37"/>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412" name="Oval 159"/>
            <p:cNvSpPr>
              <a:spLocks noChangeArrowheads="1"/>
            </p:cNvSpPr>
            <p:nvPr/>
          </p:nvSpPr>
          <p:spPr bwMode="auto">
            <a:xfrm>
              <a:off x="451" y="2327"/>
              <a:ext cx="27"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413" name="Oval 160"/>
            <p:cNvSpPr>
              <a:spLocks noChangeArrowheads="1"/>
            </p:cNvSpPr>
            <p:nvPr/>
          </p:nvSpPr>
          <p:spPr bwMode="auto">
            <a:xfrm>
              <a:off x="248" y="2134"/>
              <a:ext cx="38" cy="37"/>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414" name="Oval 161"/>
            <p:cNvSpPr>
              <a:spLocks noChangeArrowheads="1"/>
            </p:cNvSpPr>
            <p:nvPr/>
          </p:nvSpPr>
          <p:spPr bwMode="auto">
            <a:xfrm>
              <a:off x="254" y="2139"/>
              <a:ext cx="26" cy="2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415" name="Freeform 162"/>
            <p:cNvSpPr>
              <a:spLocks noEditPoints="1"/>
            </p:cNvSpPr>
            <p:nvPr/>
          </p:nvSpPr>
          <p:spPr bwMode="auto">
            <a:xfrm>
              <a:off x="339" y="1648"/>
              <a:ext cx="283" cy="276"/>
            </a:xfrm>
            <a:custGeom>
              <a:avLst/>
              <a:gdLst>
                <a:gd name="T0" fmla="*/ 234 w 2684"/>
                <a:gd name="T1" fmla="*/ 215 h 2619"/>
                <a:gd name="T2" fmla="*/ 25 w 2684"/>
                <a:gd name="T3" fmla="*/ 250 h 2619"/>
                <a:gd name="T4" fmla="*/ 340 w 2684"/>
                <a:gd name="T5" fmla="*/ 109 h 2619"/>
                <a:gd name="T6" fmla="*/ 389 w 2684"/>
                <a:gd name="T7" fmla="*/ 334 h 2619"/>
                <a:gd name="T8" fmla="*/ 190 w 2684"/>
                <a:gd name="T9" fmla="*/ 415 h 2619"/>
                <a:gd name="T10" fmla="*/ 339 w 2684"/>
                <a:gd name="T11" fmla="*/ 227 h 2619"/>
                <a:gd name="T12" fmla="*/ 405 w 2684"/>
                <a:gd name="T13" fmla="*/ 288 h 2619"/>
                <a:gd name="T14" fmla="*/ 408 w 2684"/>
                <a:gd name="T15" fmla="*/ 631 h 2619"/>
                <a:gd name="T16" fmla="*/ 302 w 2684"/>
                <a:gd name="T17" fmla="*/ 509 h 2619"/>
                <a:gd name="T18" fmla="*/ 509 w 2684"/>
                <a:gd name="T19" fmla="*/ 458 h 2619"/>
                <a:gd name="T20" fmla="*/ 428 w 2684"/>
                <a:gd name="T21" fmla="*/ 368 h 2619"/>
                <a:gd name="T22" fmla="*/ 520 w 2684"/>
                <a:gd name="T23" fmla="*/ 522 h 2619"/>
                <a:gd name="T24" fmla="*/ 384 w 2684"/>
                <a:gd name="T25" fmla="*/ 559 h 2619"/>
                <a:gd name="T26" fmla="*/ 568 w 2684"/>
                <a:gd name="T27" fmla="*/ 790 h 2619"/>
                <a:gd name="T28" fmla="*/ 488 w 2684"/>
                <a:gd name="T29" fmla="*/ 710 h 2619"/>
                <a:gd name="T30" fmla="*/ 628 w 2684"/>
                <a:gd name="T31" fmla="*/ 519 h 2619"/>
                <a:gd name="T32" fmla="*/ 731 w 2684"/>
                <a:gd name="T33" fmla="*/ 624 h 2619"/>
                <a:gd name="T34" fmla="*/ 757 w 2684"/>
                <a:gd name="T35" fmla="*/ 984 h 2619"/>
                <a:gd name="T36" fmla="*/ 657 w 2684"/>
                <a:gd name="T37" fmla="*/ 884 h 2619"/>
                <a:gd name="T38" fmla="*/ 921 w 2684"/>
                <a:gd name="T39" fmla="*/ 657 h 2619"/>
                <a:gd name="T40" fmla="*/ 939 w 2684"/>
                <a:gd name="T41" fmla="*/ 829 h 2619"/>
                <a:gd name="T42" fmla="*/ 1130 w 2684"/>
                <a:gd name="T43" fmla="*/ 909 h 2619"/>
                <a:gd name="T44" fmla="*/ 1061 w 2684"/>
                <a:gd name="T45" fmla="*/ 881 h 2619"/>
                <a:gd name="T46" fmla="*/ 1001 w 2684"/>
                <a:gd name="T47" fmla="*/ 939 h 2619"/>
                <a:gd name="T48" fmla="*/ 971 w 2684"/>
                <a:gd name="T49" fmla="*/ 909 h 2619"/>
                <a:gd name="T50" fmla="*/ 1044 w 2684"/>
                <a:gd name="T51" fmla="*/ 843 h 2619"/>
                <a:gd name="T52" fmla="*/ 1062 w 2684"/>
                <a:gd name="T53" fmla="*/ 1279 h 2619"/>
                <a:gd name="T54" fmla="*/ 1008 w 2684"/>
                <a:gd name="T55" fmla="*/ 1227 h 2619"/>
                <a:gd name="T56" fmla="*/ 1105 w 2684"/>
                <a:gd name="T57" fmla="*/ 992 h 2619"/>
                <a:gd name="T58" fmla="*/ 1035 w 2684"/>
                <a:gd name="T59" fmla="*/ 1202 h 2619"/>
                <a:gd name="T60" fmla="*/ 1222 w 2684"/>
                <a:gd name="T61" fmla="*/ 1120 h 2619"/>
                <a:gd name="T62" fmla="*/ 1326 w 2684"/>
                <a:gd name="T63" fmla="*/ 1264 h 2619"/>
                <a:gd name="T64" fmla="*/ 1121 w 2684"/>
                <a:gd name="T65" fmla="*/ 1348 h 2619"/>
                <a:gd name="T66" fmla="*/ 1305 w 2684"/>
                <a:gd name="T67" fmla="*/ 1196 h 2619"/>
                <a:gd name="T68" fmla="*/ 1370 w 2684"/>
                <a:gd name="T69" fmla="*/ 1258 h 2619"/>
                <a:gd name="T70" fmla="*/ 1307 w 2684"/>
                <a:gd name="T71" fmla="*/ 1535 h 2619"/>
                <a:gd name="T72" fmla="*/ 1373 w 2684"/>
                <a:gd name="T73" fmla="*/ 1287 h 2619"/>
                <a:gd name="T74" fmla="*/ 1472 w 2684"/>
                <a:gd name="T75" fmla="*/ 1274 h 2619"/>
                <a:gd name="T76" fmla="*/ 1477 w 2684"/>
                <a:gd name="T77" fmla="*/ 1391 h 2619"/>
                <a:gd name="T78" fmla="*/ 1344 w 2684"/>
                <a:gd name="T79" fmla="*/ 1516 h 2619"/>
                <a:gd name="T80" fmla="*/ 1447 w 2684"/>
                <a:gd name="T81" fmla="*/ 1786 h 2619"/>
                <a:gd name="T82" fmla="*/ 1497 w 2684"/>
                <a:gd name="T83" fmla="*/ 1611 h 2619"/>
                <a:gd name="T84" fmla="*/ 1748 w 2684"/>
                <a:gd name="T85" fmla="*/ 1473 h 2619"/>
                <a:gd name="T86" fmla="*/ 1597 w 2684"/>
                <a:gd name="T87" fmla="*/ 1769 h 2619"/>
                <a:gd name="T88" fmla="*/ 1867 w 2684"/>
                <a:gd name="T89" fmla="*/ 1859 h 2619"/>
                <a:gd name="T90" fmla="*/ 1659 w 2684"/>
                <a:gd name="T91" fmla="*/ 1729 h 2619"/>
                <a:gd name="T92" fmla="*/ 1859 w 2684"/>
                <a:gd name="T93" fmla="*/ 2051 h 2619"/>
                <a:gd name="T94" fmla="*/ 1735 w 2684"/>
                <a:gd name="T95" fmla="*/ 2067 h 2619"/>
                <a:gd name="T96" fmla="*/ 2060 w 2684"/>
                <a:gd name="T97" fmla="*/ 1786 h 2619"/>
                <a:gd name="T98" fmla="*/ 2106 w 2684"/>
                <a:gd name="T99" fmla="*/ 2158 h 2619"/>
                <a:gd name="T100" fmla="*/ 2204 w 2684"/>
                <a:gd name="T101" fmla="*/ 1999 h 2619"/>
                <a:gd name="T102" fmla="*/ 2256 w 2684"/>
                <a:gd name="T103" fmla="*/ 2164 h 2619"/>
                <a:gd name="T104" fmla="*/ 2234 w 2684"/>
                <a:gd name="T105" fmla="*/ 2179 h 2619"/>
                <a:gd name="T106" fmla="*/ 2227 w 2684"/>
                <a:gd name="T107" fmla="*/ 2405 h 2619"/>
                <a:gd name="T108" fmla="*/ 2418 w 2684"/>
                <a:gd name="T109" fmla="*/ 2163 h 2619"/>
                <a:gd name="T110" fmla="*/ 2378 w 2684"/>
                <a:gd name="T111" fmla="*/ 2289 h 2619"/>
                <a:gd name="T112" fmla="*/ 2412 w 2684"/>
                <a:gd name="T113" fmla="*/ 2384 h 2619"/>
                <a:gd name="T114" fmla="*/ 2299 w 2684"/>
                <a:gd name="T115" fmla="*/ 2470 h 2619"/>
                <a:gd name="T116" fmla="*/ 2655 w 2684"/>
                <a:gd name="T117" fmla="*/ 2439 h 2619"/>
                <a:gd name="T118" fmla="*/ 2601 w 2684"/>
                <a:gd name="T119" fmla="*/ 2496 h 2619"/>
                <a:gd name="T120" fmla="*/ 2380 w 2684"/>
                <a:gd name="T121" fmla="*/ 2608 h 2619"/>
                <a:gd name="T122" fmla="*/ 2505 w 2684"/>
                <a:gd name="T123" fmla="*/ 2400 h 2619"/>
                <a:gd name="T124" fmla="*/ 2682 w 2684"/>
                <a:gd name="T125" fmla="*/ 2420 h 2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84" h="2619">
                  <a:moveTo>
                    <a:pt x="333" y="128"/>
                  </a:moveTo>
                  <a:cubicBezTo>
                    <a:pt x="331" y="130"/>
                    <a:pt x="329" y="132"/>
                    <a:pt x="327" y="133"/>
                  </a:cubicBezTo>
                  <a:cubicBezTo>
                    <a:pt x="325" y="135"/>
                    <a:pt x="323" y="135"/>
                    <a:pt x="322" y="136"/>
                  </a:cubicBezTo>
                  <a:cubicBezTo>
                    <a:pt x="320" y="136"/>
                    <a:pt x="319" y="136"/>
                    <a:pt x="318" y="136"/>
                  </a:cubicBezTo>
                  <a:cubicBezTo>
                    <a:pt x="316" y="136"/>
                    <a:pt x="315" y="135"/>
                    <a:pt x="315" y="134"/>
                  </a:cubicBezTo>
                  <a:lnTo>
                    <a:pt x="231" y="51"/>
                  </a:lnTo>
                  <a:lnTo>
                    <a:pt x="153" y="128"/>
                  </a:lnTo>
                  <a:lnTo>
                    <a:pt x="232" y="208"/>
                  </a:lnTo>
                  <a:cubicBezTo>
                    <a:pt x="233" y="208"/>
                    <a:pt x="234" y="209"/>
                    <a:pt x="234" y="211"/>
                  </a:cubicBezTo>
                  <a:cubicBezTo>
                    <a:pt x="234" y="212"/>
                    <a:pt x="234" y="213"/>
                    <a:pt x="234" y="215"/>
                  </a:cubicBezTo>
                  <a:cubicBezTo>
                    <a:pt x="234" y="216"/>
                    <a:pt x="233" y="218"/>
                    <a:pt x="231" y="220"/>
                  </a:cubicBezTo>
                  <a:cubicBezTo>
                    <a:pt x="230" y="221"/>
                    <a:pt x="228" y="224"/>
                    <a:pt x="226" y="226"/>
                  </a:cubicBezTo>
                  <a:cubicBezTo>
                    <a:pt x="223" y="228"/>
                    <a:pt x="221" y="230"/>
                    <a:pt x="220" y="231"/>
                  </a:cubicBezTo>
                  <a:cubicBezTo>
                    <a:pt x="218" y="233"/>
                    <a:pt x="216" y="234"/>
                    <a:pt x="214" y="234"/>
                  </a:cubicBezTo>
                  <a:cubicBezTo>
                    <a:pt x="213" y="235"/>
                    <a:pt x="211" y="235"/>
                    <a:pt x="210" y="234"/>
                  </a:cubicBezTo>
                  <a:cubicBezTo>
                    <a:pt x="209" y="234"/>
                    <a:pt x="208" y="234"/>
                    <a:pt x="207" y="233"/>
                  </a:cubicBezTo>
                  <a:lnTo>
                    <a:pt x="128" y="154"/>
                  </a:lnTo>
                  <a:lnTo>
                    <a:pt x="32" y="249"/>
                  </a:lnTo>
                  <a:cubicBezTo>
                    <a:pt x="32" y="250"/>
                    <a:pt x="31" y="250"/>
                    <a:pt x="29" y="251"/>
                  </a:cubicBezTo>
                  <a:cubicBezTo>
                    <a:pt x="28" y="251"/>
                    <a:pt x="27" y="251"/>
                    <a:pt x="25" y="250"/>
                  </a:cubicBezTo>
                  <a:cubicBezTo>
                    <a:pt x="23" y="249"/>
                    <a:pt x="22" y="248"/>
                    <a:pt x="19" y="246"/>
                  </a:cubicBezTo>
                  <a:cubicBezTo>
                    <a:pt x="17" y="245"/>
                    <a:pt x="15" y="242"/>
                    <a:pt x="12" y="239"/>
                  </a:cubicBezTo>
                  <a:cubicBezTo>
                    <a:pt x="9" y="237"/>
                    <a:pt x="6" y="234"/>
                    <a:pt x="5" y="232"/>
                  </a:cubicBezTo>
                  <a:cubicBezTo>
                    <a:pt x="3" y="229"/>
                    <a:pt x="2" y="227"/>
                    <a:pt x="1" y="226"/>
                  </a:cubicBezTo>
                  <a:cubicBezTo>
                    <a:pt x="0" y="224"/>
                    <a:pt x="0" y="223"/>
                    <a:pt x="0" y="222"/>
                  </a:cubicBezTo>
                  <a:cubicBezTo>
                    <a:pt x="1" y="220"/>
                    <a:pt x="1" y="219"/>
                    <a:pt x="2" y="218"/>
                  </a:cubicBezTo>
                  <a:lnTo>
                    <a:pt x="214" y="7"/>
                  </a:lnTo>
                  <a:cubicBezTo>
                    <a:pt x="218" y="2"/>
                    <a:pt x="223" y="0"/>
                    <a:pt x="227" y="1"/>
                  </a:cubicBezTo>
                  <a:cubicBezTo>
                    <a:pt x="231" y="1"/>
                    <a:pt x="235" y="3"/>
                    <a:pt x="237" y="6"/>
                  </a:cubicBezTo>
                  <a:lnTo>
                    <a:pt x="340" y="109"/>
                  </a:lnTo>
                  <a:cubicBezTo>
                    <a:pt x="341" y="109"/>
                    <a:pt x="342" y="110"/>
                    <a:pt x="342" y="112"/>
                  </a:cubicBezTo>
                  <a:cubicBezTo>
                    <a:pt x="342" y="113"/>
                    <a:pt x="342" y="114"/>
                    <a:pt x="342" y="116"/>
                  </a:cubicBezTo>
                  <a:cubicBezTo>
                    <a:pt x="341" y="118"/>
                    <a:pt x="340" y="119"/>
                    <a:pt x="339" y="121"/>
                  </a:cubicBezTo>
                  <a:cubicBezTo>
                    <a:pt x="337" y="123"/>
                    <a:pt x="336" y="125"/>
                    <a:pt x="333" y="128"/>
                  </a:cubicBezTo>
                  <a:close/>
                  <a:moveTo>
                    <a:pt x="410" y="329"/>
                  </a:moveTo>
                  <a:cubicBezTo>
                    <a:pt x="407" y="332"/>
                    <a:pt x="405" y="334"/>
                    <a:pt x="403" y="336"/>
                  </a:cubicBezTo>
                  <a:cubicBezTo>
                    <a:pt x="401" y="337"/>
                    <a:pt x="400" y="339"/>
                    <a:pt x="398" y="339"/>
                  </a:cubicBezTo>
                  <a:cubicBezTo>
                    <a:pt x="397" y="340"/>
                    <a:pt x="396" y="340"/>
                    <a:pt x="395" y="340"/>
                  </a:cubicBezTo>
                  <a:cubicBezTo>
                    <a:pt x="394" y="340"/>
                    <a:pt x="393" y="340"/>
                    <a:pt x="392" y="339"/>
                  </a:cubicBezTo>
                  <a:cubicBezTo>
                    <a:pt x="391" y="338"/>
                    <a:pt x="390" y="336"/>
                    <a:pt x="389" y="334"/>
                  </a:cubicBezTo>
                  <a:cubicBezTo>
                    <a:pt x="388" y="333"/>
                    <a:pt x="387" y="331"/>
                    <a:pt x="386" y="328"/>
                  </a:cubicBezTo>
                  <a:cubicBezTo>
                    <a:pt x="385" y="326"/>
                    <a:pt x="383" y="324"/>
                    <a:pt x="382" y="321"/>
                  </a:cubicBezTo>
                  <a:cubicBezTo>
                    <a:pt x="380" y="318"/>
                    <a:pt x="378" y="316"/>
                    <a:pt x="376" y="313"/>
                  </a:cubicBezTo>
                  <a:cubicBezTo>
                    <a:pt x="373" y="310"/>
                    <a:pt x="369" y="308"/>
                    <a:pt x="365" y="307"/>
                  </a:cubicBezTo>
                  <a:cubicBezTo>
                    <a:pt x="361" y="305"/>
                    <a:pt x="356" y="304"/>
                    <a:pt x="350" y="303"/>
                  </a:cubicBezTo>
                  <a:cubicBezTo>
                    <a:pt x="345" y="303"/>
                    <a:pt x="338" y="303"/>
                    <a:pt x="330" y="304"/>
                  </a:cubicBezTo>
                  <a:cubicBezTo>
                    <a:pt x="322" y="305"/>
                    <a:pt x="313" y="307"/>
                    <a:pt x="302" y="310"/>
                  </a:cubicBezTo>
                  <a:lnTo>
                    <a:pt x="197" y="414"/>
                  </a:lnTo>
                  <a:cubicBezTo>
                    <a:pt x="196" y="415"/>
                    <a:pt x="195" y="416"/>
                    <a:pt x="194" y="416"/>
                  </a:cubicBezTo>
                  <a:cubicBezTo>
                    <a:pt x="193" y="416"/>
                    <a:pt x="192" y="416"/>
                    <a:pt x="190" y="415"/>
                  </a:cubicBezTo>
                  <a:cubicBezTo>
                    <a:pt x="189" y="415"/>
                    <a:pt x="187" y="414"/>
                    <a:pt x="185" y="412"/>
                  </a:cubicBezTo>
                  <a:cubicBezTo>
                    <a:pt x="183" y="410"/>
                    <a:pt x="180" y="408"/>
                    <a:pt x="177" y="405"/>
                  </a:cubicBezTo>
                  <a:cubicBezTo>
                    <a:pt x="174" y="402"/>
                    <a:pt x="172" y="400"/>
                    <a:pt x="170" y="398"/>
                  </a:cubicBezTo>
                  <a:cubicBezTo>
                    <a:pt x="169" y="395"/>
                    <a:pt x="168" y="394"/>
                    <a:pt x="167" y="392"/>
                  </a:cubicBezTo>
                  <a:cubicBezTo>
                    <a:pt x="166" y="390"/>
                    <a:pt x="166" y="389"/>
                    <a:pt x="166" y="388"/>
                  </a:cubicBezTo>
                  <a:cubicBezTo>
                    <a:pt x="167" y="387"/>
                    <a:pt x="167" y="386"/>
                    <a:pt x="168" y="385"/>
                  </a:cubicBezTo>
                  <a:lnTo>
                    <a:pt x="327" y="226"/>
                  </a:lnTo>
                  <a:cubicBezTo>
                    <a:pt x="328" y="225"/>
                    <a:pt x="329" y="224"/>
                    <a:pt x="330" y="224"/>
                  </a:cubicBezTo>
                  <a:cubicBezTo>
                    <a:pt x="331" y="224"/>
                    <a:pt x="332" y="224"/>
                    <a:pt x="334" y="224"/>
                  </a:cubicBezTo>
                  <a:cubicBezTo>
                    <a:pt x="336" y="225"/>
                    <a:pt x="337" y="226"/>
                    <a:pt x="339" y="227"/>
                  </a:cubicBezTo>
                  <a:cubicBezTo>
                    <a:pt x="341" y="229"/>
                    <a:pt x="343" y="231"/>
                    <a:pt x="346" y="234"/>
                  </a:cubicBezTo>
                  <a:cubicBezTo>
                    <a:pt x="349" y="236"/>
                    <a:pt x="351" y="239"/>
                    <a:pt x="352" y="240"/>
                  </a:cubicBezTo>
                  <a:cubicBezTo>
                    <a:pt x="354" y="242"/>
                    <a:pt x="355" y="244"/>
                    <a:pt x="355" y="245"/>
                  </a:cubicBezTo>
                  <a:cubicBezTo>
                    <a:pt x="356" y="247"/>
                    <a:pt x="356" y="248"/>
                    <a:pt x="355" y="249"/>
                  </a:cubicBezTo>
                  <a:cubicBezTo>
                    <a:pt x="355" y="250"/>
                    <a:pt x="355" y="251"/>
                    <a:pt x="354" y="252"/>
                  </a:cubicBezTo>
                  <a:lnTo>
                    <a:pt x="330" y="275"/>
                  </a:lnTo>
                  <a:cubicBezTo>
                    <a:pt x="341" y="273"/>
                    <a:pt x="350" y="272"/>
                    <a:pt x="358" y="272"/>
                  </a:cubicBezTo>
                  <a:cubicBezTo>
                    <a:pt x="366" y="272"/>
                    <a:pt x="373" y="272"/>
                    <a:pt x="379" y="274"/>
                  </a:cubicBezTo>
                  <a:cubicBezTo>
                    <a:pt x="384" y="275"/>
                    <a:pt x="389" y="276"/>
                    <a:pt x="394" y="279"/>
                  </a:cubicBezTo>
                  <a:cubicBezTo>
                    <a:pt x="398" y="281"/>
                    <a:pt x="402" y="284"/>
                    <a:pt x="405" y="288"/>
                  </a:cubicBezTo>
                  <a:cubicBezTo>
                    <a:pt x="407" y="289"/>
                    <a:pt x="408" y="291"/>
                    <a:pt x="410" y="293"/>
                  </a:cubicBezTo>
                  <a:cubicBezTo>
                    <a:pt x="412" y="295"/>
                    <a:pt x="413" y="298"/>
                    <a:pt x="415" y="300"/>
                  </a:cubicBezTo>
                  <a:cubicBezTo>
                    <a:pt x="417" y="303"/>
                    <a:pt x="418" y="305"/>
                    <a:pt x="419" y="308"/>
                  </a:cubicBezTo>
                  <a:cubicBezTo>
                    <a:pt x="420" y="310"/>
                    <a:pt x="421" y="312"/>
                    <a:pt x="421" y="313"/>
                  </a:cubicBezTo>
                  <a:cubicBezTo>
                    <a:pt x="421" y="314"/>
                    <a:pt x="421" y="315"/>
                    <a:pt x="421" y="316"/>
                  </a:cubicBezTo>
                  <a:cubicBezTo>
                    <a:pt x="421" y="317"/>
                    <a:pt x="420" y="318"/>
                    <a:pt x="419" y="319"/>
                  </a:cubicBezTo>
                  <a:cubicBezTo>
                    <a:pt x="419" y="320"/>
                    <a:pt x="418" y="321"/>
                    <a:pt x="416" y="323"/>
                  </a:cubicBezTo>
                  <a:cubicBezTo>
                    <a:pt x="415" y="324"/>
                    <a:pt x="413" y="327"/>
                    <a:pt x="410" y="329"/>
                  </a:cubicBezTo>
                  <a:close/>
                  <a:moveTo>
                    <a:pt x="412" y="630"/>
                  </a:moveTo>
                  <a:cubicBezTo>
                    <a:pt x="411" y="631"/>
                    <a:pt x="409" y="632"/>
                    <a:pt x="408" y="631"/>
                  </a:cubicBezTo>
                  <a:cubicBezTo>
                    <a:pt x="406" y="631"/>
                    <a:pt x="404" y="630"/>
                    <a:pt x="402" y="629"/>
                  </a:cubicBezTo>
                  <a:cubicBezTo>
                    <a:pt x="400" y="628"/>
                    <a:pt x="398" y="625"/>
                    <a:pt x="394" y="622"/>
                  </a:cubicBezTo>
                  <a:cubicBezTo>
                    <a:pt x="391" y="619"/>
                    <a:pt x="389" y="617"/>
                    <a:pt x="388" y="614"/>
                  </a:cubicBezTo>
                  <a:cubicBezTo>
                    <a:pt x="386" y="612"/>
                    <a:pt x="385" y="610"/>
                    <a:pt x="385" y="609"/>
                  </a:cubicBezTo>
                  <a:cubicBezTo>
                    <a:pt x="385" y="607"/>
                    <a:pt x="386" y="606"/>
                    <a:pt x="387" y="604"/>
                  </a:cubicBezTo>
                  <a:lnTo>
                    <a:pt x="403" y="588"/>
                  </a:lnTo>
                  <a:cubicBezTo>
                    <a:pt x="389" y="589"/>
                    <a:pt x="375" y="587"/>
                    <a:pt x="363" y="583"/>
                  </a:cubicBezTo>
                  <a:cubicBezTo>
                    <a:pt x="350" y="578"/>
                    <a:pt x="339" y="571"/>
                    <a:pt x="329" y="562"/>
                  </a:cubicBezTo>
                  <a:cubicBezTo>
                    <a:pt x="321" y="553"/>
                    <a:pt x="314" y="545"/>
                    <a:pt x="310" y="536"/>
                  </a:cubicBezTo>
                  <a:cubicBezTo>
                    <a:pt x="305" y="527"/>
                    <a:pt x="303" y="518"/>
                    <a:pt x="302" y="509"/>
                  </a:cubicBezTo>
                  <a:cubicBezTo>
                    <a:pt x="301" y="500"/>
                    <a:pt x="303" y="491"/>
                    <a:pt x="306" y="483"/>
                  </a:cubicBezTo>
                  <a:cubicBezTo>
                    <a:pt x="309" y="474"/>
                    <a:pt x="315" y="466"/>
                    <a:pt x="322" y="458"/>
                  </a:cubicBezTo>
                  <a:cubicBezTo>
                    <a:pt x="331" y="449"/>
                    <a:pt x="341" y="443"/>
                    <a:pt x="351" y="440"/>
                  </a:cubicBezTo>
                  <a:cubicBezTo>
                    <a:pt x="362" y="437"/>
                    <a:pt x="372" y="437"/>
                    <a:pt x="383" y="439"/>
                  </a:cubicBezTo>
                  <a:cubicBezTo>
                    <a:pt x="395" y="442"/>
                    <a:pt x="406" y="447"/>
                    <a:pt x="418" y="455"/>
                  </a:cubicBezTo>
                  <a:cubicBezTo>
                    <a:pt x="430" y="462"/>
                    <a:pt x="443" y="473"/>
                    <a:pt x="455" y="485"/>
                  </a:cubicBezTo>
                  <a:lnTo>
                    <a:pt x="477" y="507"/>
                  </a:lnTo>
                  <a:lnTo>
                    <a:pt x="489" y="494"/>
                  </a:lnTo>
                  <a:cubicBezTo>
                    <a:pt x="496" y="488"/>
                    <a:pt x="500" y="482"/>
                    <a:pt x="504" y="476"/>
                  </a:cubicBezTo>
                  <a:cubicBezTo>
                    <a:pt x="507" y="470"/>
                    <a:pt x="509" y="464"/>
                    <a:pt x="509" y="458"/>
                  </a:cubicBezTo>
                  <a:cubicBezTo>
                    <a:pt x="509" y="452"/>
                    <a:pt x="508" y="446"/>
                    <a:pt x="505" y="440"/>
                  </a:cubicBezTo>
                  <a:cubicBezTo>
                    <a:pt x="502" y="434"/>
                    <a:pt x="497" y="427"/>
                    <a:pt x="490" y="421"/>
                  </a:cubicBezTo>
                  <a:cubicBezTo>
                    <a:pt x="483" y="413"/>
                    <a:pt x="476" y="408"/>
                    <a:pt x="469" y="404"/>
                  </a:cubicBezTo>
                  <a:cubicBezTo>
                    <a:pt x="461" y="400"/>
                    <a:pt x="454" y="397"/>
                    <a:pt x="448" y="394"/>
                  </a:cubicBezTo>
                  <a:cubicBezTo>
                    <a:pt x="441" y="392"/>
                    <a:pt x="436" y="390"/>
                    <a:pt x="431" y="389"/>
                  </a:cubicBezTo>
                  <a:cubicBezTo>
                    <a:pt x="427" y="388"/>
                    <a:pt x="424" y="387"/>
                    <a:pt x="422" y="385"/>
                  </a:cubicBezTo>
                  <a:cubicBezTo>
                    <a:pt x="421" y="384"/>
                    <a:pt x="421" y="383"/>
                    <a:pt x="421" y="382"/>
                  </a:cubicBezTo>
                  <a:cubicBezTo>
                    <a:pt x="420" y="381"/>
                    <a:pt x="420" y="380"/>
                    <a:pt x="421" y="378"/>
                  </a:cubicBezTo>
                  <a:cubicBezTo>
                    <a:pt x="421" y="377"/>
                    <a:pt x="422" y="375"/>
                    <a:pt x="423" y="373"/>
                  </a:cubicBezTo>
                  <a:cubicBezTo>
                    <a:pt x="425" y="372"/>
                    <a:pt x="426" y="370"/>
                    <a:pt x="428" y="368"/>
                  </a:cubicBezTo>
                  <a:cubicBezTo>
                    <a:pt x="431" y="365"/>
                    <a:pt x="433" y="363"/>
                    <a:pt x="435" y="362"/>
                  </a:cubicBezTo>
                  <a:cubicBezTo>
                    <a:pt x="438" y="361"/>
                    <a:pt x="440" y="360"/>
                    <a:pt x="443" y="360"/>
                  </a:cubicBezTo>
                  <a:cubicBezTo>
                    <a:pt x="446" y="360"/>
                    <a:pt x="451" y="361"/>
                    <a:pt x="457" y="363"/>
                  </a:cubicBezTo>
                  <a:cubicBezTo>
                    <a:pt x="463" y="365"/>
                    <a:pt x="469" y="367"/>
                    <a:pt x="476" y="371"/>
                  </a:cubicBezTo>
                  <a:cubicBezTo>
                    <a:pt x="483" y="374"/>
                    <a:pt x="490" y="378"/>
                    <a:pt x="497" y="383"/>
                  </a:cubicBezTo>
                  <a:cubicBezTo>
                    <a:pt x="504" y="388"/>
                    <a:pt x="511" y="393"/>
                    <a:pt x="517" y="400"/>
                  </a:cubicBezTo>
                  <a:cubicBezTo>
                    <a:pt x="528" y="411"/>
                    <a:pt x="537" y="422"/>
                    <a:pt x="542" y="433"/>
                  </a:cubicBezTo>
                  <a:cubicBezTo>
                    <a:pt x="547" y="443"/>
                    <a:pt x="550" y="453"/>
                    <a:pt x="550" y="463"/>
                  </a:cubicBezTo>
                  <a:cubicBezTo>
                    <a:pt x="550" y="473"/>
                    <a:pt x="547" y="483"/>
                    <a:pt x="542" y="493"/>
                  </a:cubicBezTo>
                  <a:cubicBezTo>
                    <a:pt x="537" y="503"/>
                    <a:pt x="530" y="512"/>
                    <a:pt x="520" y="522"/>
                  </a:cubicBezTo>
                  <a:lnTo>
                    <a:pt x="412" y="630"/>
                  </a:lnTo>
                  <a:close/>
                  <a:moveTo>
                    <a:pt x="456" y="528"/>
                  </a:moveTo>
                  <a:lnTo>
                    <a:pt x="431" y="503"/>
                  </a:lnTo>
                  <a:cubicBezTo>
                    <a:pt x="423" y="495"/>
                    <a:pt x="415" y="489"/>
                    <a:pt x="408" y="484"/>
                  </a:cubicBezTo>
                  <a:cubicBezTo>
                    <a:pt x="401" y="480"/>
                    <a:pt x="394" y="477"/>
                    <a:pt x="387" y="475"/>
                  </a:cubicBezTo>
                  <a:cubicBezTo>
                    <a:pt x="381" y="474"/>
                    <a:pt x="375" y="475"/>
                    <a:pt x="369" y="476"/>
                  </a:cubicBezTo>
                  <a:cubicBezTo>
                    <a:pt x="364" y="478"/>
                    <a:pt x="359" y="482"/>
                    <a:pt x="354" y="486"/>
                  </a:cubicBezTo>
                  <a:cubicBezTo>
                    <a:pt x="346" y="495"/>
                    <a:pt x="342" y="504"/>
                    <a:pt x="342" y="514"/>
                  </a:cubicBezTo>
                  <a:cubicBezTo>
                    <a:pt x="342" y="524"/>
                    <a:pt x="347" y="534"/>
                    <a:pt x="357" y="543"/>
                  </a:cubicBezTo>
                  <a:cubicBezTo>
                    <a:pt x="364" y="551"/>
                    <a:pt x="373" y="556"/>
                    <a:pt x="384" y="559"/>
                  </a:cubicBezTo>
                  <a:cubicBezTo>
                    <a:pt x="394" y="562"/>
                    <a:pt x="407" y="562"/>
                    <a:pt x="422" y="562"/>
                  </a:cubicBezTo>
                  <a:lnTo>
                    <a:pt x="456" y="528"/>
                  </a:lnTo>
                  <a:close/>
                  <a:moveTo>
                    <a:pt x="599" y="816"/>
                  </a:moveTo>
                  <a:cubicBezTo>
                    <a:pt x="598" y="817"/>
                    <a:pt x="597" y="818"/>
                    <a:pt x="596" y="818"/>
                  </a:cubicBezTo>
                  <a:cubicBezTo>
                    <a:pt x="595" y="818"/>
                    <a:pt x="594" y="818"/>
                    <a:pt x="592" y="817"/>
                  </a:cubicBezTo>
                  <a:cubicBezTo>
                    <a:pt x="591" y="817"/>
                    <a:pt x="589" y="816"/>
                    <a:pt x="587" y="814"/>
                  </a:cubicBezTo>
                  <a:cubicBezTo>
                    <a:pt x="585" y="812"/>
                    <a:pt x="582" y="810"/>
                    <a:pt x="579" y="807"/>
                  </a:cubicBezTo>
                  <a:cubicBezTo>
                    <a:pt x="576" y="804"/>
                    <a:pt x="574" y="802"/>
                    <a:pt x="572" y="800"/>
                  </a:cubicBezTo>
                  <a:cubicBezTo>
                    <a:pt x="571" y="797"/>
                    <a:pt x="570" y="796"/>
                    <a:pt x="569" y="794"/>
                  </a:cubicBezTo>
                  <a:cubicBezTo>
                    <a:pt x="569" y="793"/>
                    <a:pt x="568" y="791"/>
                    <a:pt x="568" y="790"/>
                  </a:cubicBezTo>
                  <a:cubicBezTo>
                    <a:pt x="569" y="789"/>
                    <a:pt x="569" y="788"/>
                    <a:pt x="570" y="787"/>
                  </a:cubicBezTo>
                  <a:lnTo>
                    <a:pt x="663" y="694"/>
                  </a:lnTo>
                  <a:cubicBezTo>
                    <a:pt x="672" y="685"/>
                    <a:pt x="679" y="677"/>
                    <a:pt x="683" y="670"/>
                  </a:cubicBezTo>
                  <a:cubicBezTo>
                    <a:pt x="687" y="663"/>
                    <a:pt x="690" y="656"/>
                    <a:pt x="691" y="649"/>
                  </a:cubicBezTo>
                  <a:cubicBezTo>
                    <a:pt x="693" y="643"/>
                    <a:pt x="692" y="636"/>
                    <a:pt x="690" y="630"/>
                  </a:cubicBezTo>
                  <a:cubicBezTo>
                    <a:pt x="688" y="623"/>
                    <a:pt x="684" y="617"/>
                    <a:pt x="678" y="611"/>
                  </a:cubicBezTo>
                  <a:cubicBezTo>
                    <a:pt x="671" y="604"/>
                    <a:pt x="661" y="599"/>
                    <a:pt x="648" y="597"/>
                  </a:cubicBezTo>
                  <a:cubicBezTo>
                    <a:pt x="636" y="595"/>
                    <a:pt x="621" y="595"/>
                    <a:pt x="603" y="597"/>
                  </a:cubicBezTo>
                  <a:lnTo>
                    <a:pt x="491" y="708"/>
                  </a:lnTo>
                  <a:cubicBezTo>
                    <a:pt x="491" y="709"/>
                    <a:pt x="490" y="710"/>
                    <a:pt x="488" y="710"/>
                  </a:cubicBezTo>
                  <a:cubicBezTo>
                    <a:pt x="487" y="710"/>
                    <a:pt x="486" y="710"/>
                    <a:pt x="484" y="709"/>
                  </a:cubicBezTo>
                  <a:cubicBezTo>
                    <a:pt x="483" y="709"/>
                    <a:pt x="481" y="708"/>
                    <a:pt x="479" y="706"/>
                  </a:cubicBezTo>
                  <a:cubicBezTo>
                    <a:pt x="477" y="704"/>
                    <a:pt x="474" y="702"/>
                    <a:pt x="471" y="699"/>
                  </a:cubicBezTo>
                  <a:cubicBezTo>
                    <a:pt x="469" y="696"/>
                    <a:pt x="466" y="694"/>
                    <a:pt x="465" y="692"/>
                  </a:cubicBezTo>
                  <a:cubicBezTo>
                    <a:pt x="463" y="690"/>
                    <a:pt x="462" y="688"/>
                    <a:pt x="461" y="686"/>
                  </a:cubicBezTo>
                  <a:cubicBezTo>
                    <a:pt x="461" y="685"/>
                    <a:pt x="460" y="683"/>
                    <a:pt x="461" y="682"/>
                  </a:cubicBezTo>
                  <a:cubicBezTo>
                    <a:pt x="461" y="681"/>
                    <a:pt x="461" y="680"/>
                    <a:pt x="462" y="679"/>
                  </a:cubicBezTo>
                  <a:lnTo>
                    <a:pt x="621" y="520"/>
                  </a:lnTo>
                  <a:cubicBezTo>
                    <a:pt x="622" y="519"/>
                    <a:pt x="623" y="519"/>
                    <a:pt x="624" y="518"/>
                  </a:cubicBezTo>
                  <a:cubicBezTo>
                    <a:pt x="625" y="518"/>
                    <a:pt x="627" y="518"/>
                    <a:pt x="628" y="519"/>
                  </a:cubicBezTo>
                  <a:cubicBezTo>
                    <a:pt x="630" y="519"/>
                    <a:pt x="632" y="520"/>
                    <a:pt x="633" y="522"/>
                  </a:cubicBezTo>
                  <a:cubicBezTo>
                    <a:pt x="635" y="523"/>
                    <a:pt x="637" y="525"/>
                    <a:pt x="640" y="528"/>
                  </a:cubicBezTo>
                  <a:cubicBezTo>
                    <a:pt x="643" y="530"/>
                    <a:pt x="645" y="533"/>
                    <a:pt x="646" y="535"/>
                  </a:cubicBezTo>
                  <a:cubicBezTo>
                    <a:pt x="648" y="536"/>
                    <a:pt x="649" y="538"/>
                    <a:pt x="649" y="540"/>
                  </a:cubicBezTo>
                  <a:cubicBezTo>
                    <a:pt x="650" y="541"/>
                    <a:pt x="650" y="542"/>
                    <a:pt x="650" y="543"/>
                  </a:cubicBezTo>
                  <a:cubicBezTo>
                    <a:pt x="649" y="544"/>
                    <a:pt x="649" y="545"/>
                    <a:pt x="648" y="546"/>
                  </a:cubicBezTo>
                  <a:lnTo>
                    <a:pt x="627" y="567"/>
                  </a:lnTo>
                  <a:cubicBezTo>
                    <a:pt x="646" y="566"/>
                    <a:pt x="662" y="568"/>
                    <a:pt x="676" y="572"/>
                  </a:cubicBezTo>
                  <a:cubicBezTo>
                    <a:pt x="689" y="576"/>
                    <a:pt x="700" y="583"/>
                    <a:pt x="709" y="592"/>
                  </a:cubicBezTo>
                  <a:cubicBezTo>
                    <a:pt x="720" y="603"/>
                    <a:pt x="727" y="614"/>
                    <a:pt x="731" y="624"/>
                  </a:cubicBezTo>
                  <a:cubicBezTo>
                    <a:pt x="735" y="635"/>
                    <a:pt x="736" y="646"/>
                    <a:pt x="734" y="656"/>
                  </a:cubicBezTo>
                  <a:cubicBezTo>
                    <a:pt x="732" y="667"/>
                    <a:pt x="729" y="677"/>
                    <a:pt x="723" y="687"/>
                  </a:cubicBezTo>
                  <a:cubicBezTo>
                    <a:pt x="716" y="697"/>
                    <a:pt x="708" y="708"/>
                    <a:pt x="696" y="719"/>
                  </a:cubicBezTo>
                  <a:lnTo>
                    <a:pt x="599" y="816"/>
                  </a:lnTo>
                  <a:close/>
                  <a:moveTo>
                    <a:pt x="785" y="1002"/>
                  </a:moveTo>
                  <a:cubicBezTo>
                    <a:pt x="785" y="1003"/>
                    <a:pt x="783" y="1004"/>
                    <a:pt x="782" y="1004"/>
                  </a:cubicBezTo>
                  <a:cubicBezTo>
                    <a:pt x="781" y="1004"/>
                    <a:pt x="780" y="1004"/>
                    <a:pt x="778" y="1003"/>
                  </a:cubicBezTo>
                  <a:cubicBezTo>
                    <a:pt x="777" y="1002"/>
                    <a:pt x="775" y="1001"/>
                    <a:pt x="772" y="999"/>
                  </a:cubicBezTo>
                  <a:cubicBezTo>
                    <a:pt x="770" y="998"/>
                    <a:pt x="768" y="995"/>
                    <a:pt x="764" y="992"/>
                  </a:cubicBezTo>
                  <a:cubicBezTo>
                    <a:pt x="761" y="989"/>
                    <a:pt x="759" y="986"/>
                    <a:pt x="757" y="984"/>
                  </a:cubicBezTo>
                  <a:cubicBezTo>
                    <a:pt x="755" y="982"/>
                    <a:pt x="754" y="980"/>
                    <a:pt x="753" y="978"/>
                  </a:cubicBezTo>
                  <a:cubicBezTo>
                    <a:pt x="752" y="976"/>
                    <a:pt x="751" y="974"/>
                    <a:pt x="751" y="973"/>
                  </a:cubicBezTo>
                  <a:cubicBezTo>
                    <a:pt x="751" y="971"/>
                    <a:pt x="751" y="969"/>
                    <a:pt x="751" y="968"/>
                  </a:cubicBezTo>
                  <a:lnTo>
                    <a:pt x="772" y="812"/>
                  </a:lnTo>
                  <a:lnTo>
                    <a:pt x="684" y="901"/>
                  </a:lnTo>
                  <a:cubicBezTo>
                    <a:pt x="683" y="902"/>
                    <a:pt x="682" y="902"/>
                    <a:pt x="681" y="902"/>
                  </a:cubicBezTo>
                  <a:cubicBezTo>
                    <a:pt x="680" y="903"/>
                    <a:pt x="678" y="902"/>
                    <a:pt x="677" y="902"/>
                  </a:cubicBezTo>
                  <a:cubicBezTo>
                    <a:pt x="675" y="901"/>
                    <a:pt x="673" y="900"/>
                    <a:pt x="671" y="898"/>
                  </a:cubicBezTo>
                  <a:cubicBezTo>
                    <a:pt x="669" y="897"/>
                    <a:pt x="667" y="894"/>
                    <a:pt x="664" y="891"/>
                  </a:cubicBezTo>
                  <a:cubicBezTo>
                    <a:pt x="661" y="889"/>
                    <a:pt x="659" y="886"/>
                    <a:pt x="657" y="884"/>
                  </a:cubicBezTo>
                  <a:cubicBezTo>
                    <a:pt x="655" y="882"/>
                    <a:pt x="654" y="880"/>
                    <a:pt x="654" y="878"/>
                  </a:cubicBezTo>
                  <a:cubicBezTo>
                    <a:pt x="653" y="877"/>
                    <a:pt x="653" y="876"/>
                    <a:pt x="653" y="875"/>
                  </a:cubicBezTo>
                  <a:cubicBezTo>
                    <a:pt x="653" y="873"/>
                    <a:pt x="654" y="872"/>
                    <a:pt x="655" y="872"/>
                  </a:cubicBezTo>
                  <a:lnTo>
                    <a:pt x="891" y="635"/>
                  </a:lnTo>
                  <a:cubicBezTo>
                    <a:pt x="892" y="634"/>
                    <a:pt x="893" y="634"/>
                    <a:pt x="894" y="633"/>
                  </a:cubicBezTo>
                  <a:cubicBezTo>
                    <a:pt x="895" y="633"/>
                    <a:pt x="896" y="633"/>
                    <a:pt x="898" y="634"/>
                  </a:cubicBezTo>
                  <a:cubicBezTo>
                    <a:pt x="900" y="635"/>
                    <a:pt x="901" y="636"/>
                    <a:pt x="904" y="637"/>
                  </a:cubicBezTo>
                  <a:cubicBezTo>
                    <a:pt x="906" y="639"/>
                    <a:pt x="908" y="641"/>
                    <a:pt x="911" y="644"/>
                  </a:cubicBezTo>
                  <a:cubicBezTo>
                    <a:pt x="914" y="647"/>
                    <a:pt x="916" y="650"/>
                    <a:pt x="918" y="652"/>
                  </a:cubicBezTo>
                  <a:cubicBezTo>
                    <a:pt x="920" y="654"/>
                    <a:pt x="921" y="656"/>
                    <a:pt x="921" y="657"/>
                  </a:cubicBezTo>
                  <a:cubicBezTo>
                    <a:pt x="922" y="659"/>
                    <a:pt x="922" y="660"/>
                    <a:pt x="922" y="661"/>
                  </a:cubicBezTo>
                  <a:cubicBezTo>
                    <a:pt x="922" y="663"/>
                    <a:pt x="921" y="664"/>
                    <a:pt x="920" y="665"/>
                  </a:cubicBezTo>
                  <a:lnTo>
                    <a:pt x="776" y="808"/>
                  </a:lnTo>
                  <a:lnTo>
                    <a:pt x="902" y="802"/>
                  </a:lnTo>
                  <a:cubicBezTo>
                    <a:pt x="904" y="802"/>
                    <a:pt x="906" y="802"/>
                    <a:pt x="908" y="802"/>
                  </a:cubicBezTo>
                  <a:cubicBezTo>
                    <a:pt x="910" y="803"/>
                    <a:pt x="912" y="803"/>
                    <a:pt x="914" y="804"/>
                  </a:cubicBezTo>
                  <a:cubicBezTo>
                    <a:pt x="916" y="805"/>
                    <a:pt x="918" y="807"/>
                    <a:pt x="920" y="808"/>
                  </a:cubicBezTo>
                  <a:cubicBezTo>
                    <a:pt x="922" y="810"/>
                    <a:pt x="925" y="813"/>
                    <a:pt x="928" y="815"/>
                  </a:cubicBezTo>
                  <a:cubicBezTo>
                    <a:pt x="931" y="818"/>
                    <a:pt x="933" y="821"/>
                    <a:pt x="935" y="823"/>
                  </a:cubicBezTo>
                  <a:cubicBezTo>
                    <a:pt x="937" y="825"/>
                    <a:pt x="938" y="827"/>
                    <a:pt x="939" y="829"/>
                  </a:cubicBezTo>
                  <a:cubicBezTo>
                    <a:pt x="940" y="831"/>
                    <a:pt x="940" y="832"/>
                    <a:pt x="940" y="833"/>
                  </a:cubicBezTo>
                  <a:cubicBezTo>
                    <a:pt x="940" y="834"/>
                    <a:pt x="939" y="835"/>
                    <a:pt x="938" y="837"/>
                  </a:cubicBezTo>
                  <a:cubicBezTo>
                    <a:pt x="937" y="838"/>
                    <a:pt x="935" y="839"/>
                    <a:pt x="933" y="840"/>
                  </a:cubicBezTo>
                  <a:cubicBezTo>
                    <a:pt x="931" y="840"/>
                    <a:pt x="928" y="841"/>
                    <a:pt x="924" y="841"/>
                  </a:cubicBezTo>
                  <a:lnTo>
                    <a:pt x="809" y="841"/>
                  </a:lnTo>
                  <a:lnTo>
                    <a:pt x="790" y="989"/>
                  </a:lnTo>
                  <a:cubicBezTo>
                    <a:pt x="789" y="993"/>
                    <a:pt x="789" y="996"/>
                    <a:pt x="788" y="998"/>
                  </a:cubicBezTo>
                  <a:cubicBezTo>
                    <a:pt x="787" y="999"/>
                    <a:pt x="787" y="1001"/>
                    <a:pt x="785" y="1002"/>
                  </a:cubicBezTo>
                  <a:close/>
                  <a:moveTo>
                    <a:pt x="1136" y="904"/>
                  </a:moveTo>
                  <a:cubicBezTo>
                    <a:pt x="1134" y="906"/>
                    <a:pt x="1132" y="908"/>
                    <a:pt x="1130" y="909"/>
                  </a:cubicBezTo>
                  <a:cubicBezTo>
                    <a:pt x="1129" y="910"/>
                    <a:pt x="1127" y="911"/>
                    <a:pt x="1126" y="911"/>
                  </a:cubicBezTo>
                  <a:cubicBezTo>
                    <a:pt x="1125" y="912"/>
                    <a:pt x="1124" y="912"/>
                    <a:pt x="1123" y="912"/>
                  </a:cubicBezTo>
                  <a:cubicBezTo>
                    <a:pt x="1123" y="912"/>
                    <a:pt x="1122" y="911"/>
                    <a:pt x="1121" y="911"/>
                  </a:cubicBezTo>
                  <a:cubicBezTo>
                    <a:pt x="1120" y="910"/>
                    <a:pt x="1120" y="908"/>
                    <a:pt x="1119" y="907"/>
                  </a:cubicBezTo>
                  <a:cubicBezTo>
                    <a:pt x="1118" y="905"/>
                    <a:pt x="1117" y="903"/>
                    <a:pt x="1116" y="900"/>
                  </a:cubicBezTo>
                  <a:cubicBezTo>
                    <a:pt x="1115" y="898"/>
                    <a:pt x="1114" y="895"/>
                    <a:pt x="1112" y="892"/>
                  </a:cubicBezTo>
                  <a:cubicBezTo>
                    <a:pt x="1110" y="889"/>
                    <a:pt x="1107" y="886"/>
                    <a:pt x="1104" y="883"/>
                  </a:cubicBezTo>
                  <a:cubicBezTo>
                    <a:pt x="1100" y="879"/>
                    <a:pt x="1095" y="876"/>
                    <a:pt x="1091" y="874"/>
                  </a:cubicBezTo>
                  <a:cubicBezTo>
                    <a:pt x="1086" y="873"/>
                    <a:pt x="1082" y="872"/>
                    <a:pt x="1077" y="873"/>
                  </a:cubicBezTo>
                  <a:cubicBezTo>
                    <a:pt x="1072" y="874"/>
                    <a:pt x="1067" y="877"/>
                    <a:pt x="1061" y="881"/>
                  </a:cubicBezTo>
                  <a:cubicBezTo>
                    <a:pt x="1055" y="885"/>
                    <a:pt x="1049" y="890"/>
                    <a:pt x="1042" y="897"/>
                  </a:cubicBezTo>
                  <a:lnTo>
                    <a:pt x="1025" y="914"/>
                  </a:lnTo>
                  <a:lnTo>
                    <a:pt x="1061" y="950"/>
                  </a:lnTo>
                  <a:cubicBezTo>
                    <a:pt x="1061" y="951"/>
                    <a:pt x="1062" y="952"/>
                    <a:pt x="1062" y="953"/>
                  </a:cubicBezTo>
                  <a:cubicBezTo>
                    <a:pt x="1063" y="954"/>
                    <a:pt x="1062" y="955"/>
                    <a:pt x="1062" y="957"/>
                  </a:cubicBezTo>
                  <a:cubicBezTo>
                    <a:pt x="1061" y="958"/>
                    <a:pt x="1061" y="960"/>
                    <a:pt x="1059" y="962"/>
                  </a:cubicBezTo>
                  <a:cubicBezTo>
                    <a:pt x="1058" y="964"/>
                    <a:pt x="1056" y="966"/>
                    <a:pt x="1054" y="968"/>
                  </a:cubicBezTo>
                  <a:cubicBezTo>
                    <a:pt x="1050" y="972"/>
                    <a:pt x="1046" y="975"/>
                    <a:pt x="1043" y="976"/>
                  </a:cubicBezTo>
                  <a:cubicBezTo>
                    <a:pt x="1040" y="976"/>
                    <a:pt x="1038" y="976"/>
                    <a:pt x="1036" y="974"/>
                  </a:cubicBezTo>
                  <a:lnTo>
                    <a:pt x="1001" y="939"/>
                  </a:lnTo>
                  <a:lnTo>
                    <a:pt x="861" y="1078"/>
                  </a:lnTo>
                  <a:cubicBezTo>
                    <a:pt x="860" y="1079"/>
                    <a:pt x="859" y="1080"/>
                    <a:pt x="858" y="1080"/>
                  </a:cubicBezTo>
                  <a:cubicBezTo>
                    <a:pt x="857" y="1080"/>
                    <a:pt x="856" y="1080"/>
                    <a:pt x="854" y="1079"/>
                  </a:cubicBezTo>
                  <a:cubicBezTo>
                    <a:pt x="853" y="1078"/>
                    <a:pt x="851" y="1077"/>
                    <a:pt x="849" y="1076"/>
                  </a:cubicBezTo>
                  <a:cubicBezTo>
                    <a:pt x="846" y="1074"/>
                    <a:pt x="844" y="1072"/>
                    <a:pt x="841" y="1069"/>
                  </a:cubicBezTo>
                  <a:cubicBezTo>
                    <a:pt x="838" y="1066"/>
                    <a:pt x="836" y="1064"/>
                    <a:pt x="834" y="1062"/>
                  </a:cubicBezTo>
                  <a:cubicBezTo>
                    <a:pt x="833" y="1059"/>
                    <a:pt x="832" y="1058"/>
                    <a:pt x="831" y="1056"/>
                  </a:cubicBezTo>
                  <a:cubicBezTo>
                    <a:pt x="830" y="1054"/>
                    <a:pt x="830" y="1053"/>
                    <a:pt x="830" y="1052"/>
                  </a:cubicBezTo>
                  <a:cubicBezTo>
                    <a:pt x="830" y="1051"/>
                    <a:pt x="831" y="1050"/>
                    <a:pt x="832" y="1049"/>
                  </a:cubicBezTo>
                  <a:lnTo>
                    <a:pt x="971" y="909"/>
                  </a:lnTo>
                  <a:lnTo>
                    <a:pt x="949" y="887"/>
                  </a:lnTo>
                  <a:cubicBezTo>
                    <a:pt x="947" y="885"/>
                    <a:pt x="947" y="883"/>
                    <a:pt x="948" y="880"/>
                  </a:cubicBezTo>
                  <a:cubicBezTo>
                    <a:pt x="949" y="877"/>
                    <a:pt x="951" y="873"/>
                    <a:pt x="955" y="869"/>
                  </a:cubicBezTo>
                  <a:cubicBezTo>
                    <a:pt x="958" y="867"/>
                    <a:pt x="960" y="865"/>
                    <a:pt x="961" y="864"/>
                  </a:cubicBezTo>
                  <a:cubicBezTo>
                    <a:pt x="963" y="863"/>
                    <a:pt x="965" y="862"/>
                    <a:pt x="966" y="861"/>
                  </a:cubicBezTo>
                  <a:cubicBezTo>
                    <a:pt x="968" y="861"/>
                    <a:pt x="969" y="861"/>
                    <a:pt x="970" y="861"/>
                  </a:cubicBezTo>
                  <a:cubicBezTo>
                    <a:pt x="971" y="861"/>
                    <a:pt x="972" y="862"/>
                    <a:pt x="973" y="863"/>
                  </a:cubicBezTo>
                  <a:lnTo>
                    <a:pt x="996" y="885"/>
                  </a:lnTo>
                  <a:lnTo>
                    <a:pt x="1012" y="869"/>
                  </a:lnTo>
                  <a:cubicBezTo>
                    <a:pt x="1023" y="858"/>
                    <a:pt x="1034" y="849"/>
                    <a:pt x="1044" y="843"/>
                  </a:cubicBezTo>
                  <a:cubicBezTo>
                    <a:pt x="1054" y="837"/>
                    <a:pt x="1063" y="834"/>
                    <a:pt x="1073" y="833"/>
                  </a:cubicBezTo>
                  <a:cubicBezTo>
                    <a:pt x="1082" y="832"/>
                    <a:pt x="1091" y="834"/>
                    <a:pt x="1100" y="838"/>
                  </a:cubicBezTo>
                  <a:cubicBezTo>
                    <a:pt x="1109" y="842"/>
                    <a:pt x="1118" y="848"/>
                    <a:pt x="1126" y="857"/>
                  </a:cubicBezTo>
                  <a:cubicBezTo>
                    <a:pt x="1130" y="861"/>
                    <a:pt x="1134" y="866"/>
                    <a:pt x="1137" y="870"/>
                  </a:cubicBezTo>
                  <a:cubicBezTo>
                    <a:pt x="1140" y="875"/>
                    <a:pt x="1142" y="879"/>
                    <a:pt x="1144" y="882"/>
                  </a:cubicBezTo>
                  <a:cubicBezTo>
                    <a:pt x="1145" y="885"/>
                    <a:pt x="1146" y="887"/>
                    <a:pt x="1146" y="888"/>
                  </a:cubicBezTo>
                  <a:cubicBezTo>
                    <a:pt x="1146" y="890"/>
                    <a:pt x="1145" y="891"/>
                    <a:pt x="1145" y="893"/>
                  </a:cubicBezTo>
                  <a:cubicBezTo>
                    <a:pt x="1144" y="894"/>
                    <a:pt x="1143" y="896"/>
                    <a:pt x="1142" y="898"/>
                  </a:cubicBezTo>
                  <a:cubicBezTo>
                    <a:pt x="1140" y="900"/>
                    <a:pt x="1138" y="902"/>
                    <a:pt x="1136" y="904"/>
                  </a:cubicBezTo>
                  <a:close/>
                  <a:moveTo>
                    <a:pt x="1062" y="1279"/>
                  </a:moveTo>
                  <a:cubicBezTo>
                    <a:pt x="1062" y="1280"/>
                    <a:pt x="1061" y="1281"/>
                    <a:pt x="1059" y="1281"/>
                  </a:cubicBezTo>
                  <a:cubicBezTo>
                    <a:pt x="1058" y="1281"/>
                    <a:pt x="1057" y="1281"/>
                    <a:pt x="1056" y="1281"/>
                  </a:cubicBezTo>
                  <a:cubicBezTo>
                    <a:pt x="1054" y="1280"/>
                    <a:pt x="1052" y="1279"/>
                    <a:pt x="1050" y="1277"/>
                  </a:cubicBezTo>
                  <a:cubicBezTo>
                    <a:pt x="1048" y="1276"/>
                    <a:pt x="1046" y="1274"/>
                    <a:pt x="1044" y="1272"/>
                  </a:cubicBezTo>
                  <a:cubicBezTo>
                    <a:pt x="1041" y="1269"/>
                    <a:pt x="1039" y="1267"/>
                    <a:pt x="1037" y="1265"/>
                  </a:cubicBezTo>
                  <a:cubicBezTo>
                    <a:pt x="1036" y="1263"/>
                    <a:pt x="1035" y="1261"/>
                    <a:pt x="1034" y="1259"/>
                  </a:cubicBezTo>
                  <a:cubicBezTo>
                    <a:pt x="1034" y="1258"/>
                    <a:pt x="1034" y="1257"/>
                    <a:pt x="1034" y="1256"/>
                  </a:cubicBezTo>
                  <a:cubicBezTo>
                    <a:pt x="1034" y="1255"/>
                    <a:pt x="1035" y="1254"/>
                    <a:pt x="1036" y="1253"/>
                  </a:cubicBezTo>
                  <a:lnTo>
                    <a:pt x="1057" y="1232"/>
                  </a:lnTo>
                  <a:cubicBezTo>
                    <a:pt x="1038" y="1233"/>
                    <a:pt x="1022" y="1231"/>
                    <a:pt x="1008" y="1227"/>
                  </a:cubicBezTo>
                  <a:cubicBezTo>
                    <a:pt x="995" y="1223"/>
                    <a:pt x="984" y="1216"/>
                    <a:pt x="974" y="1207"/>
                  </a:cubicBezTo>
                  <a:cubicBezTo>
                    <a:pt x="964" y="1196"/>
                    <a:pt x="957" y="1186"/>
                    <a:pt x="953" y="1175"/>
                  </a:cubicBezTo>
                  <a:cubicBezTo>
                    <a:pt x="949" y="1164"/>
                    <a:pt x="948" y="1153"/>
                    <a:pt x="950" y="1143"/>
                  </a:cubicBezTo>
                  <a:cubicBezTo>
                    <a:pt x="951" y="1132"/>
                    <a:pt x="955" y="1122"/>
                    <a:pt x="961" y="1112"/>
                  </a:cubicBezTo>
                  <a:cubicBezTo>
                    <a:pt x="967" y="1102"/>
                    <a:pt x="976" y="1091"/>
                    <a:pt x="988" y="1080"/>
                  </a:cubicBezTo>
                  <a:lnTo>
                    <a:pt x="1084" y="983"/>
                  </a:lnTo>
                  <a:cubicBezTo>
                    <a:pt x="1085" y="982"/>
                    <a:pt x="1086" y="982"/>
                    <a:pt x="1087" y="981"/>
                  </a:cubicBezTo>
                  <a:cubicBezTo>
                    <a:pt x="1088" y="981"/>
                    <a:pt x="1090" y="981"/>
                    <a:pt x="1092" y="982"/>
                  </a:cubicBezTo>
                  <a:cubicBezTo>
                    <a:pt x="1093" y="983"/>
                    <a:pt x="1095" y="984"/>
                    <a:pt x="1097" y="985"/>
                  </a:cubicBezTo>
                  <a:cubicBezTo>
                    <a:pt x="1099" y="987"/>
                    <a:pt x="1102" y="989"/>
                    <a:pt x="1105" y="992"/>
                  </a:cubicBezTo>
                  <a:cubicBezTo>
                    <a:pt x="1107" y="995"/>
                    <a:pt x="1110" y="998"/>
                    <a:pt x="1111" y="1000"/>
                  </a:cubicBezTo>
                  <a:cubicBezTo>
                    <a:pt x="1113" y="1002"/>
                    <a:pt x="1114" y="1004"/>
                    <a:pt x="1115" y="1005"/>
                  </a:cubicBezTo>
                  <a:cubicBezTo>
                    <a:pt x="1115" y="1007"/>
                    <a:pt x="1116" y="1008"/>
                    <a:pt x="1115" y="1009"/>
                  </a:cubicBezTo>
                  <a:cubicBezTo>
                    <a:pt x="1115" y="1010"/>
                    <a:pt x="1115" y="1011"/>
                    <a:pt x="1114" y="1012"/>
                  </a:cubicBezTo>
                  <a:lnTo>
                    <a:pt x="1021" y="1105"/>
                  </a:lnTo>
                  <a:cubicBezTo>
                    <a:pt x="1012" y="1114"/>
                    <a:pt x="1005" y="1122"/>
                    <a:pt x="1001" y="1129"/>
                  </a:cubicBezTo>
                  <a:cubicBezTo>
                    <a:pt x="997" y="1136"/>
                    <a:pt x="994" y="1143"/>
                    <a:pt x="993" y="1150"/>
                  </a:cubicBezTo>
                  <a:cubicBezTo>
                    <a:pt x="991" y="1157"/>
                    <a:pt x="992" y="1163"/>
                    <a:pt x="994" y="1170"/>
                  </a:cubicBezTo>
                  <a:cubicBezTo>
                    <a:pt x="996" y="1176"/>
                    <a:pt x="1000" y="1182"/>
                    <a:pt x="1006" y="1188"/>
                  </a:cubicBezTo>
                  <a:cubicBezTo>
                    <a:pt x="1013" y="1195"/>
                    <a:pt x="1023" y="1200"/>
                    <a:pt x="1035" y="1202"/>
                  </a:cubicBezTo>
                  <a:cubicBezTo>
                    <a:pt x="1048" y="1204"/>
                    <a:pt x="1063" y="1204"/>
                    <a:pt x="1081" y="1202"/>
                  </a:cubicBezTo>
                  <a:lnTo>
                    <a:pt x="1192" y="1091"/>
                  </a:lnTo>
                  <a:cubicBezTo>
                    <a:pt x="1193" y="1090"/>
                    <a:pt x="1194" y="1089"/>
                    <a:pt x="1195" y="1089"/>
                  </a:cubicBezTo>
                  <a:cubicBezTo>
                    <a:pt x="1196" y="1089"/>
                    <a:pt x="1198" y="1089"/>
                    <a:pt x="1199" y="1090"/>
                  </a:cubicBezTo>
                  <a:cubicBezTo>
                    <a:pt x="1201" y="1090"/>
                    <a:pt x="1203" y="1092"/>
                    <a:pt x="1205" y="1093"/>
                  </a:cubicBezTo>
                  <a:cubicBezTo>
                    <a:pt x="1207" y="1095"/>
                    <a:pt x="1209" y="1097"/>
                    <a:pt x="1212" y="1100"/>
                  </a:cubicBezTo>
                  <a:cubicBezTo>
                    <a:pt x="1215" y="1103"/>
                    <a:pt x="1217" y="1105"/>
                    <a:pt x="1219" y="1107"/>
                  </a:cubicBezTo>
                  <a:cubicBezTo>
                    <a:pt x="1221" y="1109"/>
                    <a:pt x="1222" y="1111"/>
                    <a:pt x="1223" y="1113"/>
                  </a:cubicBezTo>
                  <a:cubicBezTo>
                    <a:pt x="1223" y="1114"/>
                    <a:pt x="1223" y="1116"/>
                    <a:pt x="1223" y="1117"/>
                  </a:cubicBezTo>
                  <a:cubicBezTo>
                    <a:pt x="1223" y="1118"/>
                    <a:pt x="1223" y="1119"/>
                    <a:pt x="1222" y="1120"/>
                  </a:cubicBezTo>
                  <a:lnTo>
                    <a:pt x="1062" y="1279"/>
                  </a:lnTo>
                  <a:close/>
                  <a:moveTo>
                    <a:pt x="1360" y="1280"/>
                  </a:moveTo>
                  <a:cubicBezTo>
                    <a:pt x="1358" y="1282"/>
                    <a:pt x="1355" y="1284"/>
                    <a:pt x="1353" y="1286"/>
                  </a:cubicBezTo>
                  <a:cubicBezTo>
                    <a:pt x="1352" y="1288"/>
                    <a:pt x="1350" y="1289"/>
                    <a:pt x="1349" y="1290"/>
                  </a:cubicBezTo>
                  <a:cubicBezTo>
                    <a:pt x="1347" y="1290"/>
                    <a:pt x="1346" y="1290"/>
                    <a:pt x="1345" y="1290"/>
                  </a:cubicBezTo>
                  <a:cubicBezTo>
                    <a:pt x="1344" y="1290"/>
                    <a:pt x="1343" y="1290"/>
                    <a:pt x="1342" y="1289"/>
                  </a:cubicBezTo>
                  <a:cubicBezTo>
                    <a:pt x="1341" y="1288"/>
                    <a:pt x="1340" y="1287"/>
                    <a:pt x="1339" y="1285"/>
                  </a:cubicBezTo>
                  <a:cubicBezTo>
                    <a:pt x="1338" y="1283"/>
                    <a:pt x="1337" y="1281"/>
                    <a:pt x="1336" y="1279"/>
                  </a:cubicBezTo>
                  <a:cubicBezTo>
                    <a:pt x="1335" y="1276"/>
                    <a:pt x="1334" y="1274"/>
                    <a:pt x="1332" y="1271"/>
                  </a:cubicBezTo>
                  <a:cubicBezTo>
                    <a:pt x="1330" y="1269"/>
                    <a:pt x="1328" y="1266"/>
                    <a:pt x="1326" y="1264"/>
                  </a:cubicBezTo>
                  <a:cubicBezTo>
                    <a:pt x="1323" y="1261"/>
                    <a:pt x="1319" y="1259"/>
                    <a:pt x="1315" y="1257"/>
                  </a:cubicBezTo>
                  <a:cubicBezTo>
                    <a:pt x="1311" y="1255"/>
                    <a:pt x="1307" y="1254"/>
                    <a:pt x="1301" y="1254"/>
                  </a:cubicBezTo>
                  <a:cubicBezTo>
                    <a:pt x="1295" y="1253"/>
                    <a:pt x="1288" y="1254"/>
                    <a:pt x="1280" y="1255"/>
                  </a:cubicBezTo>
                  <a:cubicBezTo>
                    <a:pt x="1272" y="1256"/>
                    <a:pt x="1263" y="1258"/>
                    <a:pt x="1252" y="1260"/>
                  </a:cubicBezTo>
                  <a:lnTo>
                    <a:pt x="1148" y="1365"/>
                  </a:lnTo>
                  <a:cubicBezTo>
                    <a:pt x="1147" y="1365"/>
                    <a:pt x="1146" y="1366"/>
                    <a:pt x="1145" y="1366"/>
                  </a:cubicBezTo>
                  <a:cubicBezTo>
                    <a:pt x="1143" y="1366"/>
                    <a:pt x="1142" y="1366"/>
                    <a:pt x="1141" y="1366"/>
                  </a:cubicBezTo>
                  <a:cubicBezTo>
                    <a:pt x="1139" y="1365"/>
                    <a:pt x="1137" y="1364"/>
                    <a:pt x="1135" y="1362"/>
                  </a:cubicBezTo>
                  <a:cubicBezTo>
                    <a:pt x="1133" y="1361"/>
                    <a:pt x="1130" y="1358"/>
                    <a:pt x="1128" y="1355"/>
                  </a:cubicBezTo>
                  <a:cubicBezTo>
                    <a:pt x="1125" y="1353"/>
                    <a:pt x="1122" y="1350"/>
                    <a:pt x="1121" y="1348"/>
                  </a:cubicBezTo>
                  <a:cubicBezTo>
                    <a:pt x="1119" y="1346"/>
                    <a:pt x="1118" y="1344"/>
                    <a:pt x="1117" y="1342"/>
                  </a:cubicBezTo>
                  <a:cubicBezTo>
                    <a:pt x="1117" y="1341"/>
                    <a:pt x="1117" y="1339"/>
                    <a:pt x="1117" y="1338"/>
                  </a:cubicBezTo>
                  <a:cubicBezTo>
                    <a:pt x="1117" y="1337"/>
                    <a:pt x="1118" y="1336"/>
                    <a:pt x="1119" y="1335"/>
                  </a:cubicBezTo>
                  <a:lnTo>
                    <a:pt x="1278" y="1176"/>
                  </a:lnTo>
                  <a:cubicBezTo>
                    <a:pt x="1279" y="1175"/>
                    <a:pt x="1280" y="1175"/>
                    <a:pt x="1281" y="1174"/>
                  </a:cubicBezTo>
                  <a:cubicBezTo>
                    <a:pt x="1282" y="1174"/>
                    <a:pt x="1283" y="1174"/>
                    <a:pt x="1284" y="1175"/>
                  </a:cubicBezTo>
                  <a:cubicBezTo>
                    <a:pt x="1286" y="1175"/>
                    <a:pt x="1288" y="1176"/>
                    <a:pt x="1290" y="1178"/>
                  </a:cubicBezTo>
                  <a:cubicBezTo>
                    <a:pt x="1291" y="1179"/>
                    <a:pt x="1294" y="1181"/>
                    <a:pt x="1296" y="1184"/>
                  </a:cubicBezTo>
                  <a:cubicBezTo>
                    <a:pt x="1299" y="1187"/>
                    <a:pt x="1301" y="1189"/>
                    <a:pt x="1303" y="1191"/>
                  </a:cubicBezTo>
                  <a:cubicBezTo>
                    <a:pt x="1304" y="1193"/>
                    <a:pt x="1305" y="1194"/>
                    <a:pt x="1305" y="1196"/>
                  </a:cubicBezTo>
                  <a:cubicBezTo>
                    <a:pt x="1306" y="1197"/>
                    <a:pt x="1306" y="1199"/>
                    <a:pt x="1306" y="1200"/>
                  </a:cubicBezTo>
                  <a:cubicBezTo>
                    <a:pt x="1305" y="1201"/>
                    <a:pt x="1305" y="1202"/>
                    <a:pt x="1304" y="1203"/>
                  </a:cubicBezTo>
                  <a:lnTo>
                    <a:pt x="1281" y="1226"/>
                  </a:lnTo>
                  <a:cubicBezTo>
                    <a:pt x="1292" y="1224"/>
                    <a:pt x="1301" y="1223"/>
                    <a:pt x="1309" y="1223"/>
                  </a:cubicBezTo>
                  <a:cubicBezTo>
                    <a:pt x="1316" y="1222"/>
                    <a:pt x="1323" y="1223"/>
                    <a:pt x="1329" y="1224"/>
                  </a:cubicBezTo>
                  <a:cubicBezTo>
                    <a:pt x="1335" y="1225"/>
                    <a:pt x="1340" y="1227"/>
                    <a:pt x="1344" y="1229"/>
                  </a:cubicBezTo>
                  <a:cubicBezTo>
                    <a:pt x="1348" y="1232"/>
                    <a:pt x="1352" y="1235"/>
                    <a:pt x="1355" y="1238"/>
                  </a:cubicBezTo>
                  <a:cubicBezTo>
                    <a:pt x="1357" y="1240"/>
                    <a:pt x="1359" y="1242"/>
                    <a:pt x="1360" y="1244"/>
                  </a:cubicBezTo>
                  <a:cubicBezTo>
                    <a:pt x="1362" y="1246"/>
                    <a:pt x="1364" y="1248"/>
                    <a:pt x="1365" y="1251"/>
                  </a:cubicBezTo>
                  <a:cubicBezTo>
                    <a:pt x="1367" y="1253"/>
                    <a:pt x="1369" y="1256"/>
                    <a:pt x="1370" y="1258"/>
                  </a:cubicBezTo>
                  <a:cubicBezTo>
                    <a:pt x="1371" y="1260"/>
                    <a:pt x="1371" y="1262"/>
                    <a:pt x="1371" y="1263"/>
                  </a:cubicBezTo>
                  <a:cubicBezTo>
                    <a:pt x="1372" y="1265"/>
                    <a:pt x="1372" y="1266"/>
                    <a:pt x="1371" y="1267"/>
                  </a:cubicBezTo>
                  <a:cubicBezTo>
                    <a:pt x="1371" y="1267"/>
                    <a:pt x="1370" y="1268"/>
                    <a:pt x="1370" y="1269"/>
                  </a:cubicBezTo>
                  <a:cubicBezTo>
                    <a:pt x="1369" y="1270"/>
                    <a:pt x="1368" y="1271"/>
                    <a:pt x="1367" y="1273"/>
                  </a:cubicBezTo>
                  <a:cubicBezTo>
                    <a:pt x="1365" y="1275"/>
                    <a:pt x="1363" y="1277"/>
                    <a:pt x="1360" y="1280"/>
                  </a:cubicBezTo>
                  <a:close/>
                  <a:moveTo>
                    <a:pt x="1337" y="1531"/>
                  </a:moveTo>
                  <a:cubicBezTo>
                    <a:pt x="1334" y="1534"/>
                    <a:pt x="1331" y="1537"/>
                    <a:pt x="1329" y="1538"/>
                  </a:cubicBezTo>
                  <a:cubicBezTo>
                    <a:pt x="1326" y="1540"/>
                    <a:pt x="1324" y="1541"/>
                    <a:pt x="1322" y="1541"/>
                  </a:cubicBezTo>
                  <a:cubicBezTo>
                    <a:pt x="1320" y="1541"/>
                    <a:pt x="1318" y="1540"/>
                    <a:pt x="1315" y="1539"/>
                  </a:cubicBezTo>
                  <a:cubicBezTo>
                    <a:pt x="1312" y="1538"/>
                    <a:pt x="1310" y="1536"/>
                    <a:pt x="1307" y="1535"/>
                  </a:cubicBezTo>
                  <a:cubicBezTo>
                    <a:pt x="1304" y="1533"/>
                    <a:pt x="1301" y="1531"/>
                    <a:pt x="1298" y="1528"/>
                  </a:cubicBezTo>
                  <a:cubicBezTo>
                    <a:pt x="1295" y="1526"/>
                    <a:pt x="1292" y="1523"/>
                    <a:pt x="1289" y="1521"/>
                  </a:cubicBezTo>
                  <a:cubicBezTo>
                    <a:pt x="1281" y="1512"/>
                    <a:pt x="1275" y="1504"/>
                    <a:pt x="1271" y="1496"/>
                  </a:cubicBezTo>
                  <a:cubicBezTo>
                    <a:pt x="1267" y="1488"/>
                    <a:pt x="1266" y="1480"/>
                    <a:pt x="1266" y="1472"/>
                  </a:cubicBezTo>
                  <a:cubicBezTo>
                    <a:pt x="1267" y="1464"/>
                    <a:pt x="1270" y="1455"/>
                    <a:pt x="1275" y="1447"/>
                  </a:cubicBezTo>
                  <a:cubicBezTo>
                    <a:pt x="1280" y="1438"/>
                    <a:pt x="1287" y="1429"/>
                    <a:pt x="1296" y="1420"/>
                  </a:cubicBezTo>
                  <a:lnTo>
                    <a:pt x="1389" y="1327"/>
                  </a:lnTo>
                  <a:lnTo>
                    <a:pt x="1367" y="1305"/>
                  </a:lnTo>
                  <a:cubicBezTo>
                    <a:pt x="1365" y="1303"/>
                    <a:pt x="1365" y="1301"/>
                    <a:pt x="1366" y="1298"/>
                  </a:cubicBezTo>
                  <a:cubicBezTo>
                    <a:pt x="1366" y="1295"/>
                    <a:pt x="1369" y="1291"/>
                    <a:pt x="1373" y="1287"/>
                  </a:cubicBezTo>
                  <a:cubicBezTo>
                    <a:pt x="1375" y="1285"/>
                    <a:pt x="1378" y="1283"/>
                    <a:pt x="1379" y="1282"/>
                  </a:cubicBezTo>
                  <a:cubicBezTo>
                    <a:pt x="1381" y="1281"/>
                    <a:pt x="1383" y="1280"/>
                    <a:pt x="1384" y="1279"/>
                  </a:cubicBezTo>
                  <a:cubicBezTo>
                    <a:pt x="1386" y="1279"/>
                    <a:pt x="1387" y="1279"/>
                    <a:pt x="1388" y="1279"/>
                  </a:cubicBezTo>
                  <a:cubicBezTo>
                    <a:pt x="1389" y="1279"/>
                    <a:pt x="1391" y="1280"/>
                    <a:pt x="1391" y="1281"/>
                  </a:cubicBezTo>
                  <a:lnTo>
                    <a:pt x="1414" y="1303"/>
                  </a:lnTo>
                  <a:lnTo>
                    <a:pt x="1451" y="1265"/>
                  </a:lnTo>
                  <a:cubicBezTo>
                    <a:pt x="1452" y="1264"/>
                    <a:pt x="1453" y="1264"/>
                    <a:pt x="1454" y="1264"/>
                  </a:cubicBezTo>
                  <a:cubicBezTo>
                    <a:pt x="1455" y="1263"/>
                    <a:pt x="1457" y="1263"/>
                    <a:pt x="1458" y="1264"/>
                  </a:cubicBezTo>
                  <a:cubicBezTo>
                    <a:pt x="1460" y="1265"/>
                    <a:pt x="1462" y="1266"/>
                    <a:pt x="1464" y="1267"/>
                  </a:cubicBezTo>
                  <a:cubicBezTo>
                    <a:pt x="1466" y="1269"/>
                    <a:pt x="1469" y="1271"/>
                    <a:pt x="1472" y="1274"/>
                  </a:cubicBezTo>
                  <a:cubicBezTo>
                    <a:pt x="1474" y="1277"/>
                    <a:pt x="1477" y="1280"/>
                    <a:pt x="1478" y="1282"/>
                  </a:cubicBezTo>
                  <a:cubicBezTo>
                    <a:pt x="1480" y="1284"/>
                    <a:pt x="1481" y="1286"/>
                    <a:pt x="1482" y="1287"/>
                  </a:cubicBezTo>
                  <a:cubicBezTo>
                    <a:pt x="1482" y="1289"/>
                    <a:pt x="1482" y="1290"/>
                    <a:pt x="1482" y="1291"/>
                  </a:cubicBezTo>
                  <a:cubicBezTo>
                    <a:pt x="1482" y="1293"/>
                    <a:pt x="1481" y="1294"/>
                    <a:pt x="1481" y="1294"/>
                  </a:cubicBezTo>
                  <a:lnTo>
                    <a:pt x="1443" y="1332"/>
                  </a:lnTo>
                  <a:lnTo>
                    <a:pt x="1484" y="1373"/>
                  </a:lnTo>
                  <a:cubicBezTo>
                    <a:pt x="1485" y="1374"/>
                    <a:pt x="1485" y="1375"/>
                    <a:pt x="1485" y="1376"/>
                  </a:cubicBezTo>
                  <a:cubicBezTo>
                    <a:pt x="1486" y="1377"/>
                    <a:pt x="1486" y="1379"/>
                    <a:pt x="1485" y="1380"/>
                  </a:cubicBezTo>
                  <a:cubicBezTo>
                    <a:pt x="1485" y="1382"/>
                    <a:pt x="1484" y="1383"/>
                    <a:pt x="1483" y="1385"/>
                  </a:cubicBezTo>
                  <a:cubicBezTo>
                    <a:pt x="1481" y="1387"/>
                    <a:pt x="1479" y="1389"/>
                    <a:pt x="1477" y="1391"/>
                  </a:cubicBezTo>
                  <a:cubicBezTo>
                    <a:pt x="1473" y="1395"/>
                    <a:pt x="1469" y="1398"/>
                    <a:pt x="1466" y="1399"/>
                  </a:cubicBezTo>
                  <a:cubicBezTo>
                    <a:pt x="1463" y="1399"/>
                    <a:pt x="1461" y="1399"/>
                    <a:pt x="1459" y="1397"/>
                  </a:cubicBezTo>
                  <a:lnTo>
                    <a:pt x="1419" y="1356"/>
                  </a:lnTo>
                  <a:lnTo>
                    <a:pt x="1330" y="1445"/>
                  </a:lnTo>
                  <a:cubicBezTo>
                    <a:pt x="1319" y="1456"/>
                    <a:pt x="1312" y="1466"/>
                    <a:pt x="1310" y="1475"/>
                  </a:cubicBezTo>
                  <a:cubicBezTo>
                    <a:pt x="1307" y="1484"/>
                    <a:pt x="1310" y="1492"/>
                    <a:pt x="1319" y="1501"/>
                  </a:cubicBezTo>
                  <a:cubicBezTo>
                    <a:pt x="1322" y="1503"/>
                    <a:pt x="1324" y="1506"/>
                    <a:pt x="1327" y="1507"/>
                  </a:cubicBezTo>
                  <a:cubicBezTo>
                    <a:pt x="1330" y="1509"/>
                    <a:pt x="1332" y="1510"/>
                    <a:pt x="1334" y="1511"/>
                  </a:cubicBezTo>
                  <a:cubicBezTo>
                    <a:pt x="1336" y="1512"/>
                    <a:pt x="1338" y="1513"/>
                    <a:pt x="1340" y="1514"/>
                  </a:cubicBezTo>
                  <a:cubicBezTo>
                    <a:pt x="1342" y="1514"/>
                    <a:pt x="1343" y="1515"/>
                    <a:pt x="1344" y="1516"/>
                  </a:cubicBezTo>
                  <a:cubicBezTo>
                    <a:pt x="1345" y="1517"/>
                    <a:pt x="1345" y="1517"/>
                    <a:pt x="1345" y="1518"/>
                  </a:cubicBezTo>
                  <a:cubicBezTo>
                    <a:pt x="1346" y="1519"/>
                    <a:pt x="1345" y="1520"/>
                    <a:pt x="1345" y="1521"/>
                  </a:cubicBezTo>
                  <a:cubicBezTo>
                    <a:pt x="1344" y="1522"/>
                    <a:pt x="1343" y="1524"/>
                    <a:pt x="1342" y="1525"/>
                  </a:cubicBezTo>
                  <a:cubicBezTo>
                    <a:pt x="1341" y="1527"/>
                    <a:pt x="1339" y="1529"/>
                    <a:pt x="1337" y="1531"/>
                  </a:cubicBezTo>
                  <a:close/>
                  <a:moveTo>
                    <a:pt x="1746" y="1485"/>
                  </a:moveTo>
                  <a:cubicBezTo>
                    <a:pt x="1711" y="1497"/>
                    <a:pt x="1679" y="1513"/>
                    <a:pt x="1648" y="1533"/>
                  </a:cubicBezTo>
                  <a:cubicBezTo>
                    <a:pt x="1618" y="1552"/>
                    <a:pt x="1590" y="1574"/>
                    <a:pt x="1565" y="1600"/>
                  </a:cubicBezTo>
                  <a:cubicBezTo>
                    <a:pt x="1540" y="1625"/>
                    <a:pt x="1517" y="1653"/>
                    <a:pt x="1498" y="1683"/>
                  </a:cubicBezTo>
                  <a:cubicBezTo>
                    <a:pt x="1479" y="1714"/>
                    <a:pt x="1462" y="1746"/>
                    <a:pt x="1449" y="1781"/>
                  </a:cubicBezTo>
                  <a:cubicBezTo>
                    <a:pt x="1448" y="1783"/>
                    <a:pt x="1448" y="1785"/>
                    <a:pt x="1447" y="1786"/>
                  </a:cubicBezTo>
                  <a:cubicBezTo>
                    <a:pt x="1446" y="1787"/>
                    <a:pt x="1444" y="1787"/>
                    <a:pt x="1443" y="1787"/>
                  </a:cubicBezTo>
                  <a:cubicBezTo>
                    <a:pt x="1442" y="1787"/>
                    <a:pt x="1440" y="1786"/>
                    <a:pt x="1438" y="1785"/>
                  </a:cubicBezTo>
                  <a:cubicBezTo>
                    <a:pt x="1436" y="1783"/>
                    <a:pt x="1433" y="1781"/>
                    <a:pt x="1430" y="1778"/>
                  </a:cubicBezTo>
                  <a:cubicBezTo>
                    <a:pt x="1428" y="1776"/>
                    <a:pt x="1426" y="1774"/>
                    <a:pt x="1425" y="1772"/>
                  </a:cubicBezTo>
                  <a:cubicBezTo>
                    <a:pt x="1424" y="1771"/>
                    <a:pt x="1423" y="1769"/>
                    <a:pt x="1422" y="1768"/>
                  </a:cubicBezTo>
                  <a:cubicBezTo>
                    <a:pt x="1421" y="1766"/>
                    <a:pt x="1421" y="1765"/>
                    <a:pt x="1420" y="1764"/>
                  </a:cubicBezTo>
                  <a:cubicBezTo>
                    <a:pt x="1420" y="1763"/>
                    <a:pt x="1420" y="1761"/>
                    <a:pt x="1420" y="1761"/>
                  </a:cubicBezTo>
                  <a:cubicBezTo>
                    <a:pt x="1426" y="1742"/>
                    <a:pt x="1433" y="1724"/>
                    <a:pt x="1440" y="1707"/>
                  </a:cubicBezTo>
                  <a:cubicBezTo>
                    <a:pt x="1447" y="1690"/>
                    <a:pt x="1456" y="1673"/>
                    <a:pt x="1465" y="1657"/>
                  </a:cubicBezTo>
                  <a:cubicBezTo>
                    <a:pt x="1475" y="1641"/>
                    <a:pt x="1485" y="1626"/>
                    <a:pt x="1497" y="1611"/>
                  </a:cubicBezTo>
                  <a:cubicBezTo>
                    <a:pt x="1508" y="1597"/>
                    <a:pt x="1520" y="1583"/>
                    <a:pt x="1534" y="1569"/>
                  </a:cubicBezTo>
                  <a:cubicBezTo>
                    <a:pt x="1547" y="1556"/>
                    <a:pt x="1561" y="1544"/>
                    <a:pt x="1576" y="1533"/>
                  </a:cubicBezTo>
                  <a:cubicBezTo>
                    <a:pt x="1591" y="1522"/>
                    <a:pt x="1606" y="1511"/>
                    <a:pt x="1622" y="1502"/>
                  </a:cubicBezTo>
                  <a:cubicBezTo>
                    <a:pt x="1638" y="1492"/>
                    <a:pt x="1655" y="1484"/>
                    <a:pt x="1672" y="1476"/>
                  </a:cubicBezTo>
                  <a:cubicBezTo>
                    <a:pt x="1689" y="1469"/>
                    <a:pt x="1707" y="1462"/>
                    <a:pt x="1725" y="1456"/>
                  </a:cubicBezTo>
                  <a:cubicBezTo>
                    <a:pt x="1726" y="1456"/>
                    <a:pt x="1727" y="1455"/>
                    <a:pt x="1727" y="1456"/>
                  </a:cubicBezTo>
                  <a:cubicBezTo>
                    <a:pt x="1728" y="1456"/>
                    <a:pt x="1729" y="1456"/>
                    <a:pt x="1731" y="1457"/>
                  </a:cubicBezTo>
                  <a:cubicBezTo>
                    <a:pt x="1732" y="1457"/>
                    <a:pt x="1734" y="1458"/>
                    <a:pt x="1735" y="1460"/>
                  </a:cubicBezTo>
                  <a:cubicBezTo>
                    <a:pt x="1737" y="1461"/>
                    <a:pt x="1739" y="1463"/>
                    <a:pt x="1742" y="1466"/>
                  </a:cubicBezTo>
                  <a:cubicBezTo>
                    <a:pt x="1745" y="1469"/>
                    <a:pt x="1747" y="1471"/>
                    <a:pt x="1748" y="1473"/>
                  </a:cubicBezTo>
                  <a:cubicBezTo>
                    <a:pt x="1749" y="1475"/>
                    <a:pt x="1750" y="1477"/>
                    <a:pt x="1750" y="1478"/>
                  </a:cubicBezTo>
                  <a:cubicBezTo>
                    <a:pt x="1751" y="1480"/>
                    <a:pt x="1751" y="1481"/>
                    <a:pt x="1750" y="1482"/>
                  </a:cubicBezTo>
                  <a:cubicBezTo>
                    <a:pt x="1749" y="1483"/>
                    <a:pt x="1748" y="1484"/>
                    <a:pt x="1746" y="1485"/>
                  </a:cubicBezTo>
                  <a:close/>
                  <a:moveTo>
                    <a:pt x="1867" y="1859"/>
                  </a:moveTo>
                  <a:cubicBezTo>
                    <a:pt x="1849" y="1877"/>
                    <a:pt x="1830" y="1892"/>
                    <a:pt x="1811" y="1902"/>
                  </a:cubicBezTo>
                  <a:cubicBezTo>
                    <a:pt x="1792" y="1913"/>
                    <a:pt x="1772" y="1919"/>
                    <a:pt x="1753" y="1921"/>
                  </a:cubicBezTo>
                  <a:cubicBezTo>
                    <a:pt x="1734" y="1923"/>
                    <a:pt x="1715" y="1920"/>
                    <a:pt x="1697" y="1912"/>
                  </a:cubicBezTo>
                  <a:cubicBezTo>
                    <a:pt x="1678" y="1905"/>
                    <a:pt x="1660" y="1892"/>
                    <a:pt x="1642" y="1875"/>
                  </a:cubicBezTo>
                  <a:cubicBezTo>
                    <a:pt x="1625" y="1858"/>
                    <a:pt x="1613" y="1840"/>
                    <a:pt x="1606" y="1823"/>
                  </a:cubicBezTo>
                  <a:cubicBezTo>
                    <a:pt x="1598" y="1805"/>
                    <a:pt x="1595" y="1787"/>
                    <a:pt x="1597" y="1769"/>
                  </a:cubicBezTo>
                  <a:cubicBezTo>
                    <a:pt x="1598" y="1751"/>
                    <a:pt x="1604" y="1733"/>
                    <a:pt x="1615" y="1714"/>
                  </a:cubicBezTo>
                  <a:cubicBezTo>
                    <a:pt x="1625" y="1696"/>
                    <a:pt x="1640" y="1677"/>
                    <a:pt x="1659" y="1658"/>
                  </a:cubicBezTo>
                  <a:cubicBezTo>
                    <a:pt x="1677" y="1640"/>
                    <a:pt x="1696" y="1626"/>
                    <a:pt x="1715" y="1616"/>
                  </a:cubicBezTo>
                  <a:cubicBezTo>
                    <a:pt x="1734" y="1605"/>
                    <a:pt x="1753" y="1599"/>
                    <a:pt x="1772" y="1598"/>
                  </a:cubicBezTo>
                  <a:cubicBezTo>
                    <a:pt x="1791" y="1596"/>
                    <a:pt x="1810" y="1599"/>
                    <a:pt x="1828" y="1607"/>
                  </a:cubicBezTo>
                  <a:cubicBezTo>
                    <a:pt x="1847" y="1614"/>
                    <a:pt x="1865" y="1627"/>
                    <a:pt x="1883" y="1644"/>
                  </a:cubicBezTo>
                  <a:cubicBezTo>
                    <a:pt x="1899" y="1661"/>
                    <a:pt x="1912" y="1678"/>
                    <a:pt x="1919" y="1696"/>
                  </a:cubicBezTo>
                  <a:cubicBezTo>
                    <a:pt x="1926" y="1713"/>
                    <a:pt x="1929" y="1731"/>
                    <a:pt x="1928" y="1749"/>
                  </a:cubicBezTo>
                  <a:cubicBezTo>
                    <a:pt x="1927" y="1767"/>
                    <a:pt x="1921" y="1785"/>
                    <a:pt x="1910" y="1804"/>
                  </a:cubicBezTo>
                  <a:cubicBezTo>
                    <a:pt x="1900" y="1822"/>
                    <a:pt x="1886" y="1840"/>
                    <a:pt x="1867" y="1859"/>
                  </a:cubicBezTo>
                  <a:close/>
                  <a:moveTo>
                    <a:pt x="1833" y="1829"/>
                  </a:moveTo>
                  <a:cubicBezTo>
                    <a:pt x="1846" y="1816"/>
                    <a:pt x="1857" y="1803"/>
                    <a:pt x="1866" y="1789"/>
                  </a:cubicBezTo>
                  <a:cubicBezTo>
                    <a:pt x="1875" y="1776"/>
                    <a:pt x="1880" y="1762"/>
                    <a:pt x="1883" y="1749"/>
                  </a:cubicBezTo>
                  <a:cubicBezTo>
                    <a:pt x="1886" y="1735"/>
                    <a:pt x="1885" y="1722"/>
                    <a:pt x="1881" y="1708"/>
                  </a:cubicBezTo>
                  <a:cubicBezTo>
                    <a:pt x="1877" y="1695"/>
                    <a:pt x="1868" y="1681"/>
                    <a:pt x="1855" y="1668"/>
                  </a:cubicBezTo>
                  <a:cubicBezTo>
                    <a:pt x="1842" y="1655"/>
                    <a:pt x="1828" y="1646"/>
                    <a:pt x="1814" y="1642"/>
                  </a:cubicBezTo>
                  <a:cubicBezTo>
                    <a:pt x="1800" y="1638"/>
                    <a:pt x="1786" y="1638"/>
                    <a:pt x="1772" y="1640"/>
                  </a:cubicBezTo>
                  <a:cubicBezTo>
                    <a:pt x="1759" y="1643"/>
                    <a:pt x="1745" y="1649"/>
                    <a:pt x="1732" y="1657"/>
                  </a:cubicBezTo>
                  <a:cubicBezTo>
                    <a:pt x="1718" y="1666"/>
                    <a:pt x="1705" y="1676"/>
                    <a:pt x="1693" y="1688"/>
                  </a:cubicBezTo>
                  <a:cubicBezTo>
                    <a:pt x="1680" y="1702"/>
                    <a:pt x="1669" y="1715"/>
                    <a:pt x="1659" y="1729"/>
                  </a:cubicBezTo>
                  <a:cubicBezTo>
                    <a:pt x="1650" y="1742"/>
                    <a:pt x="1644" y="1756"/>
                    <a:pt x="1641" y="1769"/>
                  </a:cubicBezTo>
                  <a:cubicBezTo>
                    <a:pt x="1639" y="1783"/>
                    <a:pt x="1639" y="1796"/>
                    <a:pt x="1644" y="1810"/>
                  </a:cubicBezTo>
                  <a:cubicBezTo>
                    <a:pt x="1648" y="1823"/>
                    <a:pt x="1657" y="1837"/>
                    <a:pt x="1670" y="1850"/>
                  </a:cubicBezTo>
                  <a:cubicBezTo>
                    <a:pt x="1684" y="1863"/>
                    <a:pt x="1697" y="1872"/>
                    <a:pt x="1711" y="1876"/>
                  </a:cubicBezTo>
                  <a:cubicBezTo>
                    <a:pt x="1725" y="1880"/>
                    <a:pt x="1739" y="1881"/>
                    <a:pt x="1753" y="1878"/>
                  </a:cubicBezTo>
                  <a:cubicBezTo>
                    <a:pt x="1767" y="1875"/>
                    <a:pt x="1781" y="1869"/>
                    <a:pt x="1794" y="1861"/>
                  </a:cubicBezTo>
                  <a:cubicBezTo>
                    <a:pt x="1808" y="1852"/>
                    <a:pt x="1821" y="1841"/>
                    <a:pt x="1833" y="1829"/>
                  </a:cubicBezTo>
                  <a:close/>
                  <a:moveTo>
                    <a:pt x="1947" y="1983"/>
                  </a:moveTo>
                  <a:cubicBezTo>
                    <a:pt x="1934" y="1996"/>
                    <a:pt x="1920" y="2008"/>
                    <a:pt x="1905" y="2020"/>
                  </a:cubicBezTo>
                  <a:cubicBezTo>
                    <a:pt x="1890" y="2031"/>
                    <a:pt x="1875" y="2042"/>
                    <a:pt x="1859" y="2051"/>
                  </a:cubicBezTo>
                  <a:cubicBezTo>
                    <a:pt x="1843" y="2060"/>
                    <a:pt x="1826" y="2069"/>
                    <a:pt x="1809" y="2076"/>
                  </a:cubicBezTo>
                  <a:cubicBezTo>
                    <a:pt x="1792" y="2084"/>
                    <a:pt x="1774" y="2091"/>
                    <a:pt x="1756" y="2096"/>
                  </a:cubicBezTo>
                  <a:cubicBezTo>
                    <a:pt x="1755" y="2096"/>
                    <a:pt x="1754" y="2096"/>
                    <a:pt x="1753" y="2096"/>
                  </a:cubicBezTo>
                  <a:cubicBezTo>
                    <a:pt x="1752" y="2096"/>
                    <a:pt x="1750" y="2095"/>
                    <a:pt x="1749" y="2095"/>
                  </a:cubicBezTo>
                  <a:cubicBezTo>
                    <a:pt x="1747" y="2094"/>
                    <a:pt x="1746" y="2093"/>
                    <a:pt x="1744" y="2091"/>
                  </a:cubicBezTo>
                  <a:cubicBezTo>
                    <a:pt x="1742" y="2090"/>
                    <a:pt x="1741" y="2088"/>
                    <a:pt x="1738" y="2086"/>
                  </a:cubicBezTo>
                  <a:cubicBezTo>
                    <a:pt x="1735" y="2083"/>
                    <a:pt x="1733" y="2081"/>
                    <a:pt x="1732" y="2079"/>
                  </a:cubicBezTo>
                  <a:cubicBezTo>
                    <a:pt x="1730" y="2077"/>
                    <a:pt x="1730" y="2075"/>
                    <a:pt x="1729" y="2073"/>
                  </a:cubicBezTo>
                  <a:cubicBezTo>
                    <a:pt x="1729" y="2072"/>
                    <a:pt x="1730" y="2071"/>
                    <a:pt x="1731" y="2070"/>
                  </a:cubicBezTo>
                  <a:cubicBezTo>
                    <a:pt x="1732" y="2069"/>
                    <a:pt x="1733" y="2068"/>
                    <a:pt x="1735" y="2067"/>
                  </a:cubicBezTo>
                  <a:cubicBezTo>
                    <a:pt x="1770" y="2054"/>
                    <a:pt x="1803" y="2038"/>
                    <a:pt x="1833" y="2019"/>
                  </a:cubicBezTo>
                  <a:cubicBezTo>
                    <a:pt x="1864" y="1999"/>
                    <a:pt x="1892" y="1977"/>
                    <a:pt x="1917" y="1952"/>
                  </a:cubicBezTo>
                  <a:cubicBezTo>
                    <a:pt x="1942" y="1926"/>
                    <a:pt x="1964" y="1899"/>
                    <a:pt x="1984" y="1868"/>
                  </a:cubicBezTo>
                  <a:cubicBezTo>
                    <a:pt x="2003" y="1838"/>
                    <a:pt x="2019" y="1805"/>
                    <a:pt x="2032" y="1770"/>
                  </a:cubicBezTo>
                  <a:cubicBezTo>
                    <a:pt x="2032" y="1769"/>
                    <a:pt x="2033" y="1768"/>
                    <a:pt x="2034" y="1767"/>
                  </a:cubicBezTo>
                  <a:cubicBezTo>
                    <a:pt x="2035" y="1766"/>
                    <a:pt x="2037" y="1766"/>
                    <a:pt x="2038" y="1766"/>
                  </a:cubicBezTo>
                  <a:cubicBezTo>
                    <a:pt x="2040" y="1766"/>
                    <a:pt x="2041" y="1767"/>
                    <a:pt x="2043" y="1768"/>
                  </a:cubicBezTo>
                  <a:cubicBezTo>
                    <a:pt x="2045" y="1770"/>
                    <a:pt x="2048" y="1772"/>
                    <a:pt x="2050" y="1774"/>
                  </a:cubicBezTo>
                  <a:cubicBezTo>
                    <a:pt x="2053" y="1777"/>
                    <a:pt x="2055" y="1779"/>
                    <a:pt x="2056" y="1781"/>
                  </a:cubicBezTo>
                  <a:cubicBezTo>
                    <a:pt x="2058" y="1783"/>
                    <a:pt x="2059" y="1784"/>
                    <a:pt x="2060" y="1786"/>
                  </a:cubicBezTo>
                  <a:cubicBezTo>
                    <a:pt x="2060" y="1787"/>
                    <a:pt x="2061" y="1788"/>
                    <a:pt x="2061" y="1789"/>
                  </a:cubicBezTo>
                  <a:cubicBezTo>
                    <a:pt x="2061" y="1790"/>
                    <a:pt x="2061" y="1791"/>
                    <a:pt x="2061" y="1791"/>
                  </a:cubicBezTo>
                  <a:cubicBezTo>
                    <a:pt x="2049" y="1828"/>
                    <a:pt x="2033" y="1862"/>
                    <a:pt x="2015" y="1894"/>
                  </a:cubicBezTo>
                  <a:cubicBezTo>
                    <a:pt x="1996" y="1927"/>
                    <a:pt x="1973" y="1956"/>
                    <a:pt x="1947" y="1983"/>
                  </a:cubicBezTo>
                  <a:close/>
                  <a:moveTo>
                    <a:pt x="2291" y="2193"/>
                  </a:moveTo>
                  <a:cubicBezTo>
                    <a:pt x="2279" y="2205"/>
                    <a:pt x="2267" y="2213"/>
                    <a:pt x="2254" y="2218"/>
                  </a:cubicBezTo>
                  <a:cubicBezTo>
                    <a:pt x="2241" y="2224"/>
                    <a:pt x="2228" y="2226"/>
                    <a:pt x="2215" y="2226"/>
                  </a:cubicBezTo>
                  <a:cubicBezTo>
                    <a:pt x="2201" y="2225"/>
                    <a:pt x="2188" y="2222"/>
                    <a:pt x="2174" y="2215"/>
                  </a:cubicBezTo>
                  <a:cubicBezTo>
                    <a:pt x="2160" y="2208"/>
                    <a:pt x="2146" y="2198"/>
                    <a:pt x="2132" y="2184"/>
                  </a:cubicBezTo>
                  <a:lnTo>
                    <a:pt x="2106" y="2158"/>
                  </a:lnTo>
                  <a:lnTo>
                    <a:pt x="2024" y="2240"/>
                  </a:lnTo>
                  <a:cubicBezTo>
                    <a:pt x="2023" y="2241"/>
                    <a:pt x="2022" y="2242"/>
                    <a:pt x="2020" y="2242"/>
                  </a:cubicBezTo>
                  <a:cubicBezTo>
                    <a:pt x="2019" y="2242"/>
                    <a:pt x="2018" y="2242"/>
                    <a:pt x="2016" y="2241"/>
                  </a:cubicBezTo>
                  <a:cubicBezTo>
                    <a:pt x="2015" y="2240"/>
                    <a:pt x="2013" y="2239"/>
                    <a:pt x="2011" y="2237"/>
                  </a:cubicBezTo>
                  <a:cubicBezTo>
                    <a:pt x="2008" y="2236"/>
                    <a:pt x="2006" y="2234"/>
                    <a:pt x="2003" y="2231"/>
                  </a:cubicBezTo>
                  <a:cubicBezTo>
                    <a:pt x="2000" y="2228"/>
                    <a:pt x="1998" y="2225"/>
                    <a:pt x="1996" y="2223"/>
                  </a:cubicBezTo>
                  <a:cubicBezTo>
                    <a:pt x="1994" y="2221"/>
                    <a:pt x="1993" y="2219"/>
                    <a:pt x="1992" y="2217"/>
                  </a:cubicBezTo>
                  <a:cubicBezTo>
                    <a:pt x="1991" y="2215"/>
                    <a:pt x="1991" y="2214"/>
                    <a:pt x="1991" y="2213"/>
                  </a:cubicBezTo>
                  <a:cubicBezTo>
                    <a:pt x="1992" y="2212"/>
                    <a:pt x="1992" y="2211"/>
                    <a:pt x="1993" y="2210"/>
                  </a:cubicBezTo>
                  <a:lnTo>
                    <a:pt x="2204" y="1999"/>
                  </a:lnTo>
                  <a:cubicBezTo>
                    <a:pt x="2209" y="1994"/>
                    <a:pt x="2214" y="1992"/>
                    <a:pt x="2218" y="1992"/>
                  </a:cubicBezTo>
                  <a:cubicBezTo>
                    <a:pt x="2223" y="1993"/>
                    <a:pt x="2226" y="1995"/>
                    <a:pt x="2229" y="1998"/>
                  </a:cubicBezTo>
                  <a:lnTo>
                    <a:pt x="2278" y="2047"/>
                  </a:lnTo>
                  <a:cubicBezTo>
                    <a:pt x="2283" y="2051"/>
                    <a:pt x="2288" y="2056"/>
                    <a:pt x="2292" y="2061"/>
                  </a:cubicBezTo>
                  <a:cubicBezTo>
                    <a:pt x="2296" y="2066"/>
                    <a:pt x="2301" y="2073"/>
                    <a:pt x="2305" y="2080"/>
                  </a:cubicBezTo>
                  <a:cubicBezTo>
                    <a:pt x="2310" y="2088"/>
                    <a:pt x="2314" y="2097"/>
                    <a:pt x="2317" y="2107"/>
                  </a:cubicBezTo>
                  <a:cubicBezTo>
                    <a:pt x="2319" y="2117"/>
                    <a:pt x="2320" y="2127"/>
                    <a:pt x="2319" y="2137"/>
                  </a:cubicBezTo>
                  <a:cubicBezTo>
                    <a:pt x="2318" y="2147"/>
                    <a:pt x="2316" y="2156"/>
                    <a:pt x="2311" y="2166"/>
                  </a:cubicBezTo>
                  <a:cubicBezTo>
                    <a:pt x="2306" y="2175"/>
                    <a:pt x="2300" y="2184"/>
                    <a:pt x="2291" y="2193"/>
                  </a:cubicBezTo>
                  <a:close/>
                  <a:moveTo>
                    <a:pt x="2256" y="2164"/>
                  </a:moveTo>
                  <a:cubicBezTo>
                    <a:pt x="2266" y="2154"/>
                    <a:pt x="2272" y="2145"/>
                    <a:pt x="2275" y="2135"/>
                  </a:cubicBezTo>
                  <a:cubicBezTo>
                    <a:pt x="2277" y="2125"/>
                    <a:pt x="2278" y="2116"/>
                    <a:pt x="2276" y="2108"/>
                  </a:cubicBezTo>
                  <a:cubicBezTo>
                    <a:pt x="2274" y="2100"/>
                    <a:pt x="2270" y="2093"/>
                    <a:pt x="2266" y="2086"/>
                  </a:cubicBezTo>
                  <a:cubicBezTo>
                    <a:pt x="2261" y="2080"/>
                    <a:pt x="2256" y="2074"/>
                    <a:pt x="2251" y="2069"/>
                  </a:cubicBezTo>
                  <a:lnTo>
                    <a:pt x="2223" y="2041"/>
                  </a:lnTo>
                  <a:lnTo>
                    <a:pt x="2131" y="2133"/>
                  </a:lnTo>
                  <a:lnTo>
                    <a:pt x="2158" y="2160"/>
                  </a:lnTo>
                  <a:cubicBezTo>
                    <a:pt x="2168" y="2169"/>
                    <a:pt x="2176" y="2176"/>
                    <a:pt x="2185" y="2180"/>
                  </a:cubicBezTo>
                  <a:cubicBezTo>
                    <a:pt x="2193" y="2183"/>
                    <a:pt x="2202" y="2185"/>
                    <a:pt x="2210" y="2185"/>
                  </a:cubicBezTo>
                  <a:cubicBezTo>
                    <a:pt x="2218" y="2185"/>
                    <a:pt x="2226" y="2183"/>
                    <a:pt x="2234" y="2179"/>
                  </a:cubicBezTo>
                  <a:cubicBezTo>
                    <a:pt x="2242" y="2176"/>
                    <a:pt x="2250" y="2170"/>
                    <a:pt x="2256" y="2164"/>
                  </a:cubicBezTo>
                  <a:close/>
                  <a:moveTo>
                    <a:pt x="2410" y="2464"/>
                  </a:moveTo>
                  <a:cubicBezTo>
                    <a:pt x="2396" y="2477"/>
                    <a:pt x="2382" y="2488"/>
                    <a:pt x="2368" y="2496"/>
                  </a:cubicBezTo>
                  <a:cubicBezTo>
                    <a:pt x="2354" y="2504"/>
                    <a:pt x="2340" y="2509"/>
                    <a:pt x="2327" y="2511"/>
                  </a:cubicBezTo>
                  <a:cubicBezTo>
                    <a:pt x="2313" y="2513"/>
                    <a:pt x="2300" y="2512"/>
                    <a:pt x="2288" y="2508"/>
                  </a:cubicBezTo>
                  <a:cubicBezTo>
                    <a:pt x="2275" y="2503"/>
                    <a:pt x="2263" y="2496"/>
                    <a:pt x="2252" y="2485"/>
                  </a:cubicBezTo>
                  <a:cubicBezTo>
                    <a:pt x="2247" y="2480"/>
                    <a:pt x="2243" y="2474"/>
                    <a:pt x="2240" y="2469"/>
                  </a:cubicBezTo>
                  <a:cubicBezTo>
                    <a:pt x="2236" y="2464"/>
                    <a:pt x="2234" y="2458"/>
                    <a:pt x="2232" y="2452"/>
                  </a:cubicBezTo>
                  <a:cubicBezTo>
                    <a:pt x="2230" y="2445"/>
                    <a:pt x="2229" y="2438"/>
                    <a:pt x="2228" y="2431"/>
                  </a:cubicBezTo>
                  <a:cubicBezTo>
                    <a:pt x="2227" y="2423"/>
                    <a:pt x="2227" y="2415"/>
                    <a:pt x="2227" y="2405"/>
                  </a:cubicBezTo>
                  <a:lnTo>
                    <a:pt x="2208" y="2425"/>
                  </a:lnTo>
                  <a:cubicBezTo>
                    <a:pt x="2207" y="2426"/>
                    <a:pt x="2206" y="2426"/>
                    <a:pt x="2205" y="2426"/>
                  </a:cubicBezTo>
                  <a:cubicBezTo>
                    <a:pt x="2203" y="2427"/>
                    <a:pt x="2202" y="2426"/>
                    <a:pt x="2201" y="2426"/>
                  </a:cubicBezTo>
                  <a:cubicBezTo>
                    <a:pt x="2199" y="2425"/>
                    <a:pt x="2198" y="2424"/>
                    <a:pt x="2196" y="2423"/>
                  </a:cubicBezTo>
                  <a:cubicBezTo>
                    <a:pt x="2194" y="2421"/>
                    <a:pt x="2192" y="2420"/>
                    <a:pt x="2189" y="2417"/>
                  </a:cubicBezTo>
                  <a:cubicBezTo>
                    <a:pt x="2187" y="2415"/>
                    <a:pt x="2185" y="2413"/>
                    <a:pt x="2184" y="2411"/>
                  </a:cubicBezTo>
                  <a:cubicBezTo>
                    <a:pt x="2182" y="2409"/>
                    <a:pt x="2181" y="2407"/>
                    <a:pt x="2181" y="2406"/>
                  </a:cubicBezTo>
                  <a:cubicBezTo>
                    <a:pt x="2180" y="2404"/>
                    <a:pt x="2180" y="2403"/>
                    <a:pt x="2180" y="2402"/>
                  </a:cubicBezTo>
                  <a:cubicBezTo>
                    <a:pt x="2180" y="2401"/>
                    <a:pt x="2181" y="2400"/>
                    <a:pt x="2182" y="2399"/>
                  </a:cubicBezTo>
                  <a:lnTo>
                    <a:pt x="2418" y="2163"/>
                  </a:lnTo>
                  <a:cubicBezTo>
                    <a:pt x="2419" y="2162"/>
                    <a:pt x="2420" y="2161"/>
                    <a:pt x="2421" y="2161"/>
                  </a:cubicBezTo>
                  <a:cubicBezTo>
                    <a:pt x="2422" y="2161"/>
                    <a:pt x="2424" y="2161"/>
                    <a:pt x="2425" y="2161"/>
                  </a:cubicBezTo>
                  <a:cubicBezTo>
                    <a:pt x="2427" y="2162"/>
                    <a:pt x="2429" y="2163"/>
                    <a:pt x="2431" y="2165"/>
                  </a:cubicBezTo>
                  <a:cubicBezTo>
                    <a:pt x="2433" y="2166"/>
                    <a:pt x="2436" y="2169"/>
                    <a:pt x="2438" y="2172"/>
                  </a:cubicBezTo>
                  <a:cubicBezTo>
                    <a:pt x="2441" y="2174"/>
                    <a:pt x="2444" y="2177"/>
                    <a:pt x="2445" y="2179"/>
                  </a:cubicBezTo>
                  <a:cubicBezTo>
                    <a:pt x="2447" y="2181"/>
                    <a:pt x="2448" y="2183"/>
                    <a:pt x="2449" y="2185"/>
                  </a:cubicBezTo>
                  <a:cubicBezTo>
                    <a:pt x="2449" y="2186"/>
                    <a:pt x="2449" y="2187"/>
                    <a:pt x="2449" y="2189"/>
                  </a:cubicBezTo>
                  <a:cubicBezTo>
                    <a:pt x="2449" y="2190"/>
                    <a:pt x="2448" y="2191"/>
                    <a:pt x="2447" y="2192"/>
                  </a:cubicBezTo>
                  <a:lnTo>
                    <a:pt x="2352" y="2287"/>
                  </a:lnTo>
                  <a:cubicBezTo>
                    <a:pt x="2362" y="2287"/>
                    <a:pt x="2370" y="2288"/>
                    <a:pt x="2378" y="2289"/>
                  </a:cubicBezTo>
                  <a:cubicBezTo>
                    <a:pt x="2386" y="2290"/>
                    <a:pt x="2393" y="2291"/>
                    <a:pt x="2399" y="2294"/>
                  </a:cubicBezTo>
                  <a:cubicBezTo>
                    <a:pt x="2405" y="2296"/>
                    <a:pt x="2411" y="2299"/>
                    <a:pt x="2416" y="2302"/>
                  </a:cubicBezTo>
                  <a:cubicBezTo>
                    <a:pt x="2421" y="2305"/>
                    <a:pt x="2426" y="2309"/>
                    <a:pt x="2431" y="2314"/>
                  </a:cubicBezTo>
                  <a:cubicBezTo>
                    <a:pt x="2443" y="2325"/>
                    <a:pt x="2450" y="2338"/>
                    <a:pt x="2454" y="2350"/>
                  </a:cubicBezTo>
                  <a:cubicBezTo>
                    <a:pt x="2457" y="2363"/>
                    <a:pt x="2458" y="2376"/>
                    <a:pt x="2455" y="2389"/>
                  </a:cubicBezTo>
                  <a:cubicBezTo>
                    <a:pt x="2453" y="2402"/>
                    <a:pt x="2447" y="2414"/>
                    <a:pt x="2439" y="2427"/>
                  </a:cubicBezTo>
                  <a:cubicBezTo>
                    <a:pt x="2431" y="2440"/>
                    <a:pt x="2422" y="2452"/>
                    <a:pt x="2410" y="2464"/>
                  </a:cubicBezTo>
                  <a:close/>
                  <a:moveTo>
                    <a:pt x="2376" y="2437"/>
                  </a:moveTo>
                  <a:cubicBezTo>
                    <a:pt x="2385" y="2429"/>
                    <a:pt x="2392" y="2420"/>
                    <a:pt x="2398" y="2411"/>
                  </a:cubicBezTo>
                  <a:cubicBezTo>
                    <a:pt x="2405" y="2402"/>
                    <a:pt x="2409" y="2393"/>
                    <a:pt x="2412" y="2384"/>
                  </a:cubicBezTo>
                  <a:cubicBezTo>
                    <a:pt x="2415" y="2375"/>
                    <a:pt x="2416" y="2367"/>
                    <a:pt x="2414" y="2358"/>
                  </a:cubicBezTo>
                  <a:cubicBezTo>
                    <a:pt x="2413" y="2349"/>
                    <a:pt x="2408" y="2341"/>
                    <a:pt x="2400" y="2333"/>
                  </a:cubicBezTo>
                  <a:cubicBezTo>
                    <a:pt x="2397" y="2330"/>
                    <a:pt x="2392" y="2326"/>
                    <a:pt x="2388" y="2324"/>
                  </a:cubicBezTo>
                  <a:cubicBezTo>
                    <a:pt x="2383" y="2321"/>
                    <a:pt x="2377" y="2319"/>
                    <a:pt x="2371" y="2318"/>
                  </a:cubicBezTo>
                  <a:cubicBezTo>
                    <a:pt x="2365" y="2317"/>
                    <a:pt x="2358" y="2316"/>
                    <a:pt x="2350" y="2316"/>
                  </a:cubicBezTo>
                  <a:cubicBezTo>
                    <a:pt x="2342" y="2315"/>
                    <a:pt x="2333" y="2316"/>
                    <a:pt x="2322" y="2317"/>
                  </a:cubicBezTo>
                  <a:lnTo>
                    <a:pt x="2259" y="2381"/>
                  </a:lnTo>
                  <a:cubicBezTo>
                    <a:pt x="2257" y="2398"/>
                    <a:pt x="2257" y="2414"/>
                    <a:pt x="2259" y="2426"/>
                  </a:cubicBezTo>
                  <a:cubicBezTo>
                    <a:pt x="2262" y="2439"/>
                    <a:pt x="2267" y="2449"/>
                    <a:pt x="2275" y="2457"/>
                  </a:cubicBezTo>
                  <a:cubicBezTo>
                    <a:pt x="2282" y="2464"/>
                    <a:pt x="2290" y="2469"/>
                    <a:pt x="2299" y="2470"/>
                  </a:cubicBezTo>
                  <a:cubicBezTo>
                    <a:pt x="2307" y="2472"/>
                    <a:pt x="2316" y="2472"/>
                    <a:pt x="2325" y="2469"/>
                  </a:cubicBezTo>
                  <a:cubicBezTo>
                    <a:pt x="2335" y="2466"/>
                    <a:pt x="2344" y="2462"/>
                    <a:pt x="2352" y="2456"/>
                  </a:cubicBezTo>
                  <a:cubicBezTo>
                    <a:pt x="2361" y="2451"/>
                    <a:pt x="2369" y="2444"/>
                    <a:pt x="2376" y="2437"/>
                  </a:cubicBezTo>
                  <a:close/>
                  <a:moveTo>
                    <a:pt x="2675" y="2443"/>
                  </a:moveTo>
                  <a:cubicBezTo>
                    <a:pt x="2672" y="2445"/>
                    <a:pt x="2671" y="2446"/>
                    <a:pt x="2669" y="2448"/>
                  </a:cubicBezTo>
                  <a:cubicBezTo>
                    <a:pt x="2667" y="2449"/>
                    <a:pt x="2666" y="2450"/>
                    <a:pt x="2665" y="2450"/>
                  </a:cubicBezTo>
                  <a:cubicBezTo>
                    <a:pt x="2664" y="2451"/>
                    <a:pt x="2663" y="2451"/>
                    <a:pt x="2662" y="2451"/>
                  </a:cubicBezTo>
                  <a:cubicBezTo>
                    <a:pt x="2661" y="2450"/>
                    <a:pt x="2661" y="2450"/>
                    <a:pt x="2660" y="2449"/>
                  </a:cubicBezTo>
                  <a:cubicBezTo>
                    <a:pt x="2659" y="2448"/>
                    <a:pt x="2658" y="2447"/>
                    <a:pt x="2658" y="2445"/>
                  </a:cubicBezTo>
                  <a:cubicBezTo>
                    <a:pt x="2657" y="2444"/>
                    <a:pt x="2656" y="2441"/>
                    <a:pt x="2655" y="2439"/>
                  </a:cubicBezTo>
                  <a:cubicBezTo>
                    <a:pt x="2654" y="2437"/>
                    <a:pt x="2652" y="2434"/>
                    <a:pt x="2650" y="2431"/>
                  </a:cubicBezTo>
                  <a:cubicBezTo>
                    <a:pt x="2648" y="2428"/>
                    <a:pt x="2646" y="2425"/>
                    <a:pt x="2643" y="2422"/>
                  </a:cubicBezTo>
                  <a:cubicBezTo>
                    <a:pt x="2638" y="2417"/>
                    <a:pt x="2634" y="2414"/>
                    <a:pt x="2629" y="2413"/>
                  </a:cubicBezTo>
                  <a:cubicBezTo>
                    <a:pt x="2625" y="2411"/>
                    <a:pt x="2620" y="2411"/>
                    <a:pt x="2615" y="2412"/>
                  </a:cubicBezTo>
                  <a:cubicBezTo>
                    <a:pt x="2610" y="2413"/>
                    <a:pt x="2605" y="2416"/>
                    <a:pt x="2600" y="2420"/>
                  </a:cubicBezTo>
                  <a:cubicBezTo>
                    <a:pt x="2594" y="2424"/>
                    <a:pt x="2588" y="2429"/>
                    <a:pt x="2581" y="2436"/>
                  </a:cubicBezTo>
                  <a:lnTo>
                    <a:pt x="2564" y="2453"/>
                  </a:lnTo>
                  <a:lnTo>
                    <a:pt x="2599" y="2489"/>
                  </a:lnTo>
                  <a:cubicBezTo>
                    <a:pt x="2600" y="2490"/>
                    <a:pt x="2601" y="2491"/>
                    <a:pt x="2601" y="2492"/>
                  </a:cubicBezTo>
                  <a:cubicBezTo>
                    <a:pt x="2601" y="2493"/>
                    <a:pt x="2601" y="2494"/>
                    <a:pt x="2601" y="2496"/>
                  </a:cubicBezTo>
                  <a:cubicBezTo>
                    <a:pt x="2600" y="2497"/>
                    <a:pt x="2599" y="2499"/>
                    <a:pt x="2598" y="2501"/>
                  </a:cubicBezTo>
                  <a:cubicBezTo>
                    <a:pt x="2597" y="2502"/>
                    <a:pt x="2595" y="2504"/>
                    <a:pt x="2593" y="2507"/>
                  </a:cubicBezTo>
                  <a:cubicBezTo>
                    <a:pt x="2589" y="2511"/>
                    <a:pt x="2585" y="2513"/>
                    <a:pt x="2582" y="2514"/>
                  </a:cubicBezTo>
                  <a:cubicBezTo>
                    <a:pt x="2579" y="2515"/>
                    <a:pt x="2577" y="2515"/>
                    <a:pt x="2575" y="2513"/>
                  </a:cubicBezTo>
                  <a:lnTo>
                    <a:pt x="2539" y="2477"/>
                  </a:lnTo>
                  <a:lnTo>
                    <a:pt x="2400" y="2617"/>
                  </a:lnTo>
                  <a:cubicBezTo>
                    <a:pt x="2399" y="2618"/>
                    <a:pt x="2398" y="2618"/>
                    <a:pt x="2397" y="2619"/>
                  </a:cubicBezTo>
                  <a:cubicBezTo>
                    <a:pt x="2396" y="2619"/>
                    <a:pt x="2394" y="2618"/>
                    <a:pt x="2393" y="2618"/>
                  </a:cubicBezTo>
                  <a:cubicBezTo>
                    <a:pt x="2391" y="2617"/>
                    <a:pt x="2389" y="2616"/>
                    <a:pt x="2387" y="2614"/>
                  </a:cubicBezTo>
                  <a:cubicBezTo>
                    <a:pt x="2385" y="2613"/>
                    <a:pt x="2383" y="2610"/>
                    <a:pt x="2380" y="2608"/>
                  </a:cubicBezTo>
                  <a:cubicBezTo>
                    <a:pt x="2377" y="2605"/>
                    <a:pt x="2375" y="2602"/>
                    <a:pt x="2373" y="2600"/>
                  </a:cubicBezTo>
                  <a:cubicBezTo>
                    <a:pt x="2371" y="2598"/>
                    <a:pt x="2370" y="2596"/>
                    <a:pt x="2370" y="2595"/>
                  </a:cubicBezTo>
                  <a:cubicBezTo>
                    <a:pt x="2369" y="2593"/>
                    <a:pt x="2369" y="2592"/>
                    <a:pt x="2369" y="2591"/>
                  </a:cubicBezTo>
                  <a:cubicBezTo>
                    <a:pt x="2369" y="2589"/>
                    <a:pt x="2370" y="2588"/>
                    <a:pt x="2371" y="2587"/>
                  </a:cubicBezTo>
                  <a:lnTo>
                    <a:pt x="2510" y="2448"/>
                  </a:lnTo>
                  <a:lnTo>
                    <a:pt x="2488" y="2426"/>
                  </a:lnTo>
                  <a:cubicBezTo>
                    <a:pt x="2486" y="2424"/>
                    <a:pt x="2485" y="2421"/>
                    <a:pt x="2486" y="2418"/>
                  </a:cubicBezTo>
                  <a:cubicBezTo>
                    <a:pt x="2487" y="2416"/>
                    <a:pt x="2490" y="2412"/>
                    <a:pt x="2494" y="2408"/>
                  </a:cubicBezTo>
                  <a:cubicBezTo>
                    <a:pt x="2496" y="2406"/>
                    <a:pt x="2498" y="2404"/>
                    <a:pt x="2500" y="2403"/>
                  </a:cubicBezTo>
                  <a:cubicBezTo>
                    <a:pt x="2502" y="2401"/>
                    <a:pt x="2503" y="2400"/>
                    <a:pt x="2505" y="2400"/>
                  </a:cubicBezTo>
                  <a:cubicBezTo>
                    <a:pt x="2506" y="2399"/>
                    <a:pt x="2508" y="2399"/>
                    <a:pt x="2509" y="2399"/>
                  </a:cubicBezTo>
                  <a:cubicBezTo>
                    <a:pt x="2510" y="2400"/>
                    <a:pt x="2511" y="2400"/>
                    <a:pt x="2512" y="2401"/>
                  </a:cubicBezTo>
                  <a:lnTo>
                    <a:pt x="2534" y="2424"/>
                  </a:lnTo>
                  <a:lnTo>
                    <a:pt x="2551" y="2407"/>
                  </a:lnTo>
                  <a:cubicBezTo>
                    <a:pt x="2562" y="2396"/>
                    <a:pt x="2572" y="2388"/>
                    <a:pt x="2582" y="2382"/>
                  </a:cubicBezTo>
                  <a:cubicBezTo>
                    <a:pt x="2592" y="2376"/>
                    <a:pt x="2602" y="2373"/>
                    <a:pt x="2611" y="2372"/>
                  </a:cubicBezTo>
                  <a:cubicBezTo>
                    <a:pt x="2621" y="2371"/>
                    <a:pt x="2630" y="2373"/>
                    <a:pt x="2639" y="2377"/>
                  </a:cubicBezTo>
                  <a:cubicBezTo>
                    <a:pt x="2647" y="2381"/>
                    <a:pt x="2656" y="2387"/>
                    <a:pt x="2665" y="2396"/>
                  </a:cubicBezTo>
                  <a:cubicBezTo>
                    <a:pt x="2669" y="2400"/>
                    <a:pt x="2673" y="2404"/>
                    <a:pt x="2676" y="2409"/>
                  </a:cubicBezTo>
                  <a:cubicBezTo>
                    <a:pt x="2679" y="2414"/>
                    <a:pt x="2681" y="2417"/>
                    <a:pt x="2682" y="2420"/>
                  </a:cubicBezTo>
                  <a:cubicBezTo>
                    <a:pt x="2684" y="2423"/>
                    <a:pt x="2684" y="2426"/>
                    <a:pt x="2684" y="2427"/>
                  </a:cubicBezTo>
                  <a:cubicBezTo>
                    <a:pt x="2684" y="2428"/>
                    <a:pt x="2684" y="2430"/>
                    <a:pt x="2683" y="2431"/>
                  </a:cubicBezTo>
                  <a:cubicBezTo>
                    <a:pt x="2683" y="2433"/>
                    <a:pt x="2682" y="2435"/>
                    <a:pt x="2680" y="2437"/>
                  </a:cubicBezTo>
                  <a:cubicBezTo>
                    <a:pt x="2679" y="2438"/>
                    <a:pt x="2677" y="2440"/>
                    <a:pt x="2675" y="2443"/>
                  </a:cubicBez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416" name="Oval 163"/>
            <p:cNvSpPr>
              <a:spLocks noChangeArrowheads="1"/>
            </p:cNvSpPr>
            <p:nvPr/>
          </p:nvSpPr>
          <p:spPr bwMode="auto">
            <a:xfrm>
              <a:off x="813" y="1948"/>
              <a:ext cx="38" cy="38"/>
            </a:xfrm>
            <a:prstGeom prst="ellipse">
              <a:avLst/>
            </a:prstGeom>
            <a:solidFill>
              <a:srgbClr val="80808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sp>
          <p:nvSpPr>
            <p:cNvPr id="12417" name="Oval 164"/>
            <p:cNvSpPr>
              <a:spLocks noChangeArrowheads="1"/>
            </p:cNvSpPr>
            <p:nvPr/>
          </p:nvSpPr>
          <p:spPr bwMode="auto">
            <a:xfrm>
              <a:off x="819" y="1954"/>
              <a:ext cx="26" cy="26"/>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pl-PL"/>
            </a:p>
          </p:txBody>
        </p:sp>
      </p:grpSp>
    </p:spTree>
    <p:extLst>
      <p:ext uri="{BB962C8B-B14F-4D97-AF65-F5344CB8AC3E}">
        <p14:creationId xmlns:p14="http://schemas.microsoft.com/office/powerpoint/2010/main" val="41181108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ext Box 3"/>
          <p:cNvSpPr txBox="1">
            <a:spLocks noChangeArrowheads="1"/>
          </p:cNvSpPr>
          <p:nvPr/>
        </p:nvSpPr>
        <p:spPr bwMode="auto">
          <a:xfrm>
            <a:off x="413544" y="695326"/>
            <a:ext cx="6889750" cy="862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07763" dir="18900000" algn="ctr" rotWithShape="0">
                    <a:schemeClr val="bg2"/>
                  </a:outerShdw>
                </a:effectLst>
              </a14:hiddenEffects>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fontAlgn="base">
              <a:spcBef>
                <a:spcPct val="50000"/>
              </a:spcBef>
              <a:spcAft>
                <a:spcPct val="0"/>
              </a:spcAft>
              <a:buFontTx/>
              <a:buNone/>
            </a:pPr>
            <a:r>
              <a:rPr lang="en-GB" altLang="fr-FR" sz="2000" b="1" dirty="0">
                <a:solidFill>
                  <a:srgbClr val="000000"/>
                </a:solidFill>
                <a:latin typeface="DB Office" pitchFamily="34" charset="0"/>
                <a:cs typeface="Arial" pitchFamily="34" charset="0"/>
              </a:rPr>
              <a:t>Impact of TCR TT 20</a:t>
            </a:r>
            <a:r>
              <a:rPr lang="pl-PL" altLang="fr-FR" sz="2000" b="1" dirty="0">
                <a:solidFill>
                  <a:srgbClr val="000000"/>
                </a:solidFill>
                <a:latin typeface="DB Office" pitchFamily="34" charset="0"/>
                <a:cs typeface="Arial" pitchFamily="34" charset="0"/>
              </a:rPr>
              <a:t>26</a:t>
            </a:r>
            <a:r>
              <a:rPr lang="en-GB" altLang="fr-FR" sz="2000" b="1" dirty="0">
                <a:solidFill>
                  <a:srgbClr val="000000"/>
                </a:solidFill>
                <a:latin typeface="DB Office" pitchFamily="34" charset="0"/>
                <a:cs typeface="Arial" pitchFamily="34" charset="0"/>
              </a:rPr>
              <a:t> at </a:t>
            </a:r>
            <a:r>
              <a:rPr lang="pl-PL" altLang="fr-FR" sz="2000" b="1" dirty="0">
                <a:solidFill>
                  <a:prstClr val="black"/>
                </a:solidFill>
                <a:latin typeface="DB Office" pitchFamily="34" charset="0"/>
                <a:cs typeface="Arial" pitchFamily="34" charset="0"/>
              </a:rPr>
              <a:t>PKP PLK</a:t>
            </a:r>
            <a:endParaRPr lang="en-GB" altLang="fr-FR" sz="2000" b="1" dirty="0">
              <a:solidFill>
                <a:prstClr val="black"/>
              </a:solidFill>
              <a:latin typeface="DB Office" pitchFamily="34" charset="0"/>
              <a:cs typeface="Arial" pitchFamily="34" charset="0"/>
            </a:endParaRPr>
          </a:p>
          <a:p>
            <a:pPr fontAlgn="base">
              <a:spcBef>
                <a:spcPct val="50000"/>
              </a:spcBef>
              <a:spcAft>
                <a:spcPct val="0"/>
              </a:spcAft>
              <a:buFontTx/>
              <a:buNone/>
            </a:pPr>
            <a:r>
              <a:rPr lang="pl-PL" altLang="fr-FR" sz="2000" b="1" dirty="0">
                <a:solidFill>
                  <a:srgbClr val="000000"/>
                </a:solidFill>
                <a:latin typeface="DB Office" pitchFamily="34" charset="0"/>
                <a:cs typeface="Arial" pitchFamily="34" charset="0"/>
              </a:rPr>
              <a:t>Rzepin</a:t>
            </a:r>
            <a:r>
              <a:rPr lang="fr-BE" altLang="fr-FR" sz="2000" b="1" dirty="0">
                <a:solidFill>
                  <a:srgbClr val="000000"/>
                </a:solidFill>
                <a:latin typeface="DB Office" pitchFamily="34" charset="0"/>
                <a:cs typeface="Arial" pitchFamily="34" charset="0"/>
              </a:rPr>
              <a:t>– </a:t>
            </a:r>
            <a:r>
              <a:rPr lang="pl-PL" sz="2000" b="1" dirty="0">
                <a:latin typeface="+mn-lt"/>
              </a:rPr>
              <a:t>Poznań Starołęka</a:t>
            </a:r>
            <a:endParaRPr lang="de-DE" altLang="fr-FR" sz="2000" b="1" dirty="0">
              <a:solidFill>
                <a:srgbClr val="FF0000"/>
              </a:solidFill>
              <a:latin typeface="DB Office" pitchFamily="34" charset="0"/>
              <a:cs typeface="Arial" pitchFamily="34" charset="0"/>
            </a:endParaRPr>
          </a:p>
        </p:txBody>
      </p:sp>
      <p:graphicFrame>
        <p:nvGraphicFramePr>
          <p:cNvPr id="10" name="Inhaltsplatzhalter 8"/>
          <p:cNvGraphicFramePr>
            <a:graphicFrameLocks/>
          </p:cNvGraphicFramePr>
          <p:nvPr/>
        </p:nvGraphicFramePr>
        <p:xfrm>
          <a:off x="5611019" y="1766889"/>
          <a:ext cx="3660080" cy="1724025"/>
        </p:xfrm>
        <a:graphic>
          <a:graphicData uri="http://schemas.openxmlformats.org/drawingml/2006/table">
            <a:tbl>
              <a:tblPr firstRow="1" bandRow="1">
                <a:tableStyleId>{5C22544A-7EE6-4342-B048-85BDC9FD1C3A}</a:tableStyleId>
              </a:tblPr>
              <a:tblGrid>
                <a:gridCol w="3660080">
                  <a:extLst>
                    <a:ext uri="{9D8B030D-6E8A-4147-A177-3AD203B41FA5}">
                      <a16:colId xmlns:a16="http://schemas.microsoft.com/office/drawing/2014/main" val="20000"/>
                    </a:ext>
                  </a:extLst>
                </a:gridCol>
              </a:tblGrid>
              <a:tr h="412366">
                <a:tc>
                  <a:txBody>
                    <a:bodyPr/>
                    <a:lstStyle/>
                    <a:p>
                      <a:pPr algn="l"/>
                      <a:r>
                        <a:rPr lang="pl-PL" sz="1400" i="0" noProof="0" dirty="0">
                          <a:solidFill>
                            <a:schemeClr val="tx1"/>
                          </a:solidFill>
                          <a:latin typeface="+mn-lt"/>
                        </a:rPr>
                        <a:t>High</a:t>
                      </a:r>
                      <a:r>
                        <a:rPr lang="en-US" sz="1400" i="0" noProof="0" dirty="0">
                          <a:solidFill>
                            <a:schemeClr val="tx1"/>
                          </a:solidFill>
                          <a:latin typeface="+mn-lt"/>
                        </a:rPr>
                        <a:t> Capacity</a:t>
                      </a:r>
                      <a:r>
                        <a:rPr lang="en-US" sz="1400" i="0" baseline="0" noProof="0" dirty="0">
                          <a:solidFill>
                            <a:schemeClr val="tx1"/>
                          </a:solidFill>
                          <a:latin typeface="+mn-lt"/>
                        </a:rPr>
                        <a:t> Restriction</a:t>
                      </a:r>
                      <a:endParaRPr lang="en-US" sz="1400" i="0" noProof="0" dirty="0">
                        <a:solidFill>
                          <a:schemeClr val="tx1"/>
                        </a:solidFill>
                        <a:latin typeface="+mn-lt"/>
                      </a:endParaRPr>
                    </a:p>
                  </a:txBody>
                  <a:tcPr marL="91438" marR="91438" marT="45727" marB="4572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10000"/>
                  </a:ext>
                </a:extLst>
              </a:tr>
              <a:tr h="1311659">
                <a:tc>
                  <a:txBody>
                    <a:bodyPr/>
                    <a:lstStyle/>
                    <a:p>
                      <a:r>
                        <a:rPr lang="en-US" sz="1200" i="0" noProof="0" dirty="0">
                          <a:solidFill>
                            <a:schemeClr val="tx1"/>
                          </a:solidFill>
                          <a:latin typeface="+mn-lt"/>
                        </a:rPr>
                        <a:t>Location: </a:t>
                      </a:r>
                      <a:r>
                        <a:rPr lang="pl-PL" sz="1200" i="0" baseline="0" noProof="0" dirty="0">
                          <a:solidFill>
                            <a:schemeClr val="tx1"/>
                          </a:solidFill>
                          <a:latin typeface="+mn-lt"/>
                        </a:rPr>
                        <a:t>Rzepin - Poznań Starołęka</a:t>
                      </a:r>
                      <a:endParaRPr lang="en-US" sz="1200" i="0" baseline="0" noProof="0" dirty="0">
                        <a:solidFill>
                          <a:schemeClr val="tx1"/>
                        </a:solidFill>
                        <a:latin typeface="+mn-lt"/>
                      </a:endParaRPr>
                    </a:p>
                    <a:p>
                      <a:r>
                        <a:rPr lang="en-US" sz="1200" i="0" noProof="0" dirty="0">
                          <a:solidFill>
                            <a:schemeClr val="tx1"/>
                          </a:solidFill>
                          <a:latin typeface="+mn-lt"/>
                        </a:rPr>
                        <a:t>Type: </a:t>
                      </a:r>
                      <a:endParaRPr lang="pl-PL" sz="1200" b="0" i="0" u="none" noProof="0" dirty="0">
                        <a:solidFill>
                          <a:schemeClr val="tx1"/>
                        </a:solidFill>
                        <a:latin typeface="+mn-lt"/>
                      </a:endParaRPr>
                    </a:p>
                    <a:p>
                      <a:pPr marL="171450" indent="-171450">
                        <a:buFont typeface="Arial" panose="020B0604020202020204" pitchFamily="34" charset="0"/>
                        <a:buChar char="•"/>
                      </a:pPr>
                      <a:r>
                        <a:rPr lang="en-US" sz="1200" b="0" i="0" u="none" noProof="0" dirty="0">
                          <a:solidFill>
                            <a:schemeClr val="tx1"/>
                          </a:solidFill>
                          <a:latin typeface="+mn-lt"/>
                        </a:rPr>
                        <a:t>one track operations</a:t>
                      </a:r>
                      <a:r>
                        <a:rPr lang="en-US" sz="1200" b="0" i="0" u="none" baseline="0" noProof="0" dirty="0">
                          <a:solidFill>
                            <a:schemeClr val="tx1"/>
                          </a:solidFill>
                          <a:latin typeface="+mn-lt"/>
                        </a:rPr>
                        <a:t>, see calendar</a:t>
                      </a:r>
                      <a:endParaRPr lang="en-US" sz="1200" b="0" i="0" u="none" noProof="0" dirty="0">
                        <a:solidFill>
                          <a:schemeClr val="tx1"/>
                        </a:solidFill>
                        <a:latin typeface="+mn-lt"/>
                      </a:endParaRPr>
                    </a:p>
                    <a:p>
                      <a:pPr marL="182563" indent="-182563">
                        <a:buFont typeface="Arial" panose="020B0604020202020204" pitchFamily="34" charset="0"/>
                        <a:buChar char="•"/>
                      </a:pPr>
                      <a:r>
                        <a:rPr lang="pl-PL" sz="1200" i="0" noProof="0" dirty="0" err="1">
                          <a:solidFill>
                            <a:schemeClr val="tx1"/>
                          </a:solidFill>
                          <a:latin typeface="+mn-lt"/>
                        </a:rPr>
                        <a:t>Renewal</a:t>
                      </a:r>
                      <a:r>
                        <a:rPr lang="pl-PL" sz="1200" i="0" noProof="0" dirty="0">
                          <a:solidFill>
                            <a:schemeClr val="tx1"/>
                          </a:solidFill>
                          <a:latin typeface="+mn-lt"/>
                        </a:rPr>
                        <a:t> </a:t>
                      </a:r>
                      <a:r>
                        <a:rPr lang="en-US" sz="1200" i="0" noProof="0" dirty="0">
                          <a:solidFill>
                            <a:schemeClr val="tx1"/>
                          </a:solidFill>
                          <a:latin typeface="+mn-lt"/>
                        </a:rPr>
                        <a:t>Works: </a:t>
                      </a:r>
                      <a:r>
                        <a:rPr lang="pl-PL" sz="1200" i="0" noProof="0" dirty="0" err="1">
                          <a:solidFill>
                            <a:schemeClr val="tx1"/>
                          </a:solidFill>
                          <a:latin typeface="+mn-lt"/>
                        </a:rPr>
                        <a:t>Track</a:t>
                      </a:r>
                      <a:r>
                        <a:rPr lang="pl-PL" sz="1200" i="0" noProof="0" dirty="0">
                          <a:solidFill>
                            <a:schemeClr val="tx1"/>
                          </a:solidFill>
                          <a:latin typeface="+mn-lt"/>
                        </a:rPr>
                        <a:t> </a:t>
                      </a:r>
                      <a:r>
                        <a:rPr lang="pl-PL" sz="1200" i="0" noProof="0" dirty="0" err="1">
                          <a:solidFill>
                            <a:schemeClr val="tx1"/>
                          </a:solidFill>
                          <a:latin typeface="+mn-lt"/>
                        </a:rPr>
                        <a:t>works</a:t>
                      </a:r>
                      <a:endParaRPr lang="pl-PL" sz="1200" i="0" noProof="0" dirty="0">
                        <a:solidFill>
                          <a:schemeClr val="tx1"/>
                        </a:solidFill>
                        <a:latin typeface="+mn-lt"/>
                      </a:endParaRPr>
                    </a:p>
                    <a:p>
                      <a:pPr marL="182563" indent="-182563">
                        <a:buFont typeface="Arial" panose="020B0604020202020204" pitchFamily="34" charset="0"/>
                        <a:buChar char="•"/>
                      </a:pPr>
                      <a:r>
                        <a:rPr lang="en-US" sz="1200" i="0" noProof="0" dirty="0">
                          <a:solidFill>
                            <a:schemeClr val="tx1"/>
                          </a:solidFill>
                          <a:latin typeface="+mn-lt"/>
                        </a:rPr>
                        <a:t>Duration: Continuous</a:t>
                      </a:r>
                      <a:endParaRPr lang="en-US" sz="1000" i="0" noProof="0" dirty="0">
                        <a:solidFill>
                          <a:schemeClr val="tx1"/>
                        </a:solidFill>
                        <a:latin typeface="+mn-lt"/>
                      </a:endParaRPr>
                    </a:p>
                  </a:txBody>
                  <a:tcPr marL="91438" marR="91438" marT="45727" marB="4572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graphicFrame>
        <p:nvGraphicFramePr>
          <p:cNvPr id="11" name="Inhaltsplatzhalter 8"/>
          <p:cNvGraphicFramePr>
            <a:graphicFrameLocks/>
          </p:cNvGraphicFramePr>
          <p:nvPr>
            <p:extLst>
              <p:ext uri="{D42A27DB-BD31-4B8C-83A1-F6EECF244321}">
                <p14:modId xmlns:p14="http://schemas.microsoft.com/office/powerpoint/2010/main" val="2448466888"/>
              </p:ext>
            </p:extLst>
          </p:nvPr>
        </p:nvGraphicFramePr>
        <p:xfrm>
          <a:off x="702470" y="4711701"/>
          <a:ext cx="4321175" cy="1797955"/>
        </p:xfrm>
        <a:graphic>
          <a:graphicData uri="http://schemas.openxmlformats.org/drawingml/2006/table">
            <a:tbl>
              <a:tblPr firstRow="1" bandRow="1">
                <a:tableStyleId>{5C22544A-7EE6-4342-B048-85BDC9FD1C3A}</a:tableStyleId>
              </a:tblPr>
              <a:tblGrid>
                <a:gridCol w="4321175">
                  <a:extLst>
                    <a:ext uri="{9D8B030D-6E8A-4147-A177-3AD203B41FA5}">
                      <a16:colId xmlns:a16="http://schemas.microsoft.com/office/drawing/2014/main" val="20000"/>
                    </a:ext>
                  </a:extLst>
                </a:gridCol>
              </a:tblGrid>
              <a:tr h="391048">
                <a:tc>
                  <a:txBody>
                    <a:bodyPr/>
                    <a:lstStyle/>
                    <a:p>
                      <a:pPr algn="l"/>
                      <a:r>
                        <a:rPr lang="en-US" sz="1400" noProof="0" dirty="0">
                          <a:solidFill>
                            <a:schemeClr val="tx1"/>
                          </a:solidFill>
                          <a:latin typeface="+mn-lt"/>
                        </a:rPr>
                        <a:t>Impact on</a:t>
                      </a:r>
                      <a:r>
                        <a:rPr lang="en-US" sz="1400" baseline="0" noProof="0" dirty="0">
                          <a:solidFill>
                            <a:schemeClr val="tx1"/>
                          </a:solidFill>
                          <a:latin typeface="+mn-lt"/>
                        </a:rPr>
                        <a:t> </a:t>
                      </a:r>
                      <a:r>
                        <a:rPr lang="en-US" sz="1400" noProof="0" dirty="0">
                          <a:solidFill>
                            <a:schemeClr val="tx1"/>
                          </a:solidFill>
                          <a:latin typeface="+mn-lt"/>
                        </a:rPr>
                        <a:t>International Rail Freight </a:t>
                      </a:r>
                      <a:r>
                        <a:rPr lang="en-US" sz="1400" baseline="0" noProof="0" dirty="0">
                          <a:solidFill>
                            <a:schemeClr val="tx1"/>
                          </a:solidFill>
                          <a:latin typeface="+mn-lt"/>
                        </a:rPr>
                        <a:t> </a:t>
                      </a:r>
                      <a:endParaRPr lang="en-US" sz="1400" noProof="0" dirty="0">
                        <a:solidFill>
                          <a:schemeClr val="tx1"/>
                        </a:solidFill>
                        <a:latin typeface="+mn-lt"/>
                      </a:endParaRPr>
                    </a:p>
                  </a:txBody>
                  <a:tcPr marL="91429" marR="91429"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CC00"/>
                    </a:solidFill>
                  </a:tcPr>
                </a:tc>
                <a:extLst>
                  <a:ext uri="{0D108BD9-81ED-4DB2-BD59-A6C34878D82A}">
                    <a16:rowId xmlns:a16="http://schemas.microsoft.com/office/drawing/2014/main" val="10000"/>
                  </a:ext>
                </a:extLst>
              </a:tr>
              <a:tr h="1406907">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noProof="0" dirty="0">
                          <a:solidFill>
                            <a:schemeClr val="tx1"/>
                          </a:solidFill>
                        </a:rPr>
                        <a:t>percentage of rerouting or cancellation: </a:t>
                      </a:r>
                      <a:r>
                        <a:rPr lang="pl-PL" sz="1200" i="0" noProof="0" dirty="0">
                          <a:solidFill>
                            <a:schemeClr val="tx1"/>
                          </a:solidFill>
                        </a:rPr>
                        <a:t>0</a:t>
                      </a:r>
                      <a:r>
                        <a:rPr lang="en-US" sz="1200" i="0" noProof="0" dirty="0">
                          <a:solidFill>
                            <a:schemeClr val="tx1"/>
                          </a:solidFill>
                        </a:rPr>
                        <a:t>% rerouting</a:t>
                      </a:r>
                      <a:r>
                        <a:rPr lang="pl-PL" sz="1200" i="0" noProof="0" dirty="0">
                          <a:solidFill>
                            <a:schemeClr val="tx1"/>
                          </a:solidFill>
                        </a:rPr>
                        <a:t>; one truck </a:t>
                      </a:r>
                      <a:r>
                        <a:rPr lang="pl-PL" sz="1200" i="0" noProof="0" dirty="0" err="1">
                          <a:solidFill>
                            <a:schemeClr val="tx1"/>
                          </a:solidFill>
                        </a:rPr>
                        <a:t>operation</a:t>
                      </a:r>
                      <a:endParaRPr lang="pl-PL" sz="1200" i="0" noProof="0" dirty="0">
                        <a:solidFill>
                          <a:schemeClr val="tx1"/>
                        </a:solidFill>
                      </a:endParaRPr>
                    </a:p>
                    <a:p>
                      <a:pPr marL="285750" indent="-285750" algn="l">
                        <a:buFont typeface="Arial" panose="020B0604020202020204" pitchFamily="34" charset="0"/>
                        <a:buChar char="•"/>
                      </a:pPr>
                      <a:r>
                        <a:rPr lang="en-US" sz="1200" i="0" noProof="0" dirty="0">
                          <a:solidFill>
                            <a:schemeClr val="tx1"/>
                          </a:solidFill>
                        </a:rPr>
                        <a:t>timetable: </a:t>
                      </a:r>
                      <a:r>
                        <a:rPr lang="en-US" sz="1200" i="0" baseline="0" noProof="0" dirty="0">
                          <a:solidFill>
                            <a:schemeClr val="tx1"/>
                          </a:solidFill>
                        </a:rPr>
                        <a:t>TT</a:t>
                      </a:r>
                      <a:r>
                        <a:rPr lang="pl-PL" sz="1200" i="0" baseline="0" noProof="0" dirty="0">
                          <a:solidFill>
                            <a:schemeClr val="tx1"/>
                          </a:solidFill>
                        </a:rPr>
                        <a:t> 2025 - 2026</a:t>
                      </a:r>
                      <a:endParaRPr lang="en-US" sz="1200" i="0" baseline="0" noProof="0" dirty="0">
                        <a:solidFill>
                          <a:schemeClr val="tx1"/>
                        </a:solidFill>
                      </a:endParaRPr>
                    </a:p>
                    <a:p>
                      <a:pPr marL="285750" indent="-285750" algn="l">
                        <a:buFont typeface="Arial" panose="020B0604020202020204" pitchFamily="34" charset="0"/>
                        <a:buChar char="•"/>
                      </a:pPr>
                      <a:r>
                        <a:rPr lang="pl-PL" sz="1200" i="0" noProof="0" dirty="0">
                          <a:solidFill>
                            <a:schemeClr val="tx1"/>
                          </a:solidFill>
                        </a:rPr>
                        <a:t>no r</a:t>
                      </a:r>
                      <a:r>
                        <a:rPr lang="en-US" sz="1200" i="0" noProof="0" dirty="0" err="1">
                          <a:solidFill>
                            <a:schemeClr val="tx1"/>
                          </a:solidFill>
                        </a:rPr>
                        <a:t>estrictions</a:t>
                      </a:r>
                      <a:r>
                        <a:rPr lang="en-US" sz="1200" i="0" noProof="0" dirty="0">
                          <a:solidFill>
                            <a:schemeClr val="tx1"/>
                          </a:solidFill>
                        </a:rPr>
                        <a:t> in train parameters</a:t>
                      </a:r>
                      <a:endParaRPr lang="en-US" sz="1200" i="0" baseline="0" noProof="0" dirty="0">
                        <a:latin typeface="+mn-lt"/>
                      </a:endParaRPr>
                    </a:p>
                  </a:txBody>
                  <a:tcPr marL="91429" marR="91429"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3082" name="Textfeld 18"/>
          <p:cNvSpPr txBox="1">
            <a:spLocks noChangeArrowheads="1"/>
          </p:cNvSpPr>
          <p:nvPr/>
        </p:nvSpPr>
        <p:spPr bwMode="auto">
          <a:xfrm>
            <a:off x="702469" y="1739901"/>
            <a:ext cx="4325938" cy="307975"/>
          </a:xfrm>
          <a:prstGeom prst="rect">
            <a:avLst/>
          </a:prstGeom>
          <a:solidFill>
            <a:srgbClr val="FFCC00"/>
          </a:solidFill>
          <a:ln w="9525">
            <a:solidFill>
              <a:srgbClr val="0066FF"/>
            </a:solidFill>
            <a:miter lim="800000"/>
            <a:headEnd/>
            <a:tailEnd/>
          </a:ln>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de-DE" altLang="fr-FR" sz="1400" b="1">
                <a:solidFill>
                  <a:prstClr val="black"/>
                </a:solidFill>
                <a:cs typeface="Arial" pitchFamily="34" charset="0"/>
              </a:rPr>
              <a:t>Map view</a:t>
            </a:r>
          </a:p>
        </p:txBody>
      </p:sp>
      <p:sp>
        <p:nvSpPr>
          <p:cNvPr id="3084" name="Rechteck 20"/>
          <p:cNvSpPr>
            <a:spLocks noChangeArrowheads="1"/>
          </p:cNvSpPr>
          <p:nvPr/>
        </p:nvSpPr>
        <p:spPr bwMode="auto">
          <a:xfrm>
            <a:off x="702469" y="2030414"/>
            <a:ext cx="4325938" cy="2681287"/>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fontAlgn="base">
              <a:spcBef>
                <a:spcPct val="50000"/>
              </a:spcBef>
              <a:spcAft>
                <a:spcPct val="0"/>
              </a:spcAft>
              <a:buFontTx/>
              <a:buNone/>
            </a:pPr>
            <a:endParaRPr lang="de-DE" altLang="fr-FR" sz="1200" b="1">
              <a:solidFill>
                <a:prstClr val="black"/>
              </a:solidFill>
              <a:latin typeface="DB Office" pitchFamily="34" charset="0"/>
              <a:cs typeface="Arial" pitchFamily="34" charset="0"/>
            </a:endParaRPr>
          </a:p>
        </p:txBody>
      </p:sp>
      <p:sp>
        <p:nvSpPr>
          <p:cNvPr id="161" name="Textfeld 17">
            <a:extLst>
              <a:ext uri="{FF2B5EF4-FFF2-40B4-BE49-F238E27FC236}">
                <a16:creationId xmlns:a16="http://schemas.microsoft.com/office/drawing/2014/main" id="{F9549817-561A-44C0-9F15-31EF7675D3A6}"/>
              </a:ext>
            </a:extLst>
          </p:cNvPr>
          <p:cNvSpPr txBox="1">
            <a:spLocks noChangeArrowheads="1"/>
          </p:cNvSpPr>
          <p:nvPr/>
        </p:nvSpPr>
        <p:spPr bwMode="auto">
          <a:xfrm>
            <a:off x="8008145" y="671884"/>
            <a:ext cx="77457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pl-PL" altLang="fr-FR" sz="1000" dirty="0">
                <a:solidFill>
                  <a:prstClr val="black"/>
                </a:solidFill>
                <a:cs typeface="Arial" pitchFamily="34" charset="0"/>
              </a:rPr>
              <a:t>20</a:t>
            </a:r>
            <a:r>
              <a:rPr lang="de-DE" altLang="fr-FR" sz="1000" dirty="0">
                <a:solidFill>
                  <a:prstClr val="black"/>
                </a:solidFill>
                <a:cs typeface="Arial" pitchFamily="34" charset="0"/>
              </a:rPr>
              <a:t>.</a:t>
            </a:r>
            <a:r>
              <a:rPr lang="pl-PL" altLang="fr-FR" sz="1000" dirty="0">
                <a:solidFill>
                  <a:prstClr val="black"/>
                </a:solidFill>
                <a:cs typeface="Arial" pitchFamily="34" charset="0"/>
              </a:rPr>
              <a:t>01</a:t>
            </a:r>
            <a:r>
              <a:rPr lang="de-DE" altLang="fr-FR" sz="1000" dirty="0">
                <a:solidFill>
                  <a:prstClr val="black"/>
                </a:solidFill>
                <a:cs typeface="Arial" pitchFamily="34" charset="0"/>
              </a:rPr>
              <a:t>.202</a:t>
            </a:r>
            <a:r>
              <a:rPr lang="pl-PL" altLang="fr-FR" sz="1000" dirty="0">
                <a:solidFill>
                  <a:prstClr val="black"/>
                </a:solidFill>
                <a:cs typeface="Arial" pitchFamily="34" charset="0"/>
              </a:rPr>
              <a:t>5</a:t>
            </a:r>
            <a:endParaRPr lang="de-DE" altLang="fr-FR" sz="1000" dirty="0">
              <a:solidFill>
                <a:srgbClr val="FF0000"/>
              </a:solidFill>
              <a:cs typeface="Arial" pitchFamily="34" charset="0"/>
            </a:endParaRPr>
          </a:p>
        </p:txBody>
      </p:sp>
      <p:pic>
        <p:nvPicPr>
          <p:cNvPr id="9" name="Obraz 8">
            <a:extLst>
              <a:ext uri="{FF2B5EF4-FFF2-40B4-BE49-F238E27FC236}">
                <a16:creationId xmlns:a16="http://schemas.microsoft.com/office/drawing/2014/main" id="{E559DDD6-174A-D19E-4CDF-FBA2716536C2}"/>
              </a:ext>
            </a:extLst>
          </p:cNvPr>
          <p:cNvPicPr>
            <a:picLocks noChangeAspect="1"/>
          </p:cNvPicPr>
          <p:nvPr/>
        </p:nvPicPr>
        <p:blipFill>
          <a:blip r:embed="rId3"/>
          <a:stretch>
            <a:fillRect/>
          </a:stretch>
        </p:blipFill>
        <p:spPr>
          <a:xfrm>
            <a:off x="774155" y="2212165"/>
            <a:ext cx="4237036" cy="2046918"/>
          </a:xfrm>
          <a:prstGeom prst="rect">
            <a:avLst/>
          </a:prstGeom>
        </p:spPr>
      </p:pic>
      <p:graphicFrame>
        <p:nvGraphicFramePr>
          <p:cNvPr id="12418" name="Object 6">
            <a:extLst>
              <a:ext uri="{FF2B5EF4-FFF2-40B4-BE49-F238E27FC236}">
                <a16:creationId xmlns:a16="http://schemas.microsoft.com/office/drawing/2014/main" id="{DD099DB2-18AB-76E0-E450-5E30CA783684}"/>
              </a:ext>
            </a:extLst>
          </p:cNvPr>
          <p:cNvGraphicFramePr>
            <a:graphicFrameLocks noChangeAspect="1"/>
          </p:cNvGraphicFramePr>
          <p:nvPr/>
        </p:nvGraphicFramePr>
        <p:xfrm>
          <a:off x="5611020" y="3616325"/>
          <a:ext cx="3559175" cy="2800350"/>
        </p:xfrm>
        <a:graphic>
          <a:graphicData uri="http://schemas.openxmlformats.org/presentationml/2006/ole">
            <mc:AlternateContent xmlns:mc="http://schemas.openxmlformats.org/markup-compatibility/2006">
              <mc:Choice xmlns:v="urn:schemas-microsoft-com:vml" Requires="v">
                <p:oleObj name="Worksheet" r:id="rId4" imgW="11677732" imgH="9105793" progId="Excel.Sheet.12">
                  <p:embed/>
                </p:oleObj>
              </mc:Choice>
              <mc:Fallback>
                <p:oleObj name="Worksheet" r:id="rId4" imgW="11677732" imgH="9105793" progId="Excel.Sheet.12">
                  <p:embed/>
                  <p:pic>
                    <p:nvPicPr>
                      <p:cNvPr id="12418" name="Object 6">
                        <a:extLst>
                          <a:ext uri="{FF2B5EF4-FFF2-40B4-BE49-F238E27FC236}">
                            <a16:creationId xmlns:a16="http://schemas.microsoft.com/office/drawing/2014/main" id="{DD099DB2-18AB-76E0-E450-5E30CA783684}"/>
                          </a:ext>
                        </a:extLst>
                      </p:cNvPr>
                      <p:cNvPicPr/>
                      <p:nvPr/>
                    </p:nvPicPr>
                    <p:blipFill>
                      <a:blip r:embed="rId5"/>
                      <a:stretch>
                        <a:fillRect/>
                      </a:stretch>
                    </p:blipFill>
                    <p:spPr>
                      <a:xfrm>
                        <a:off x="5611020" y="3616325"/>
                        <a:ext cx="3559175" cy="2800350"/>
                      </a:xfrm>
                      <a:prstGeom prst="rect">
                        <a:avLst/>
                      </a:prstGeom>
                      <a:ln>
                        <a:solidFill>
                          <a:schemeClr val="accent1"/>
                        </a:solidFill>
                      </a:ln>
                    </p:spPr>
                  </p:pic>
                </p:oleObj>
              </mc:Fallback>
            </mc:AlternateContent>
          </a:graphicData>
        </a:graphic>
      </p:graphicFrame>
    </p:spTree>
    <p:extLst>
      <p:ext uri="{BB962C8B-B14F-4D97-AF65-F5344CB8AC3E}">
        <p14:creationId xmlns:p14="http://schemas.microsoft.com/office/powerpoint/2010/main" val="12264733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410873" y="904395"/>
            <a:ext cx="6362828" cy="8029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07763" dir="18900000" algn="ctr" rotWithShape="0">
                    <a:schemeClr val="bg2"/>
                  </a:outerShdw>
                </a:effectLst>
              </a14:hiddenEffects>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l">
              <a:spcBef>
                <a:spcPct val="50000"/>
              </a:spcBef>
              <a:buNone/>
            </a:pPr>
            <a:r>
              <a:rPr lang="en-GB" altLang="fr-FR" sz="1847" b="1" dirty="0">
                <a:solidFill>
                  <a:srgbClr val="000000"/>
                </a:solidFill>
                <a:cs typeface="Calibri" panose="020F0502020204030204" pitchFamily="34" charset="0"/>
              </a:rPr>
              <a:t>Impact of TCR TT 202</a:t>
            </a:r>
            <a:r>
              <a:rPr lang="cs-CZ" altLang="fr-FR" sz="1847" b="1" dirty="0">
                <a:solidFill>
                  <a:srgbClr val="000000"/>
                </a:solidFill>
                <a:cs typeface="Calibri" panose="020F0502020204030204" pitchFamily="34" charset="0"/>
              </a:rPr>
              <a:t>6</a:t>
            </a:r>
            <a:r>
              <a:rPr lang="en-GB" altLang="fr-FR" sz="1847" b="1" dirty="0">
                <a:solidFill>
                  <a:srgbClr val="000000"/>
                </a:solidFill>
                <a:cs typeface="Calibri" panose="020F0502020204030204" pitchFamily="34" charset="0"/>
              </a:rPr>
              <a:t> at </a:t>
            </a:r>
            <a:r>
              <a:rPr lang="cs-CZ" altLang="fr-FR" sz="1847" b="1" dirty="0">
                <a:solidFill>
                  <a:srgbClr val="000000"/>
                </a:solidFill>
                <a:cs typeface="Calibri" panose="020F0502020204030204" pitchFamily="34" charset="0"/>
              </a:rPr>
              <a:t>SZCZ</a:t>
            </a:r>
            <a:endParaRPr lang="en-GB" altLang="fr-FR" sz="1847" b="1" dirty="0">
              <a:solidFill>
                <a:prstClr val="black"/>
              </a:solidFill>
              <a:cs typeface="Calibri" panose="020F0502020204030204" pitchFamily="34" charset="0"/>
            </a:endParaRPr>
          </a:p>
          <a:p>
            <a:pPr algn="l">
              <a:spcBef>
                <a:spcPct val="50000"/>
              </a:spcBef>
              <a:buNone/>
            </a:pPr>
            <a:r>
              <a:rPr lang="en-GB" altLang="fr-FR" sz="1847" b="1" dirty="0">
                <a:solidFill>
                  <a:srgbClr val="000000"/>
                </a:solidFill>
                <a:cs typeface="Calibri" panose="020F0502020204030204" pitchFamily="34" charset="0"/>
              </a:rPr>
              <a:t>Section </a:t>
            </a:r>
            <a:r>
              <a:rPr lang="en-GB" altLang="fr-FR" sz="1847" b="1" dirty="0" err="1">
                <a:solidFill>
                  <a:srgbClr val="000000"/>
                </a:solidFill>
                <a:cs typeface="Calibri" panose="020F0502020204030204" pitchFamily="34" charset="0"/>
              </a:rPr>
              <a:t>Decin</a:t>
            </a:r>
            <a:r>
              <a:rPr lang="en-GB" altLang="fr-FR" sz="1847" b="1" dirty="0">
                <a:solidFill>
                  <a:srgbClr val="000000"/>
                </a:solidFill>
                <a:cs typeface="Calibri" panose="020F0502020204030204" pitchFamily="34" charset="0"/>
              </a:rPr>
              <a:t> - </a:t>
            </a:r>
            <a:r>
              <a:rPr lang="en-GB" altLang="fr-FR" sz="1847" b="1" dirty="0" err="1">
                <a:solidFill>
                  <a:srgbClr val="000000"/>
                </a:solidFill>
                <a:cs typeface="Calibri" panose="020F0502020204030204" pitchFamily="34" charset="0"/>
              </a:rPr>
              <a:t>Lysa</a:t>
            </a:r>
            <a:r>
              <a:rPr lang="en-GB" altLang="fr-FR" sz="1847" b="1" dirty="0">
                <a:solidFill>
                  <a:srgbClr val="000000"/>
                </a:solidFill>
                <a:cs typeface="Calibri" panose="020F0502020204030204" pitchFamily="34" charset="0"/>
              </a:rPr>
              <a:t> </a:t>
            </a:r>
            <a:r>
              <a:rPr lang="en-GB" altLang="fr-FR" sz="1847" b="1" dirty="0" err="1">
                <a:solidFill>
                  <a:srgbClr val="000000"/>
                </a:solidFill>
                <a:cs typeface="Calibri" panose="020F0502020204030204" pitchFamily="34" charset="0"/>
              </a:rPr>
              <a:t>nad</a:t>
            </a:r>
            <a:r>
              <a:rPr lang="en-GB" altLang="fr-FR" sz="1847" b="1" dirty="0">
                <a:solidFill>
                  <a:srgbClr val="000000"/>
                </a:solidFill>
                <a:cs typeface="Calibri" panose="020F0502020204030204" pitchFamily="34" charset="0"/>
              </a:rPr>
              <a:t> Labem</a:t>
            </a:r>
          </a:p>
        </p:txBody>
      </p:sp>
      <p:graphicFrame>
        <p:nvGraphicFramePr>
          <p:cNvPr id="3" name="Inhaltsplatzhalter 8"/>
          <p:cNvGraphicFramePr>
            <a:graphicFrameLocks/>
          </p:cNvGraphicFramePr>
          <p:nvPr/>
        </p:nvGraphicFramePr>
        <p:xfrm>
          <a:off x="5078078" y="1696157"/>
          <a:ext cx="3380160" cy="1592174"/>
        </p:xfrm>
        <a:graphic>
          <a:graphicData uri="http://schemas.openxmlformats.org/drawingml/2006/table">
            <a:tbl>
              <a:tblPr firstRow="1" bandRow="1">
                <a:tableStyleId>{5C22544A-7EE6-4342-B048-85BDC9FD1C3A}</a:tableStyleId>
              </a:tblPr>
              <a:tblGrid>
                <a:gridCol w="3380160">
                  <a:extLst>
                    <a:ext uri="{9D8B030D-6E8A-4147-A177-3AD203B41FA5}">
                      <a16:colId xmlns:a16="http://schemas.microsoft.com/office/drawing/2014/main" val="20000"/>
                    </a:ext>
                  </a:extLst>
                </a:gridCol>
              </a:tblGrid>
              <a:tr h="380829">
                <a:tc>
                  <a:txBody>
                    <a:bodyPr/>
                    <a:lstStyle/>
                    <a:p>
                      <a:pPr algn="l"/>
                      <a:r>
                        <a:rPr lang="en-US" sz="1300" i="0" noProof="0" dirty="0">
                          <a:solidFill>
                            <a:schemeClr val="tx1"/>
                          </a:solidFill>
                          <a:latin typeface="+mn-lt"/>
                        </a:rPr>
                        <a:t>Major Capacity</a:t>
                      </a:r>
                      <a:r>
                        <a:rPr lang="en-US" sz="1300" i="0" baseline="0" noProof="0" dirty="0">
                          <a:solidFill>
                            <a:schemeClr val="tx1"/>
                          </a:solidFill>
                          <a:latin typeface="+mn-lt"/>
                        </a:rPr>
                        <a:t> Restriction</a:t>
                      </a:r>
                      <a:endParaRPr lang="en-US" sz="1300" i="0" noProof="0" dirty="0">
                        <a:solidFill>
                          <a:schemeClr val="tx1"/>
                        </a:solidFill>
                        <a:latin typeface="+mn-lt"/>
                      </a:endParaRPr>
                    </a:p>
                  </a:txBody>
                  <a:tcPr marL="84445" marR="84445" marT="42230" marB="422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10000"/>
                  </a:ext>
                </a:extLst>
              </a:tr>
              <a:tr h="1211345">
                <a:tc>
                  <a:txBody>
                    <a:bodyPr/>
                    <a:lstStyle/>
                    <a:p>
                      <a:pPr marL="171450" indent="-171450">
                        <a:buFont typeface="Arial" panose="020B0604020202020204" pitchFamily="34" charset="0"/>
                        <a:buChar char="•"/>
                      </a:pPr>
                      <a:r>
                        <a:rPr lang="en-US" sz="1100" i="0" noProof="0" dirty="0">
                          <a:solidFill>
                            <a:schemeClr val="tx1"/>
                          </a:solidFill>
                          <a:latin typeface="+mn-lt"/>
                        </a:rPr>
                        <a:t>Location</a:t>
                      </a:r>
                      <a:r>
                        <a:rPr lang="cs-CZ" sz="1100" i="0" noProof="0" dirty="0">
                          <a:solidFill>
                            <a:schemeClr val="tx1"/>
                          </a:solidFill>
                          <a:latin typeface="+mn-lt"/>
                        </a:rPr>
                        <a:t> Litoměřice dolní n. - Polepy</a:t>
                      </a:r>
                      <a:endParaRPr lang="en-US" sz="1100" i="0" noProof="0" dirty="0">
                        <a:solidFill>
                          <a:schemeClr val="tx1"/>
                        </a:solidFill>
                        <a:latin typeface="+mn-lt"/>
                      </a:endParaRPr>
                    </a:p>
                    <a:p>
                      <a:pPr marL="171450" indent="-171450">
                        <a:buFont typeface="Arial" panose="020B0604020202020204" pitchFamily="34" charset="0"/>
                        <a:buChar char="•"/>
                      </a:pPr>
                      <a:r>
                        <a:rPr lang="en-US" sz="1100" i="0" noProof="0" dirty="0">
                          <a:solidFill>
                            <a:schemeClr val="tx1"/>
                          </a:solidFill>
                          <a:latin typeface="+mn-lt"/>
                        </a:rPr>
                        <a:t>Type: Single Track Operation</a:t>
                      </a:r>
                    </a:p>
                    <a:p>
                      <a:pPr marL="171450" indent="-171450">
                        <a:buFont typeface="Arial" panose="020B0604020202020204" pitchFamily="34" charset="0"/>
                        <a:buChar char="•"/>
                      </a:pPr>
                      <a:r>
                        <a:rPr lang="en-US" sz="1100" i="0" noProof="0" dirty="0">
                          <a:solidFill>
                            <a:schemeClr val="tx1"/>
                          </a:solidFill>
                          <a:latin typeface="+mn-lt"/>
                        </a:rPr>
                        <a:t>Period:</a:t>
                      </a:r>
                      <a:r>
                        <a:rPr lang="cs-CZ" sz="1100" i="0" noProof="0" dirty="0">
                          <a:solidFill>
                            <a:schemeClr val="tx1"/>
                          </a:solidFill>
                          <a:latin typeface="+mn-lt"/>
                        </a:rPr>
                        <a:t>  13.07. - 01.08.2026</a:t>
                      </a:r>
                      <a:endParaRPr lang="en-US" sz="1100" i="0" noProof="0" dirty="0">
                        <a:solidFill>
                          <a:schemeClr val="tx1"/>
                        </a:solidFill>
                        <a:latin typeface="+mn-lt"/>
                      </a:endParaRPr>
                    </a:p>
                    <a:p>
                      <a:pPr marL="171450" indent="-171450">
                        <a:buFont typeface="Arial" panose="020B0604020202020204" pitchFamily="34" charset="0"/>
                        <a:buChar char="•"/>
                      </a:pPr>
                      <a:r>
                        <a:rPr lang="en-US" sz="1100" i="0" noProof="0" dirty="0">
                          <a:solidFill>
                            <a:schemeClr val="tx1"/>
                          </a:solidFill>
                          <a:latin typeface="+mn-lt"/>
                        </a:rPr>
                        <a:t>Type of works:</a:t>
                      </a:r>
                      <a:r>
                        <a:rPr lang="cs-CZ" sz="1100" i="0" noProof="0" dirty="0">
                          <a:solidFill>
                            <a:schemeClr val="tx1"/>
                          </a:solidFill>
                          <a:latin typeface="+mn-lt"/>
                        </a:rPr>
                        <a:t> </a:t>
                      </a:r>
                      <a:r>
                        <a:rPr lang="cs-CZ" sz="1100" i="0" noProof="0" dirty="0" err="1">
                          <a:solidFill>
                            <a:schemeClr val="tx1"/>
                          </a:solidFill>
                          <a:latin typeface="+mn-lt"/>
                        </a:rPr>
                        <a:t>repairs</a:t>
                      </a:r>
                      <a:r>
                        <a:rPr lang="cs-CZ" sz="1100" i="0" noProof="0" dirty="0">
                          <a:solidFill>
                            <a:schemeClr val="tx1"/>
                          </a:solidFill>
                          <a:latin typeface="+mn-lt"/>
                        </a:rPr>
                        <a:t> and </a:t>
                      </a:r>
                      <a:r>
                        <a:rPr lang="cs-CZ" sz="1100" i="0" noProof="0" dirty="0" err="1">
                          <a:solidFill>
                            <a:schemeClr val="tx1"/>
                          </a:solidFill>
                          <a:latin typeface="+mn-lt"/>
                        </a:rPr>
                        <a:t>maintenance</a:t>
                      </a:r>
                      <a:endParaRPr lang="en-US" sz="900" i="0" noProof="0" dirty="0">
                        <a:solidFill>
                          <a:schemeClr val="tx1"/>
                        </a:solidFill>
                        <a:highlight>
                          <a:srgbClr val="FFFF00"/>
                        </a:highlight>
                        <a:latin typeface="+mn-lt"/>
                      </a:endParaRPr>
                    </a:p>
                  </a:txBody>
                  <a:tcPr marL="84445" marR="84445" marT="42230" marB="422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5" name="Textfeld 18"/>
          <p:cNvSpPr txBox="1">
            <a:spLocks noChangeArrowheads="1"/>
          </p:cNvSpPr>
          <p:nvPr/>
        </p:nvSpPr>
        <p:spPr bwMode="auto">
          <a:xfrm>
            <a:off x="694859" y="1696156"/>
            <a:ext cx="3995094" cy="291298"/>
          </a:xfrm>
          <a:prstGeom prst="rect">
            <a:avLst/>
          </a:prstGeom>
          <a:solidFill>
            <a:srgbClr val="FFCC00"/>
          </a:solidFill>
          <a:ln w="9525">
            <a:solidFill>
              <a:srgbClr val="0066FF"/>
            </a:solidFill>
            <a:miter lim="800000"/>
            <a:headEnd/>
            <a:tailEnd/>
          </a:ln>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de-DE" altLang="fr-FR" sz="1293" b="1">
                <a:solidFill>
                  <a:prstClr val="black"/>
                </a:solidFill>
                <a:cs typeface="Arial" pitchFamily="34" charset="0"/>
              </a:rPr>
              <a:t>Map view</a:t>
            </a:r>
          </a:p>
        </p:txBody>
      </p:sp>
      <p:sp>
        <p:nvSpPr>
          <p:cNvPr id="6" name="Rechteck 20"/>
          <p:cNvSpPr>
            <a:spLocks noChangeArrowheads="1"/>
          </p:cNvSpPr>
          <p:nvPr/>
        </p:nvSpPr>
        <p:spPr bwMode="auto">
          <a:xfrm>
            <a:off x="694859" y="1964452"/>
            <a:ext cx="3995094" cy="2476225"/>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fontAlgn="base">
              <a:spcBef>
                <a:spcPct val="50000"/>
              </a:spcBef>
              <a:spcAft>
                <a:spcPct val="0"/>
              </a:spcAft>
              <a:buFontTx/>
              <a:buNone/>
            </a:pPr>
            <a:endParaRPr lang="de-DE" altLang="fr-FR" sz="1108" b="1">
              <a:solidFill>
                <a:prstClr val="black"/>
              </a:solidFill>
              <a:latin typeface="DB Office" pitchFamily="34" charset="0"/>
              <a:cs typeface="Arial" pitchFamily="34" charset="0"/>
            </a:endParaRPr>
          </a:p>
        </p:txBody>
      </p:sp>
      <p:graphicFrame>
        <p:nvGraphicFramePr>
          <p:cNvPr id="9" name="Inhaltsplatzhalter 8">
            <a:extLst>
              <a:ext uri="{FF2B5EF4-FFF2-40B4-BE49-F238E27FC236}">
                <a16:creationId xmlns:a16="http://schemas.microsoft.com/office/drawing/2014/main" id="{5C5543BE-AD15-4112-A86E-9187FDBF0E25}"/>
              </a:ext>
            </a:extLst>
          </p:cNvPr>
          <p:cNvGraphicFramePr>
            <a:graphicFrameLocks/>
          </p:cNvGraphicFramePr>
          <p:nvPr/>
        </p:nvGraphicFramePr>
        <p:xfrm>
          <a:off x="693912" y="4455296"/>
          <a:ext cx="3990704" cy="1834079"/>
        </p:xfrm>
        <a:graphic>
          <a:graphicData uri="http://schemas.openxmlformats.org/drawingml/2006/table">
            <a:tbl>
              <a:tblPr firstRow="1" bandRow="1">
                <a:tableStyleId>{5C22544A-7EE6-4342-B048-85BDC9FD1C3A}</a:tableStyleId>
              </a:tblPr>
              <a:tblGrid>
                <a:gridCol w="3990704">
                  <a:extLst>
                    <a:ext uri="{9D8B030D-6E8A-4147-A177-3AD203B41FA5}">
                      <a16:colId xmlns:a16="http://schemas.microsoft.com/office/drawing/2014/main" val="20000"/>
                    </a:ext>
                  </a:extLst>
                </a:gridCol>
              </a:tblGrid>
              <a:tr h="398905">
                <a:tc>
                  <a:txBody>
                    <a:bodyPr/>
                    <a:lstStyle/>
                    <a:p>
                      <a:pPr algn="l"/>
                      <a:r>
                        <a:rPr lang="en-US" sz="1300" noProof="0" dirty="0">
                          <a:solidFill>
                            <a:schemeClr val="tx1"/>
                          </a:solidFill>
                          <a:latin typeface="+mn-lt"/>
                        </a:rPr>
                        <a:t>Impact on</a:t>
                      </a:r>
                      <a:r>
                        <a:rPr lang="en-US" sz="1300" baseline="0" noProof="0" dirty="0">
                          <a:solidFill>
                            <a:schemeClr val="tx1"/>
                          </a:solidFill>
                          <a:latin typeface="+mn-lt"/>
                        </a:rPr>
                        <a:t> </a:t>
                      </a:r>
                      <a:r>
                        <a:rPr lang="en-US" sz="1300" noProof="0" dirty="0">
                          <a:solidFill>
                            <a:schemeClr val="tx1"/>
                          </a:solidFill>
                          <a:latin typeface="+mn-lt"/>
                        </a:rPr>
                        <a:t>International Rail Freight </a:t>
                      </a:r>
                    </a:p>
                  </a:txBody>
                  <a:tcPr marL="84437" marR="84437" marT="42212" marB="422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CC00"/>
                    </a:solidFill>
                  </a:tcPr>
                </a:tc>
                <a:extLst>
                  <a:ext uri="{0D108BD9-81ED-4DB2-BD59-A6C34878D82A}">
                    <a16:rowId xmlns:a16="http://schemas.microsoft.com/office/drawing/2014/main" val="10000"/>
                  </a:ext>
                </a:extLst>
              </a:tr>
              <a:tr h="1435174">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dirty="0">
                          <a:solidFill>
                            <a:schemeClr val="tx1"/>
                          </a:solidFill>
                          <a:latin typeface="+mn-lt"/>
                          <a:ea typeface="+mn-ea"/>
                          <a:cs typeface="+mn-cs"/>
                        </a:rPr>
                        <a:t>Cancellations: </a:t>
                      </a:r>
                      <a:r>
                        <a:rPr lang="cs-CZ" sz="1200" i="0" kern="1200" noProof="0" dirty="0">
                          <a:solidFill>
                            <a:schemeClr val="tx1"/>
                          </a:solidFill>
                          <a:latin typeface="+mn-lt"/>
                          <a:ea typeface="+mn-ea"/>
                          <a:cs typeface="+mn-cs"/>
                        </a:rPr>
                        <a:t>No</a:t>
                      </a:r>
                      <a:endParaRPr lang="en-US" sz="1200" i="0" kern="1200" noProof="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dirty="0">
                          <a:solidFill>
                            <a:schemeClr val="tx1"/>
                          </a:solidFill>
                          <a:latin typeface="+mn-lt"/>
                          <a:ea typeface="+mn-ea"/>
                          <a:cs typeface="+mn-cs"/>
                        </a:rPr>
                        <a:t>Deviations: </a:t>
                      </a:r>
                      <a:r>
                        <a:rPr lang="cs-CZ" sz="1200" i="0" kern="1200" noProof="0" dirty="0">
                          <a:solidFill>
                            <a:schemeClr val="tx1"/>
                          </a:solidFill>
                          <a:latin typeface="+mn-lt"/>
                          <a:ea typeface="+mn-ea"/>
                          <a:cs typeface="+mn-cs"/>
                        </a:rPr>
                        <a:t>No</a:t>
                      </a:r>
                      <a:endParaRPr lang="en-US" sz="1200" i="0" kern="1200" noProof="0" dirty="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dirty="0">
                          <a:solidFill>
                            <a:schemeClr val="tx1"/>
                          </a:solidFill>
                          <a:latin typeface="+mn-lt"/>
                          <a:ea typeface="+mn-ea"/>
                          <a:cs typeface="+mn-cs"/>
                        </a:rPr>
                        <a:t>Estimated extra running time:</a:t>
                      </a:r>
                      <a:r>
                        <a:rPr lang="cs-CZ" sz="1200" i="0" kern="1200" noProof="0" dirty="0">
                          <a:solidFill>
                            <a:schemeClr val="tx1"/>
                          </a:solidFill>
                          <a:latin typeface="+mn-lt"/>
                          <a:ea typeface="+mn-ea"/>
                          <a:cs typeface="+mn-cs"/>
                        </a:rPr>
                        <a:t> </a:t>
                      </a:r>
                      <a:r>
                        <a:rPr lang="en-US" sz="1200" i="0" kern="1200" noProof="0" dirty="0">
                          <a:solidFill>
                            <a:schemeClr val="tx1"/>
                          </a:solidFill>
                          <a:latin typeface="+mn-lt"/>
                          <a:ea typeface="+mn-ea"/>
                          <a:cs typeface="+mn-cs"/>
                        </a:rPr>
                        <a:t>delay of freight trains approx. 30 - 60 minu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dirty="0">
                          <a:solidFill>
                            <a:schemeClr val="tx1"/>
                          </a:solidFill>
                          <a:latin typeface="+mn-lt"/>
                          <a:ea typeface="+mn-ea"/>
                          <a:cs typeface="+mn-cs"/>
                        </a:rPr>
                        <a:t>In annual timetable: Yes</a:t>
                      </a:r>
                      <a:endParaRPr lang="en-US" sz="1100" i="0" noProof="0" dirty="0">
                        <a:solidFill>
                          <a:schemeClr val="tx1"/>
                        </a:solidFill>
                      </a:endParaRPr>
                    </a:p>
                  </a:txBody>
                  <a:tcPr marL="84437" marR="84437" marT="42212" marB="422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pic>
        <p:nvPicPr>
          <p:cNvPr id="7" name="Afbeelding 6">
            <a:extLst>
              <a:ext uri="{FF2B5EF4-FFF2-40B4-BE49-F238E27FC236}">
                <a16:creationId xmlns:a16="http://schemas.microsoft.com/office/drawing/2014/main" id="{7D186DD7-E4AC-408B-B7D6-8832374D99FD}"/>
              </a:ext>
            </a:extLst>
          </p:cNvPr>
          <p:cNvPicPr>
            <a:picLocks noChangeAspect="1"/>
          </p:cNvPicPr>
          <p:nvPr/>
        </p:nvPicPr>
        <p:blipFill>
          <a:blip r:embed="rId2"/>
          <a:stretch>
            <a:fillRect/>
          </a:stretch>
        </p:blipFill>
        <p:spPr>
          <a:xfrm>
            <a:off x="1251112" y="1917263"/>
            <a:ext cx="2876304" cy="2575752"/>
          </a:xfrm>
          <a:prstGeom prst="rect">
            <a:avLst/>
          </a:prstGeom>
        </p:spPr>
      </p:pic>
      <p:graphicFrame>
        <p:nvGraphicFramePr>
          <p:cNvPr id="10" name="Object 10">
            <a:extLst>
              <a:ext uri="{FF2B5EF4-FFF2-40B4-BE49-F238E27FC236}">
                <a16:creationId xmlns:a16="http://schemas.microsoft.com/office/drawing/2014/main" id="{A7035C4E-423D-41FF-85C4-CE3E7A6A9C41}"/>
              </a:ext>
            </a:extLst>
          </p:cNvPr>
          <p:cNvGraphicFramePr>
            <a:graphicFrameLocks noChangeAspect="1"/>
          </p:cNvGraphicFramePr>
          <p:nvPr/>
        </p:nvGraphicFramePr>
        <p:xfrm>
          <a:off x="5077619" y="3287714"/>
          <a:ext cx="3602038" cy="2713037"/>
        </p:xfrm>
        <a:graphic>
          <a:graphicData uri="http://schemas.openxmlformats.org/presentationml/2006/ole">
            <mc:AlternateContent xmlns:mc="http://schemas.openxmlformats.org/markup-compatibility/2006">
              <mc:Choice xmlns:v="urn:schemas-microsoft-com:vml" Requires="v">
                <p:oleObj name="Worksheet" r:id="rId3" imgW="10572731" imgH="8667716" progId="Excel.Sheet.12">
                  <p:embed/>
                </p:oleObj>
              </mc:Choice>
              <mc:Fallback>
                <p:oleObj name="Worksheet" r:id="rId3" imgW="10572731" imgH="8667716" progId="Excel.Sheet.12">
                  <p:embed/>
                  <p:pic>
                    <p:nvPicPr>
                      <p:cNvPr id="10" name="Object 10">
                        <a:extLst>
                          <a:ext uri="{FF2B5EF4-FFF2-40B4-BE49-F238E27FC236}">
                            <a16:creationId xmlns:a16="http://schemas.microsoft.com/office/drawing/2014/main" id="{A7035C4E-423D-41FF-85C4-CE3E7A6A9C41}"/>
                          </a:ext>
                        </a:extLst>
                      </p:cNvPr>
                      <p:cNvPicPr/>
                      <p:nvPr/>
                    </p:nvPicPr>
                    <p:blipFill>
                      <a:blip r:embed="rId4"/>
                      <a:stretch>
                        <a:fillRect/>
                      </a:stretch>
                    </p:blipFill>
                    <p:spPr>
                      <a:xfrm>
                        <a:off x="5077619" y="3287714"/>
                        <a:ext cx="3602038" cy="2713037"/>
                      </a:xfrm>
                      <a:prstGeom prst="rect">
                        <a:avLst/>
                      </a:prstGeom>
                    </p:spPr>
                  </p:pic>
                </p:oleObj>
              </mc:Fallback>
            </mc:AlternateContent>
          </a:graphicData>
        </a:graphic>
      </p:graphicFrame>
    </p:spTree>
    <p:extLst>
      <p:ext uri="{BB962C8B-B14F-4D97-AF65-F5344CB8AC3E}">
        <p14:creationId xmlns:p14="http://schemas.microsoft.com/office/powerpoint/2010/main" val="903019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34925" y="695325"/>
            <a:ext cx="6889750" cy="862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07763" dir="18900000" algn="ctr" rotWithShape="0">
                    <a:schemeClr val="bg2"/>
                  </a:outerShdw>
                </a:effectLst>
              </a14:hiddenEffects>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l" fontAlgn="base">
              <a:spcBef>
                <a:spcPct val="50000"/>
              </a:spcBef>
              <a:spcAft>
                <a:spcPct val="0"/>
              </a:spcAft>
              <a:buFontTx/>
              <a:buNone/>
            </a:pPr>
            <a:r>
              <a:rPr lang="en-GB" altLang="fr-FR" sz="2000" b="1">
                <a:solidFill>
                  <a:srgbClr val="000000"/>
                </a:solidFill>
                <a:cs typeface="Calibri" panose="020F0502020204030204" pitchFamily="34" charset="0"/>
              </a:rPr>
              <a:t>Impact of TCR TT 2026 at </a:t>
            </a:r>
            <a:r>
              <a:rPr lang="en-GB" altLang="fr-FR" sz="2000" b="1">
                <a:solidFill>
                  <a:prstClr val="black"/>
                </a:solidFill>
                <a:cs typeface="Calibri" panose="020F0502020204030204" pitchFamily="34" charset="0"/>
              </a:rPr>
              <a:t>DB InfraGO</a:t>
            </a:r>
          </a:p>
          <a:p>
            <a:pPr algn="l" fontAlgn="base">
              <a:spcBef>
                <a:spcPct val="50000"/>
              </a:spcBef>
              <a:spcAft>
                <a:spcPct val="0"/>
              </a:spcAft>
              <a:buFontTx/>
              <a:buNone/>
            </a:pPr>
            <a:r>
              <a:rPr lang="en-GB" altLang="fr-FR" sz="2000" b="1">
                <a:solidFill>
                  <a:srgbClr val="000000"/>
                </a:solidFill>
                <a:cs typeface="Calibri" panose="020F0502020204030204" pitchFamily="34" charset="0"/>
              </a:rPr>
              <a:t>Section </a:t>
            </a:r>
            <a:r>
              <a:rPr kumimoji="0" lang="en-GB" sz="2000" b="1" i="0" u="none" strike="noStrike" kern="1200" cap="none" spc="0" normalizeH="0" baseline="0" noProof="0">
                <a:ln>
                  <a:noFill/>
                </a:ln>
                <a:solidFill>
                  <a:srgbClr val="000000"/>
                </a:solidFill>
                <a:effectLst/>
                <a:uLnTx/>
                <a:uFillTx/>
                <a:cs typeface="Calibri" panose="020F0502020204030204" pitchFamily="34" charset="0"/>
              </a:rPr>
              <a:t>Emmerich Border - Oberhausen Main Station</a:t>
            </a:r>
            <a:endParaRPr lang="en-GB" altLang="fr-FR" sz="2000" b="1">
              <a:solidFill>
                <a:srgbClr val="000000"/>
              </a:solidFill>
              <a:cs typeface="Calibri" panose="020F0502020204030204" pitchFamily="34" charset="0"/>
            </a:endParaRPr>
          </a:p>
        </p:txBody>
      </p:sp>
      <p:graphicFrame>
        <p:nvGraphicFramePr>
          <p:cNvPr id="3" name="Inhaltsplatzhalter 8"/>
          <p:cNvGraphicFramePr>
            <a:graphicFrameLocks/>
          </p:cNvGraphicFramePr>
          <p:nvPr/>
        </p:nvGraphicFramePr>
        <p:xfrm>
          <a:off x="5088633" y="1552655"/>
          <a:ext cx="3660080" cy="1724025"/>
        </p:xfrm>
        <a:graphic>
          <a:graphicData uri="http://schemas.openxmlformats.org/drawingml/2006/table">
            <a:tbl>
              <a:tblPr firstRow="1" bandRow="1">
                <a:tableStyleId>{5C22544A-7EE6-4342-B048-85BDC9FD1C3A}</a:tableStyleId>
              </a:tblPr>
              <a:tblGrid>
                <a:gridCol w="3660080">
                  <a:extLst>
                    <a:ext uri="{9D8B030D-6E8A-4147-A177-3AD203B41FA5}">
                      <a16:colId xmlns:a16="http://schemas.microsoft.com/office/drawing/2014/main" val="20000"/>
                    </a:ext>
                  </a:extLst>
                </a:gridCol>
              </a:tblGrid>
              <a:tr h="412366">
                <a:tc>
                  <a:txBody>
                    <a:bodyPr/>
                    <a:lstStyle/>
                    <a:p>
                      <a:pPr algn="l"/>
                      <a:r>
                        <a:rPr lang="en-US" sz="1400" i="0" noProof="0">
                          <a:solidFill>
                            <a:schemeClr val="tx1"/>
                          </a:solidFill>
                          <a:latin typeface="+mn-lt"/>
                        </a:rPr>
                        <a:t>Major Capacity</a:t>
                      </a:r>
                      <a:r>
                        <a:rPr lang="en-US" sz="1400" i="0" baseline="0" noProof="0">
                          <a:solidFill>
                            <a:schemeClr val="tx1"/>
                          </a:solidFill>
                          <a:latin typeface="+mn-lt"/>
                        </a:rPr>
                        <a:t> Restriction</a:t>
                      </a:r>
                      <a:endParaRPr lang="en-US" sz="1400" i="0" noProof="0">
                        <a:solidFill>
                          <a:schemeClr val="tx1"/>
                        </a:solidFill>
                        <a:latin typeface="+mn-lt"/>
                      </a:endParaRPr>
                    </a:p>
                  </a:txBody>
                  <a:tcPr marL="91438" marR="91438" marT="45727" marB="4572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10000"/>
                  </a:ext>
                </a:extLst>
              </a:tr>
              <a:tr h="1311659">
                <a:tc>
                  <a:txBody>
                    <a:bodyPr/>
                    <a:lstStyle/>
                    <a:p>
                      <a:pPr marL="171450" indent="-171450">
                        <a:buFont typeface="Arial" panose="020B0604020202020204" pitchFamily="34" charset="0"/>
                        <a:buChar char="•"/>
                      </a:pPr>
                      <a:r>
                        <a:rPr lang="en-US" sz="1200" i="0" noProof="0">
                          <a:solidFill>
                            <a:schemeClr val="tx1"/>
                          </a:solidFill>
                          <a:latin typeface="+mn-lt"/>
                        </a:rPr>
                        <a:t>Location: Emmerich Border - Oberhausen Main Station</a:t>
                      </a:r>
                    </a:p>
                    <a:p>
                      <a:pPr marL="171450" indent="-171450">
                        <a:buFont typeface="Arial" panose="020B0604020202020204" pitchFamily="34" charset="0"/>
                        <a:buChar char="•"/>
                      </a:pPr>
                      <a:r>
                        <a:rPr lang="en-US" sz="1200" i="0" noProof="0">
                          <a:solidFill>
                            <a:schemeClr val="tx1"/>
                          </a:solidFill>
                          <a:latin typeface="+mn-lt"/>
                        </a:rPr>
                        <a:t>Type: Total Closure, Single Track Operation</a:t>
                      </a:r>
                    </a:p>
                    <a:p>
                      <a:pPr marL="171450" indent="-171450">
                        <a:buFont typeface="Arial" panose="020B0604020202020204" pitchFamily="34" charset="0"/>
                        <a:buChar char="•"/>
                      </a:pPr>
                      <a:r>
                        <a:rPr lang="en-US" sz="1200" i="0" noProof="0">
                          <a:solidFill>
                            <a:schemeClr val="tx1"/>
                          </a:solidFill>
                          <a:latin typeface="+mn-lt"/>
                        </a:rPr>
                        <a:t>Period: Jan – May 2026</a:t>
                      </a:r>
                    </a:p>
                    <a:p>
                      <a:pPr marL="171450" indent="-171450">
                        <a:buFont typeface="Arial" panose="020B0604020202020204" pitchFamily="34" charset="0"/>
                        <a:buChar char="•"/>
                      </a:pPr>
                      <a:r>
                        <a:rPr lang="en-US" sz="1200" i="0" noProof="0">
                          <a:solidFill>
                            <a:schemeClr val="tx1"/>
                          </a:solidFill>
                          <a:latin typeface="+mn-lt"/>
                        </a:rPr>
                        <a:t>Type of works: Track &amp; Rail, Bridge, Catenary, Switch, Miscellaneous</a:t>
                      </a:r>
                    </a:p>
                  </a:txBody>
                  <a:tcPr marL="91438" marR="91438" marT="45727" marB="4572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5" name="Textfeld 18"/>
          <p:cNvSpPr txBox="1">
            <a:spLocks noChangeArrowheads="1"/>
          </p:cNvSpPr>
          <p:nvPr/>
        </p:nvSpPr>
        <p:spPr bwMode="auto">
          <a:xfrm>
            <a:off x="342429" y="1552655"/>
            <a:ext cx="4325938" cy="307975"/>
          </a:xfrm>
          <a:prstGeom prst="rect">
            <a:avLst/>
          </a:prstGeom>
          <a:solidFill>
            <a:srgbClr val="FFCC00"/>
          </a:solidFill>
          <a:ln w="9525">
            <a:solidFill>
              <a:srgbClr val="0066FF"/>
            </a:solidFill>
            <a:miter lim="800000"/>
            <a:headEnd/>
            <a:tailEnd/>
          </a:ln>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de-DE" altLang="fr-FR" sz="1400" b="1">
                <a:solidFill>
                  <a:prstClr val="black"/>
                </a:solidFill>
                <a:cs typeface="Arial" pitchFamily="34" charset="0"/>
              </a:rPr>
              <a:t>Map view</a:t>
            </a:r>
          </a:p>
        </p:txBody>
      </p:sp>
      <p:sp>
        <p:nvSpPr>
          <p:cNvPr id="6" name="Rechteck 20"/>
          <p:cNvSpPr>
            <a:spLocks noChangeArrowheads="1"/>
          </p:cNvSpPr>
          <p:nvPr/>
        </p:nvSpPr>
        <p:spPr bwMode="auto">
          <a:xfrm>
            <a:off x="342429" y="1843168"/>
            <a:ext cx="4325938" cy="2681287"/>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fontAlgn="base">
              <a:spcBef>
                <a:spcPct val="50000"/>
              </a:spcBef>
              <a:spcAft>
                <a:spcPct val="0"/>
              </a:spcAft>
              <a:buFontTx/>
              <a:buNone/>
            </a:pPr>
            <a:endParaRPr lang="de-DE" altLang="fr-FR" sz="1200" b="1">
              <a:solidFill>
                <a:prstClr val="black"/>
              </a:solidFill>
              <a:latin typeface="DB Office" pitchFamily="34" charset="0"/>
              <a:cs typeface="Arial" pitchFamily="34" charset="0"/>
            </a:endParaRPr>
          </a:p>
        </p:txBody>
      </p:sp>
      <p:graphicFrame>
        <p:nvGraphicFramePr>
          <p:cNvPr id="9" name="Inhaltsplatzhalter 8">
            <a:extLst>
              <a:ext uri="{FF2B5EF4-FFF2-40B4-BE49-F238E27FC236}">
                <a16:creationId xmlns:a16="http://schemas.microsoft.com/office/drawing/2014/main" id="{5C5543BE-AD15-4112-A86E-9187FDBF0E25}"/>
              </a:ext>
            </a:extLst>
          </p:cNvPr>
          <p:cNvGraphicFramePr>
            <a:graphicFrameLocks/>
          </p:cNvGraphicFramePr>
          <p:nvPr/>
        </p:nvGraphicFramePr>
        <p:xfrm>
          <a:off x="341403" y="4540284"/>
          <a:ext cx="4321184" cy="1985963"/>
        </p:xfrm>
        <a:graphic>
          <a:graphicData uri="http://schemas.openxmlformats.org/drawingml/2006/table">
            <a:tbl>
              <a:tblPr firstRow="1" bandRow="1">
                <a:tableStyleId>{5C22544A-7EE6-4342-B048-85BDC9FD1C3A}</a:tableStyleId>
              </a:tblPr>
              <a:tblGrid>
                <a:gridCol w="4321184">
                  <a:extLst>
                    <a:ext uri="{9D8B030D-6E8A-4147-A177-3AD203B41FA5}">
                      <a16:colId xmlns:a16="http://schemas.microsoft.com/office/drawing/2014/main" val="20000"/>
                    </a:ext>
                  </a:extLst>
                </a:gridCol>
              </a:tblGrid>
              <a:tr h="431939">
                <a:tc>
                  <a:txBody>
                    <a:bodyPr/>
                    <a:lstStyle/>
                    <a:p>
                      <a:pPr algn="l"/>
                      <a:r>
                        <a:rPr lang="en-US" sz="1400" noProof="0">
                          <a:solidFill>
                            <a:schemeClr val="tx1"/>
                          </a:solidFill>
                          <a:latin typeface="+mn-lt"/>
                        </a:rPr>
                        <a:t>Impact on</a:t>
                      </a:r>
                      <a:r>
                        <a:rPr lang="en-US" sz="1400" baseline="0" noProof="0">
                          <a:solidFill>
                            <a:schemeClr val="tx1"/>
                          </a:solidFill>
                          <a:latin typeface="+mn-lt"/>
                        </a:rPr>
                        <a:t> </a:t>
                      </a:r>
                      <a:r>
                        <a:rPr lang="en-US" sz="1400" noProof="0">
                          <a:solidFill>
                            <a:schemeClr val="tx1"/>
                          </a:solidFill>
                          <a:latin typeface="+mn-lt"/>
                        </a:rPr>
                        <a:t>International Rail Freight </a:t>
                      </a:r>
                    </a:p>
                  </a:txBody>
                  <a:tcPr marL="91429" marR="91429"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CC00"/>
                    </a:solidFill>
                  </a:tcPr>
                </a:tc>
                <a:extLst>
                  <a:ext uri="{0D108BD9-81ED-4DB2-BD59-A6C34878D82A}">
                    <a16:rowId xmlns:a16="http://schemas.microsoft.com/office/drawing/2014/main" val="10000"/>
                  </a:ext>
                </a:extLst>
              </a:tr>
              <a:tr h="1554024">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Cancellations: Y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Deviations: Y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Estimated extra running time: </a:t>
                      </a:r>
                      <a:r>
                        <a:rPr kumimoji="0" lang="nl-NL" sz="1200" b="0" i="0" u="none" strike="noStrike" kern="1200" cap="none" spc="0" normalizeH="0" baseline="0" noProof="0">
                          <a:ln>
                            <a:noFill/>
                          </a:ln>
                          <a:solidFill>
                            <a:prstClr val="black"/>
                          </a:solidFill>
                          <a:effectLst/>
                          <a:uLnTx/>
                          <a:uFillTx/>
                          <a:latin typeface="+mn-lt"/>
                          <a:ea typeface="+mn-ea"/>
                          <a:cs typeface="+mn-cs"/>
                        </a:rPr>
                        <a:t>Detailed information on extra running time is distributed by DB Netz individually for every customer for each affected train. Additionally DB Netz offers train path advice free of charge</a:t>
                      </a:r>
                      <a:endParaRPr kumimoji="0" lang="en-US" sz="1200" b="0" i="0" u="none" strike="noStrike" kern="1200" cap="none" spc="0" normalizeH="0" baseline="0" noProof="0">
                        <a:ln>
                          <a:noFill/>
                        </a:ln>
                        <a:solidFill>
                          <a:prstClr val="black"/>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In annual timetable: Yes</a:t>
                      </a:r>
                      <a:endParaRPr kumimoji="0" lang="en-US" sz="1100" b="0" i="0" u="none" strike="noStrike" kern="1200" cap="none" spc="0" normalizeH="0" baseline="0" noProof="0">
                        <a:ln>
                          <a:noFill/>
                        </a:ln>
                        <a:solidFill>
                          <a:prstClr val="black"/>
                        </a:solidFill>
                        <a:effectLst/>
                        <a:uLnTx/>
                        <a:uFillTx/>
                        <a:latin typeface="+mn-lt"/>
                        <a:ea typeface="+mn-ea"/>
                        <a:cs typeface="+mn-cs"/>
                      </a:endParaRPr>
                    </a:p>
                  </a:txBody>
                  <a:tcPr marL="91429" marR="91429"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pic>
        <p:nvPicPr>
          <p:cNvPr id="4" name="Afbeelding 19">
            <a:extLst>
              <a:ext uri="{FF2B5EF4-FFF2-40B4-BE49-F238E27FC236}">
                <a16:creationId xmlns:a16="http://schemas.microsoft.com/office/drawing/2014/main" id="{42CDD7EA-BF96-F334-64D3-2B511B7A661A}"/>
              </a:ext>
            </a:extLst>
          </p:cNvPr>
          <p:cNvPicPr>
            <a:picLocks noChangeAspect="1"/>
          </p:cNvPicPr>
          <p:nvPr/>
        </p:nvPicPr>
        <p:blipFill>
          <a:blip r:embed="rId2"/>
          <a:stretch>
            <a:fillRect/>
          </a:stretch>
        </p:blipFill>
        <p:spPr>
          <a:xfrm>
            <a:off x="486123" y="1988840"/>
            <a:ext cx="4235585" cy="2330927"/>
          </a:xfrm>
          <a:prstGeom prst="rect">
            <a:avLst/>
          </a:prstGeom>
          <a:ln>
            <a:noFill/>
          </a:ln>
        </p:spPr>
      </p:pic>
      <p:graphicFrame>
        <p:nvGraphicFramePr>
          <p:cNvPr id="11" name="Object 10">
            <a:extLst>
              <a:ext uri="{FF2B5EF4-FFF2-40B4-BE49-F238E27FC236}">
                <a16:creationId xmlns:a16="http://schemas.microsoft.com/office/drawing/2014/main" id="{A7035C4E-423D-41FF-85C4-CE3E7A6A9C41}"/>
              </a:ext>
            </a:extLst>
          </p:cNvPr>
          <p:cNvGraphicFramePr>
            <a:graphicFrameLocks noChangeAspect="1"/>
          </p:cNvGraphicFramePr>
          <p:nvPr>
            <p:extLst>
              <p:ext uri="{D42A27DB-BD31-4B8C-83A1-F6EECF244321}">
                <p14:modId xmlns:p14="http://schemas.microsoft.com/office/powerpoint/2010/main" val="1425673041"/>
              </p:ext>
            </p:extLst>
          </p:nvPr>
        </p:nvGraphicFramePr>
        <p:xfrm>
          <a:off x="5103813" y="3462338"/>
          <a:ext cx="4394200" cy="3155950"/>
        </p:xfrm>
        <a:graphic>
          <a:graphicData uri="http://schemas.openxmlformats.org/presentationml/2006/ole">
            <mc:AlternateContent xmlns:mc="http://schemas.openxmlformats.org/markup-compatibility/2006">
              <mc:Choice xmlns:v="urn:schemas-microsoft-com:vml" Requires="v">
                <p:oleObj name="Worksheet" r:id="rId3" imgW="11074400" imgH="8661446" progId="Excel.Sheet.12">
                  <p:embed/>
                </p:oleObj>
              </mc:Choice>
              <mc:Fallback>
                <p:oleObj name="Worksheet" r:id="rId3" imgW="11074400" imgH="8661446" progId="Excel.Sheet.12">
                  <p:embed/>
                  <p:pic>
                    <p:nvPicPr>
                      <p:cNvPr id="11" name="Object 10">
                        <a:extLst>
                          <a:ext uri="{FF2B5EF4-FFF2-40B4-BE49-F238E27FC236}">
                            <a16:creationId xmlns:a16="http://schemas.microsoft.com/office/drawing/2014/main" id="{A7035C4E-423D-41FF-85C4-CE3E7A6A9C41}"/>
                          </a:ext>
                        </a:extLst>
                      </p:cNvPr>
                      <p:cNvPicPr/>
                      <p:nvPr/>
                    </p:nvPicPr>
                    <p:blipFill>
                      <a:blip r:embed="rId4"/>
                      <a:stretch>
                        <a:fillRect/>
                      </a:stretch>
                    </p:blipFill>
                    <p:spPr>
                      <a:xfrm>
                        <a:off x="5103813" y="3462338"/>
                        <a:ext cx="4394200" cy="3155950"/>
                      </a:xfrm>
                      <a:prstGeom prst="rect">
                        <a:avLst/>
                      </a:prstGeom>
                    </p:spPr>
                  </p:pic>
                </p:oleObj>
              </mc:Fallback>
            </mc:AlternateContent>
          </a:graphicData>
        </a:graphic>
      </p:graphicFrame>
      <p:sp>
        <p:nvSpPr>
          <p:cNvPr id="7" name="Rechteck: abgerundete Ecken 6">
            <a:extLst>
              <a:ext uri="{FF2B5EF4-FFF2-40B4-BE49-F238E27FC236}">
                <a16:creationId xmlns:a16="http://schemas.microsoft.com/office/drawing/2014/main" id="{1DF90E58-C9EF-5A2F-DD8F-EDF8B26899E4}"/>
              </a:ext>
            </a:extLst>
          </p:cNvPr>
          <p:cNvSpPr/>
          <p:nvPr/>
        </p:nvSpPr>
        <p:spPr>
          <a:xfrm rot="1261670">
            <a:off x="8616087" y="924948"/>
            <a:ext cx="1105786" cy="613525"/>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de-DE" sz="1100"/>
              <a:t>Updated </a:t>
            </a:r>
            <a:r>
              <a:rPr lang="de-DE" sz="1100" err="1"/>
              <a:t>January</a:t>
            </a:r>
            <a:r>
              <a:rPr lang="de-DE" sz="1100"/>
              <a:t> 2025</a:t>
            </a:r>
          </a:p>
        </p:txBody>
      </p:sp>
    </p:spTree>
    <p:extLst>
      <p:ext uri="{BB962C8B-B14F-4D97-AF65-F5344CB8AC3E}">
        <p14:creationId xmlns:p14="http://schemas.microsoft.com/office/powerpoint/2010/main" val="12091653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34925" y="695325"/>
            <a:ext cx="9155728"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07763" dir="18900000" algn="ctr" rotWithShape="0">
                    <a:schemeClr val="bg2"/>
                  </a:outerShdw>
                </a:effectLst>
              </a14:hiddenEffects>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l" fontAlgn="base">
              <a:spcBef>
                <a:spcPct val="50000"/>
              </a:spcBef>
              <a:spcAft>
                <a:spcPct val="0"/>
              </a:spcAft>
              <a:buFontTx/>
              <a:buNone/>
            </a:pPr>
            <a:r>
              <a:rPr lang="en-GB" altLang="fr-FR" sz="2000" b="1">
                <a:solidFill>
                  <a:srgbClr val="000000"/>
                </a:solidFill>
                <a:cs typeface="Calibri" panose="020F0502020204030204" pitchFamily="34" charset="0"/>
              </a:rPr>
              <a:t>Impact of TCR TT 2026 at </a:t>
            </a:r>
            <a:r>
              <a:rPr lang="en-GB" altLang="fr-FR" sz="2000" b="1">
                <a:solidFill>
                  <a:prstClr val="black"/>
                </a:solidFill>
                <a:cs typeface="Calibri" panose="020F0502020204030204" pitchFamily="34" charset="0"/>
              </a:rPr>
              <a:t>DB </a:t>
            </a:r>
            <a:r>
              <a:rPr lang="en-GB" altLang="fr-FR" sz="2000" b="1" err="1">
                <a:solidFill>
                  <a:prstClr val="black"/>
                </a:solidFill>
                <a:cs typeface="Calibri" panose="020F0502020204030204" pitchFamily="34" charset="0"/>
              </a:rPr>
              <a:t>InfraGO</a:t>
            </a:r>
            <a:endParaRPr lang="en-GB" altLang="fr-FR" sz="2000" b="1">
              <a:solidFill>
                <a:prstClr val="black"/>
              </a:solidFill>
              <a:cs typeface="Calibri" panose="020F0502020204030204" pitchFamily="34" charset="0"/>
            </a:endParaRPr>
          </a:p>
          <a:p>
            <a:pPr algn="l" fontAlgn="base">
              <a:spcBef>
                <a:spcPct val="50000"/>
              </a:spcBef>
              <a:spcAft>
                <a:spcPct val="0"/>
              </a:spcAft>
              <a:buFontTx/>
              <a:buNone/>
            </a:pPr>
            <a:r>
              <a:rPr lang="en-GB" altLang="fr-FR" sz="2000" b="1">
                <a:solidFill>
                  <a:srgbClr val="000000"/>
                </a:solidFill>
                <a:cs typeface="Calibri" panose="020F0502020204030204" pitchFamily="34" charset="0"/>
              </a:rPr>
              <a:t>Frankfurt Oder - </a:t>
            </a:r>
            <a:r>
              <a:rPr lang="en-GB" altLang="fr-FR" sz="2000" b="1" err="1">
                <a:solidFill>
                  <a:srgbClr val="000000"/>
                </a:solidFill>
                <a:cs typeface="Calibri" panose="020F0502020204030204" pitchFamily="34" charset="0"/>
              </a:rPr>
              <a:t>Erkner</a:t>
            </a:r>
            <a:endParaRPr lang="en-GB" altLang="fr-FR" sz="2000" b="1">
              <a:solidFill>
                <a:srgbClr val="000000"/>
              </a:solidFill>
              <a:cs typeface="Calibri" panose="020F0502020204030204" pitchFamily="34" charset="0"/>
            </a:endParaRPr>
          </a:p>
        </p:txBody>
      </p:sp>
      <p:graphicFrame>
        <p:nvGraphicFramePr>
          <p:cNvPr id="3" name="Inhaltsplatzhalter 8"/>
          <p:cNvGraphicFramePr>
            <a:graphicFrameLocks/>
          </p:cNvGraphicFramePr>
          <p:nvPr>
            <p:extLst>
              <p:ext uri="{D42A27DB-BD31-4B8C-83A1-F6EECF244321}">
                <p14:modId xmlns:p14="http://schemas.microsoft.com/office/powerpoint/2010/main" val="4003506113"/>
              </p:ext>
            </p:extLst>
          </p:nvPr>
        </p:nvGraphicFramePr>
        <p:xfrm>
          <a:off x="5088633" y="1552655"/>
          <a:ext cx="3660080" cy="2012580"/>
        </p:xfrm>
        <a:graphic>
          <a:graphicData uri="http://schemas.openxmlformats.org/drawingml/2006/table">
            <a:tbl>
              <a:tblPr firstRow="1" bandRow="1">
                <a:tableStyleId>{5C22544A-7EE6-4342-B048-85BDC9FD1C3A}</a:tableStyleId>
              </a:tblPr>
              <a:tblGrid>
                <a:gridCol w="3660080">
                  <a:extLst>
                    <a:ext uri="{9D8B030D-6E8A-4147-A177-3AD203B41FA5}">
                      <a16:colId xmlns:a16="http://schemas.microsoft.com/office/drawing/2014/main" val="20000"/>
                    </a:ext>
                  </a:extLst>
                </a:gridCol>
              </a:tblGrid>
              <a:tr h="412366">
                <a:tc>
                  <a:txBody>
                    <a:bodyPr/>
                    <a:lstStyle/>
                    <a:p>
                      <a:pPr algn="l"/>
                      <a:r>
                        <a:rPr lang="en-US" sz="1400" i="0" noProof="0">
                          <a:solidFill>
                            <a:schemeClr val="tx1"/>
                          </a:solidFill>
                          <a:latin typeface="+mn-lt"/>
                        </a:rPr>
                        <a:t>Major Capacity</a:t>
                      </a:r>
                      <a:r>
                        <a:rPr lang="en-US" sz="1400" i="0" baseline="0" noProof="0">
                          <a:solidFill>
                            <a:schemeClr val="tx1"/>
                          </a:solidFill>
                          <a:latin typeface="+mn-lt"/>
                        </a:rPr>
                        <a:t> Restriction</a:t>
                      </a:r>
                      <a:endParaRPr lang="en-US" sz="1400" i="0" noProof="0">
                        <a:solidFill>
                          <a:schemeClr val="tx1"/>
                        </a:solidFill>
                        <a:latin typeface="+mn-lt"/>
                      </a:endParaRPr>
                    </a:p>
                  </a:txBody>
                  <a:tcPr marL="91438" marR="91438" marT="45727" marB="4572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10000"/>
                  </a:ext>
                </a:extLst>
              </a:tr>
              <a:tr h="1311659">
                <a:tc>
                  <a:txBody>
                    <a:bodyPr/>
                    <a:lstStyle/>
                    <a:p>
                      <a:pPr marL="171450" indent="-171450">
                        <a:buFont typeface="Arial" panose="020B0604020202020204" pitchFamily="34" charset="0"/>
                        <a:buChar char="•"/>
                      </a:pPr>
                      <a:r>
                        <a:rPr lang="en-US" sz="1100" i="0" noProof="0">
                          <a:solidFill>
                            <a:schemeClr val="tx1"/>
                          </a:solidFill>
                          <a:latin typeface="+mn-lt"/>
                        </a:rPr>
                        <a:t>Location: Frankfurt Oder – </a:t>
                      </a:r>
                      <a:r>
                        <a:rPr lang="en-US" sz="1100" i="0" noProof="0" err="1">
                          <a:solidFill>
                            <a:schemeClr val="tx1"/>
                          </a:solidFill>
                          <a:latin typeface="+mn-lt"/>
                        </a:rPr>
                        <a:t>Erkner</a:t>
                      </a:r>
                      <a:r>
                        <a:rPr lang="en-US" sz="1100" i="0" noProof="0">
                          <a:solidFill>
                            <a:schemeClr val="tx1"/>
                          </a:solidFill>
                          <a:latin typeface="+mn-lt"/>
                        </a:rPr>
                        <a:t> (VZG 6153)</a:t>
                      </a:r>
                    </a:p>
                    <a:p>
                      <a:pPr marL="171450" indent="-171450">
                        <a:buFont typeface="Arial" panose="020B0604020202020204" pitchFamily="34" charset="0"/>
                        <a:buChar char="•"/>
                      </a:pPr>
                      <a:r>
                        <a:rPr lang="en-US" sz="1100" i="0" noProof="0">
                          <a:solidFill>
                            <a:schemeClr val="tx1"/>
                          </a:solidFill>
                          <a:latin typeface="+mn-lt"/>
                        </a:rPr>
                        <a:t>Type: Total closure, Single track operation, Deviation from timetable for train reporting points, Travelling on opposite track</a:t>
                      </a:r>
                    </a:p>
                    <a:p>
                      <a:pPr marL="171450" indent="-171450">
                        <a:buFont typeface="Arial" panose="020B0604020202020204" pitchFamily="34" charset="0"/>
                        <a:buChar char="•"/>
                      </a:pPr>
                      <a:r>
                        <a:rPr lang="en-US" sz="1100" i="0" noProof="0">
                          <a:solidFill>
                            <a:schemeClr val="tx1"/>
                          </a:solidFill>
                          <a:latin typeface="+mn-lt"/>
                        </a:rPr>
                        <a:t>Period: Dec 25 – Dec 26</a:t>
                      </a:r>
                    </a:p>
                    <a:p>
                      <a:pPr marL="171450" indent="-171450">
                        <a:buFont typeface="Arial" panose="020B0604020202020204" pitchFamily="34" charset="0"/>
                        <a:buChar char="•"/>
                      </a:pPr>
                      <a:r>
                        <a:rPr lang="en-US" sz="1100" i="0" noProof="0">
                          <a:solidFill>
                            <a:schemeClr val="tx1"/>
                          </a:solidFill>
                          <a:latin typeface="+mn-lt"/>
                        </a:rPr>
                        <a:t>Type of works: Track renewal, New train station </a:t>
                      </a:r>
                      <a:r>
                        <a:rPr lang="en-US" sz="1100" i="0" noProof="0" err="1">
                          <a:solidFill>
                            <a:schemeClr val="tx1"/>
                          </a:solidFill>
                          <a:latin typeface="+mn-lt"/>
                        </a:rPr>
                        <a:t>Köpenick</a:t>
                      </a:r>
                      <a:endParaRPr lang="en-US" sz="1100" i="0" noProof="0">
                        <a:solidFill>
                          <a:schemeClr val="tx1"/>
                        </a:solidFill>
                        <a:latin typeface="+mn-lt"/>
                      </a:endParaRPr>
                    </a:p>
                    <a:p>
                      <a:pPr marL="171450" indent="-171450">
                        <a:buFont typeface="Arial" panose="020B0604020202020204" pitchFamily="34" charset="0"/>
                        <a:buChar char="•"/>
                      </a:pPr>
                      <a:r>
                        <a:rPr lang="en-US" sz="1100" i="0" noProof="0">
                          <a:solidFill>
                            <a:schemeClr val="tx1"/>
                          </a:solidFill>
                          <a:latin typeface="+mn-lt"/>
                        </a:rPr>
                        <a:t>Complex TCR with various track restrictions on various sections between Frankfurt Oder and </a:t>
                      </a:r>
                      <a:r>
                        <a:rPr lang="en-US" sz="1100" i="0" noProof="0" err="1">
                          <a:solidFill>
                            <a:schemeClr val="tx1"/>
                          </a:solidFill>
                          <a:latin typeface="+mn-lt"/>
                        </a:rPr>
                        <a:t>Erkner</a:t>
                      </a:r>
                      <a:r>
                        <a:rPr lang="en-US" sz="1100" i="0" noProof="0">
                          <a:solidFill>
                            <a:schemeClr val="tx1"/>
                          </a:solidFill>
                          <a:latin typeface="+mn-lt"/>
                        </a:rPr>
                        <a:t> throughout the year. </a:t>
                      </a:r>
                    </a:p>
                  </a:txBody>
                  <a:tcPr marL="91438" marR="91438" marT="45727" marB="4572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5" name="Textfeld 18"/>
          <p:cNvSpPr txBox="1">
            <a:spLocks noChangeArrowheads="1"/>
          </p:cNvSpPr>
          <p:nvPr/>
        </p:nvSpPr>
        <p:spPr bwMode="auto">
          <a:xfrm>
            <a:off x="342429" y="1552655"/>
            <a:ext cx="4325938" cy="307975"/>
          </a:xfrm>
          <a:prstGeom prst="rect">
            <a:avLst/>
          </a:prstGeom>
          <a:solidFill>
            <a:srgbClr val="FFCC00"/>
          </a:solidFill>
          <a:ln w="9525">
            <a:solidFill>
              <a:srgbClr val="0066FF"/>
            </a:solidFill>
            <a:miter lim="800000"/>
            <a:headEnd/>
            <a:tailEnd/>
          </a:ln>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de-DE" altLang="fr-FR" sz="1400" b="1">
                <a:solidFill>
                  <a:prstClr val="black"/>
                </a:solidFill>
                <a:cs typeface="Arial" pitchFamily="34" charset="0"/>
              </a:rPr>
              <a:t>Map view</a:t>
            </a:r>
          </a:p>
        </p:txBody>
      </p:sp>
      <p:sp>
        <p:nvSpPr>
          <p:cNvPr id="6" name="Rechteck 20"/>
          <p:cNvSpPr>
            <a:spLocks noChangeArrowheads="1"/>
          </p:cNvSpPr>
          <p:nvPr/>
        </p:nvSpPr>
        <p:spPr bwMode="auto">
          <a:xfrm>
            <a:off x="342429" y="1843168"/>
            <a:ext cx="4325938" cy="2681287"/>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fontAlgn="base">
              <a:spcBef>
                <a:spcPct val="50000"/>
              </a:spcBef>
              <a:spcAft>
                <a:spcPct val="0"/>
              </a:spcAft>
              <a:buFontTx/>
              <a:buNone/>
            </a:pPr>
            <a:endParaRPr lang="de-DE" altLang="fr-FR" sz="1200" b="1">
              <a:solidFill>
                <a:prstClr val="black"/>
              </a:solidFill>
              <a:latin typeface="DB Office" pitchFamily="34" charset="0"/>
              <a:cs typeface="Arial" pitchFamily="34" charset="0"/>
            </a:endParaRPr>
          </a:p>
        </p:txBody>
      </p:sp>
      <p:graphicFrame>
        <p:nvGraphicFramePr>
          <p:cNvPr id="9" name="Inhaltsplatzhalter 8">
            <a:extLst>
              <a:ext uri="{FF2B5EF4-FFF2-40B4-BE49-F238E27FC236}">
                <a16:creationId xmlns:a16="http://schemas.microsoft.com/office/drawing/2014/main" id="{5C5543BE-AD15-4112-A86E-9187FDBF0E25}"/>
              </a:ext>
            </a:extLst>
          </p:cNvPr>
          <p:cNvGraphicFramePr>
            <a:graphicFrameLocks/>
          </p:cNvGraphicFramePr>
          <p:nvPr>
            <p:extLst>
              <p:ext uri="{D42A27DB-BD31-4B8C-83A1-F6EECF244321}">
                <p14:modId xmlns:p14="http://schemas.microsoft.com/office/powerpoint/2010/main" val="1023403354"/>
              </p:ext>
            </p:extLst>
          </p:nvPr>
        </p:nvGraphicFramePr>
        <p:xfrm>
          <a:off x="341403" y="4540284"/>
          <a:ext cx="4321184" cy="1985963"/>
        </p:xfrm>
        <a:graphic>
          <a:graphicData uri="http://schemas.openxmlformats.org/drawingml/2006/table">
            <a:tbl>
              <a:tblPr firstRow="1" bandRow="1">
                <a:tableStyleId>{5C22544A-7EE6-4342-B048-85BDC9FD1C3A}</a:tableStyleId>
              </a:tblPr>
              <a:tblGrid>
                <a:gridCol w="4321184">
                  <a:extLst>
                    <a:ext uri="{9D8B030D-6E8A-4147-A177-3AD203B41FA5}">
                      <a16:colId xmlns:a16="http://schemas.microsoft.com/office/drawing/2014/main" val="20000"/>
                    </a:ext>
                  </a:extLst>
                </a:gridCol>
              </a:tblGrid>
              <a:tr h="431939">
                <a:tc>
                  <a:txBody>
                    <a:bodyPr/>
                    <a:lstStyle/>
                    <a:p>
                      <a:pPr algn="l"/>
                      <a:r>
                        <a:rPr lang="en-US" sz="1400" noProof="0">
                          <a:solidFill>
                            <a:schemeClr val="tx1"/>
                          </a:solidFill>
                          <a:latin typeface="+mn-lt"/>
                        </a:rPr>
                        <a:t>Impact on</a:t>
                      </a:r>
                      <a:r>
                        <a:rPr lang="en-US" sz="1400" baseline="0" noProof="0">
                          <a:solidFill>
                            <a:schemeClr val="tx1"/>
                          </a:solidFill>
                          <a:latin typeface="+mn-lt"/>
                        </a:rPr>
                        <a:t> </a:t>
                      </a:r>
                      <a:r>
                        <a:rPr lang="en-US" sz="1400" noProof="0">
                          <a:solidFill>
                            <a:schemeClr val="tx1"/>
                          </a:solidFill>
                          <a:latin typeface="+mn-lt"/>
                        </a:rPr>
                        <a:t>International Rail Freight </a:t>
                      </a:r>
                    </a:p>
                  </a:txBody>
                  <a:tcPr marL="91429" marR="91429"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CC00"/>
                    </a:solidFill>
                  </a:tcPr>
                </a:tc>
                <a:extLst>
                  <a:ext uri="{0D108BD9-81ED-4DB2-BD59-A6C34878D82A}">
                    <a16:rowId xmlns:a16="http://schemas.microsoft.com/office/drawing/2014/main" val="10000"/>
                  </a:ext>
                </a:extLst>
              </a:tr>
              <a:tr h="1554024">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Cancellations: N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Deviations: Y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Estimated extra running time: </a:t>
                      </a:r>
                      <a:r>
                        <a:rPr kumimoji="0" lang="nl-NL" sz="1200" b="0" i="0" u="none" strike="noStrike" kern="1200" cap="none" spc="0" normalizeH="0" baseline="0" noProof="0">
                          <a:ln>
                            <a:noFill/>
                          </a:ln>
                          <a:solidFill>
                            <a:prstClr val="black"/>
                          </a:solidFill>
                          <a:effectLst/>
                          <a:uLnTx/>
                          <a:uFillTx/>
                          <a:latin typeface="+mn-lt"/>
                          <a:ea typeface="+mn-ea"/>
                          <a:cs typeface="+mn-cs"/>
                        </a:rPr>
                        <a:t>Detailed information on extra running time is distributed by DB Netz individually for every customer for each affected train. Additionally DB Netz offers train path advice free of charge</a:t>
                      </a:r>
                      <a:endParaRPr kumimoji="0" lang="en-US" sz="1200" b="0" i="0" u="none" strike="noStrike" kern="1200" cap="none" spc="0" normalizeH="0" baseline="0" noProof="0">
                        <a:ln>
                          <a:noFill/>
                        </a:ln>
                        <a:solidFill>
                          <a:prstClr val="black"/>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In annual timetable: Yes</a:t>
                      </a:r>
                      <a:endParaRPr kumimoji="0" lang="en-US" sz="1100" b="0" i="0" u="none" strike="noStrike" kern="1200" cap="none" spc="0" normalizeH="0" baseline="0" noProof="0">
                        <a:ln>
                          <a:noFill/>
                        </a:ln>
                        <a:solidFill>
                          <a:prstClr val="black"/>
                        </a:solidFill>
                        <a:effectLst/>
                        <a:uLnTx/>
                        <a:uFillTx/>
                        <a:latin typeface="+mn-lt"/>
                        <a:ea typeface="+mn-ea"/>
                        <a:cs typeface="+mn-cs"/>
                      </a:endParaRPr>
                    </a:p>
                  </a:txBody>
                  <a:tcPr marL="91429" marR="91429"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graphicFrame>
        <p:nvGraphicFramePr>
          <p:cNvPr id="11" name="Object 10">
            <a:extLst>
              <a:ext uri="{FF2B5EF4-FFF2-40B4-BE49-F238E27FC236}">
                <a16:creationId xmlns:a16="http://schemas.microsoft.com/office/drawing/2014/main" id="{A7035C4E-423D-41FF-85C4-CE3E7A6A9C41}"/>
              </a:ext>
            </a:extLst>
          </p:cNvPr>
          <p:cNvGraphicFramePr>
            <a:graphicFrameLocks noChangeAspect="1"/>
          </p:cNvGraphicFramePr>
          <p:nvPr>
            <p:extLst>
              <p:ext uri="{D42A27DB-BD31-4B8C-83A1-F6EECF244321}">
                <p14:modId xmlns:p14="http://schemas.microsoft.com/office/powerpoint/2010/main" val="4153915895"/>
              </p:ext>
            </p:extLst>
          </p:nvPr>
        </p:nvGraphicFramePr>
        <p:xfrm>
          <a:off x="5088633" y="3429000"/>
          <a:ext cx="4195326" cy="3013434"/>
        </p:xfrm>
        <a:graphic>
          <a:graphicData uri="http://schemas.openxmlformats.org/presentationml/2006/ole">
            <mc:AlternateContent xmlns:mc="http://schemas.openxmlformats.org/markup-compatibility/2006">
              <mc:Choice xmlns:v="urn:schemas-microsoft-com:vml" Requires="v">
                <p:oleObj name="Worksheet" r:id="rId2" imgW="11074400" imgH="8661446" progId="Excel.Sheet.12">
                  <p:embed/>
                </p:oleObj>
              </mc:Choice>
              <mc:Fallback>
                <p:oleObj name="Worksheet" r:id="rId2" imgW="11074400" imgH="8661446" progId="Excel.Sheet.12">
                  <p:embed/>
                  <p:pic>
                    <p:nvPicPr>
                      <p:cNvPr id="11" name="Object 10">
                        <a:extLst>
                          <a:ext uri="{FF2B5EF4-FFF2-40B4-BE49-F238E27FC236}">
                            <a16:creationId xmlns:a16="http://schemas.microsoft.com/office/drawing/2014/main" id="{A7035C4E-423D-41FF-85C4-CE3E7A6A9C41}"/>
                          </a:ext>
                        </a:extLst>
                      </p:cNvPr>
                      <p:cNvPicPr/>
                      <p:nvPr/>
                    </p:nvPicPr>
                    <p:blipFill>
                      <a:blip r:embed="rId3"/>
                      <a:stretch>
                        <a:fillRect/>
                      </a:stretch>
                    </p:blipFill>
                    <p:spPr>
                      <a:xfrm>
                        <a:off x="5088633" y="3429000"/>
                        <a:ext cx="4195326" cy="3013434"/>
                      </a:xfrm>
                      <a:prstGeom prst="rect">
                        <a:avLst/>
                      </a:prstGeom>
                    </p:spPr>
                  </p:pic>
                </p:oleObj>
              </mc:Fallback>
            </mc:AlternateContent>
          </a:graphicData>
        </a:graphic>
      </p:graphicFrame>
      <p:sp>
        <p:nvSpPr>
          <p:cNvPr id="12" name="Rechteck: abgerundete Ecken 11">
            <a:extLst>
              <a:ext uri="{FF2B5EF4-FFF2-40B4-BE49-F238E27FC236}">
                <a16:creationId xmlns:a16="http://schemas.microsoft.com/office/drawing/2014/main" id="{29EDB93D-FD62-1EF1-D192-F68661EEDD53}"/>
              </a:ext>
            </a:extLst>
          </p:cNvPr>
          <p:cNvSpPr/>
          <p:nvPr/>
        </p:nvSpPr>
        <p:spPr>
          <a:xfrm rot="1261670">
            <a:off x="8616087" y="924948"/>
            <a:ext cx="1105786" cy="613525"/>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de-DE" sz="1100"/>
              <a:t>Updated </a:t>
            </a:r>
            <a:r>
              <a:rPr lang="de-DE" sz="1100" err="1"/>
              <a:t>January</a:t>
            </a:r>
            <a:r>
              <a:rPr lang="de-DE" sz="1100"/>
              <a:t> 2025</a:t>
            </a:r>
          </a:p>
        </p:txBody>
      </p:sp>
      <p:pic>
        <p:nvPicPr>
          <p:cNvPr id="7" name="Afbeelding 6">
            <a:extLst>
              <a:ext uri="{FF2B5EF4-FFF2-40B4-BE49-F238E27FC236}">
                <a16:creationId xmlns:a16="http://schemas.microsoft.com/office/drawing/2014/main" id="{82C7888D-B1A6-27B6-01EE-B43D191B9BEF}"/>
              </a:ext>
            </a:extLst>
          </p:cNvPr>
          <p:cNvPicPr>
            <a:picLocks noChangeAspect="1"/>
          </p:cNvPicPr>
          <p:nvPr/>
        </p:nvPicPr>
        <p:blipFill>
          <a:blip r:embed="rId4"/>
          <a:stretch>
            <a:fillRect/>
          </a:stretch>
        </p:blipFill>
        <p:spPr>
          <a:xfrm>
            <a:off x="404774" y="2075974"/>
            <a:ext cx="4211984" cy="2306668"/>
          </a:xfrm>
          <a:prstGeom prst="rect">
            <a:avLst/>
          </a:prstGeom>
        </p:spPr>
      </p:pic>
    </p:spTree>
    <p:extLst>
      <p:ext uri="{BB962C8B-B14F-4D97-AF65-F5344CB8AC3E}">
        <p14:creationId xmlns:p14="http://schemas.microsoft.com/office/powerpoint/2010/main" val="20942670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34925" y="695325"/>
            <a:ext cx="6889750"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07763" dir="18900000" algn="ctr" rotWithShape="0">
                    <a:schemeClr val="bg2"/>
                  </a:outerShdw>
                </a:effectLst>
              </a14:hiddenEffects>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l" fontAlgn="base">
              <a:spcBef>
                <a:spcPct val="50000"/>
              </a:spcBef>
              <a:spcAft>
                <a:spcPct val="0"/>
              </a:spcAft>
              <a:buFontTx/>
              <a:buNone/>
            </a:pPr>
            <a:r>
              <a:rPr lang="en-GB" altLang="fr-FR" sz="2000" b="1">
                <a:solidFill>
                  <a:srgbClr val="000000"/>
                </a:solidFill>
                <a:cs typeface="Calibri" panose="020F0502020204030204" pitchFamily="34" charset="0"/>
              </a:rPr>
              <a:t>Impact of TCR TT 2026 at </a:t>
            </a:r>
            <a:r>
              <a:rPr lang="en-GB" altLang="fr-FR" sz="2000" b="1">
                <a:solidFill>
                  <a:prstClr val="black"/>
                </a:solidFill>
                <a:cs typeface="Calibri" panose="020F0502020204030204" pitchFamily="34" charset="0"/>
              </a:rPr>
              <a:t>DB </a:t>
            </a:r>
            <a:r>
              <a:rPr lang="en-GB" altLang="fr-FR" sz="2000" b="1" err="1">
                <a:solidFill>
                  <a:prstClr val="black"/>
                </a:solidFill>
                <a:cs typeface="Calibri" panose="020F0502020204030204" pitchFamily="34" charset="0"/>
              </a:rPr>
              <a:t>InfraGO</a:t>
            </a:r>
            <a:endParaRPr lang="en-GB" altLang="fr-FR" sz="2000" b="1">
              <a:solidFill>
                <a:prstClr val="black"/>
              </a:solidFill>
              <a:cs typeface="Calibri" panose="020F0502020204030204" pitchFamily="34" charset="0"/>
            </a:endParaRPr>
          </a:p>
          <a:p>
            <a:pPr algn="l" fontAlgn="base">
              <a:spcBef>
                <a:spcPct val="50000"/>
              </a:spcBef>
              <a:spcAft>
                <a:spcPct val="0"/>
              </a:spcAft>
              <a:buFontTx/>
              <a:buNone/>
            </a:pPr>
            <a:r>
              <a:rPr lang="en-GB" altLang="fr-FR" sz="2000" b="1">
                <a:solidFill>
                  <a:srgbClr val="000000"/>
                </a:solidFill>
                <a:cs typeface="Calibri" panose="020F0502020204030204" pitchFamily="34" charset="0"/>
              </a:rPr>
              <a:t>Section </a:t>
            </a:r>
            <a:r>
              <a:rPr lang="de-DE" altLang="fr-FR" sz="2000" b="1">
                <a:cs typeface="Calibri" panose="020F0502020204030204" pitchFamily="34" charset="0"/>
              </a:rPr>
              <a:t>Dresden – </a:t>
            </a:r>
            <a:r>
              <a:rPr lang="de-DE" altLang="fr-FR" sz="2000" b="1" err="1">
                <a:cs typeface="Calibri" panose="020F0502020204030204" pitchFamily="34" charset="0"/>
              </a:rPr>
              <a:t>Děčín</a:t>
            </a:r>
            <a:r>
              <a:rPr lang="de-DE" altLang="fr-FR" sz="2000" b="1">
                <a:cs typeface="Calibri" panose="020F0502020204030204" pitchFamily="34" charset="0"/>
              </a:rPr>
              <a:t> (Elbe </a:t>
            </a:r>
            <a:r>
              <a:rPr lang="de-DE" altLang="fr-FR" sz="2000" b="1" err="1">
                <a:cs typeface="Calibri" panose="020F0502020204030204" pitchFamily="34" charset="0"/>
              </a:rPr>
              <a:t>valley</a:t>
            </a:r>
            <a:r>
              <a:rPr lang="de-DE" altLang="fr-FR" sz="2000" b="1">
                <a:cs typeface="Calibri" panose="020F0502020204030204" pitchFamily="34" charset="0"/>
              </a:rPr>
              <a:t>)</a:t>
            </a:r>
            <a:endParaRPr lang="de-DE" altLang="fr-FR" sz="2000" b="1">
              <a:solidFill>
                <a:srgbClr val="FF0000"/>
              </a:solidFill>
              <a:cs typeface="Calibri" panose="020F0502020204030204" pitchFamily="34" charset="0"/>
            </a:endParaRPr>
          </a:p>
        </p:txBody>
      </p:sp>
      <p:graphicFrame>
        <p:nvGraphicFramePr>
          <p:cNvPr id="3" name="Inhaltsplatzhalter 8"/>
          <p:cNvGraphicFramePr>
            <a:graphicFrameLocks/>
          </p:cNvGraphicFramePr>
          <p:nvPr>
            <p:extLst>
              <p:ext uri="{D42A27DB-BD31-4B8C-83A1-F6EECF244321}">
                <p14:modId xmlns:p14="http://schemas.microsoft.com/office/powerpoint/2010/main" val="4087611412"/>
              </p:ext>
            </p:extLst>
          </p:nvPr>
        </p:nvGraphicFramePr>
        <p:xfrm>
          <a:off x="4975227" y="1557338"/>
          <a:ext cx="4011611" cy="2042188"/>
        </p:xfrm>
        <a:graphic>
          <a:graphicData uri="http://schemas.openxmlformats.org/drawingml/2006/table">
            <a:tbl>
              <a:tblPr firstRow="1" bandRow="1">
                <a:tableStyleId>{5C22544A-7EE6-4342-B048-85BDC9FD1C3A}</a:tableStyleId>
              </a:tblPr>
              <a:tblGrid>
                <a:gridCol w="4011611">
                  <a:extLst>
                    <a:ext uri="{9D8B030D-6E8A-4147-A177-3AD203B41FA5}">
                      <a16:colId xmlns:a16="http://schemas.microsoft.com/office/drawing/2014/main" val="20000"/>
                    </a:ext>
                  </a:extLst>
                </a:gridCol>
              </a:tblGrid>
              <a:tr h="279362">
                <a:tc>
                  <a:txBody>
                    <a:bodyPr/>
                    <a:lstStyle/>
                    <a:p>
                      <a:pPr algn="l"/>
                      <a:r>
                        <a:rPr lang="en-US" sz="1400" i="0" noProof="0">
                          <a:solidFill>
                            <a:schemeClr val="tx1"/>
                          </a:solidFill>
                          <a:latin typeface="+mn-lt"/>
                        </a:rPr>
                        <a:t>Major Capacity</a:t>
                      </a:r>
                      <a:r>
                        <a:rPr lang="en-US" sz="1400" i="0" baseline="0" noProof="0">
                          <a:solidFill>
                            <a:schemeClr val="tx1"/>
                          </a:solidFill>
                          <a:latin typeface="+mn-lt"/>
                        </a:rPr>
                        <a:t> Restriction</a:t>
                      </a:r>
                      <a:endParaRPr lang="en-US" sz="1400" i="0" noProof="0">
                        <a:solidFill>
                          <a:schemeClr val="tx1"/>
                        </a:solidFill>
                        <a:latin typeface="+mn-lt"/>
                      </a:endParaRPr>
                    </a:p>
                  </a:txBody>
                  <a:tcPr marL="91438" marR="91438" marT="45727" marB="4572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10000"/>
                  </a:ext>
                </a:extLst>
              </a:tr>
              <a:tr h="1592300">
                <a:tc>
                  <a:txBody>
                    <a:bodyPr/>
                    <a:lstStyle/>
                    <a:p>
                      <a:pPr marL="171450" indent="-171450">
                        <a:buFont typeface="Arial" panose="020B0604020202020204" pitchFamily="34" charset="0"/>
                        <a:buChar char="•"/>
                      </a:pPr>
                      <a:r>
                        <a:rPr lang="en-US" sz="1200" i="0" noProof="0">
                          <a:solidFill>
                            <a:schemeClr val="tx1"/>
                          </a:solidFill>
                          <a:latin typeface="+mn-lt"/>
                        </a:rPr>
                        <a:t>Location: </a:t>
                      </a:r>
                      <a:r>
                        <a:rPr lang="en-US" sz="1200" i="0" baseline="0" noProof="0" err="1">
                          <a:solidFill>
                            <a:schemeClr val="tx1"/>
                          </a:solidFill>
                          <a:latin typeface="+mn-lt"/>
                        </a:rPr>
                        <a:t>Schöna</a:t>
                      </a:r>
                      <a:r>
                        <a:rPr lang="en-US" sz="1200" i="0" baseline="0" noProof="0">
                          <a:solidFill>
                            <a:schemeClr val="tx1"/>
                          </a:solidFill>
                          <a:latin typeface="+mn-lt"/>
                        </a:rPr>
                        <a:t> – Bad </a:t>
                      </a:r>
                      <a:r>
                        <a:rPr lang="en-US" sz="1200" i="0" baseline="0" noProof="0" err="1">
                          <a:solidFill>
                            <a:schemeClr val="tx1"/>
                          </a:solidFill>
                          <a:latin typeface="+mn-lt"/>
                        </a:rPr>
                        <a:t>Schandau</a:t>
                      </a:r>
                      <a:r>
                        <a:rPr lang="en-US" sz="1200" i="0" baseline="0" noProof="0">
                          <a:solidFill>
                            <a:schemeClr val="tx1"/>
                          </a:solidFill>
                          <a:latin typeface="+mn-lt"/>
                        </a:rPr>
                        <a:t> (VZG 6240)</a:t>
                      </a:r>
                    </a:p>
                    <a:p>
                      <a:pPr marL="171450" indent="-171450">
                        <a:buFont typeface="Arial" panose="020B0604020202020204" pitchFamily="34" charset="0"/>
                        <a:buChar char="•"/>
                      </a:pPr>
                      <a:r>
                        <a:rPr lang="en-US" sz="1200" i="0" noProof="0">
                          <a:solidFill>
                            <a:schemeClr val="tx1"/>
                          </a:solidFill>
                          <a:latin typeface="+mn-lt"/>
                        </a:rPr>
                        <a:t>Type: </a:t>
                      </a:r>
                      <a:r>
                        <a:rPr lang="en-US" sz="1200" b="0" i="0" u="none" baseline="0" noProof="0">
                          <a:solidFill>
                            <a:schemeClr val="tx1"/>
                          </a:solidFill>
                          <a:latin typeface="+mn-lt"/>
                        </a:rPr>
                        <a:t>Single track operations and total closures</a:t>
                      </a:r>
                    </a:p>
                    <a:p>
                      <a:pPr marL="171450" indent="-171450">
                        <a:buFont typeface="Arial" panose="020B0604020202020204" pitchFamily="34" charset="0"/>
                        <a:buChar char="•"/>
                      </a:pPr>
                      <a:r>
                        <a:rPr lang="en-US" sz="1200" b="0" i="0" u="none" baseline="0" noProof="0">
                          <a:solidFill>
                            <a:schemeClr val="tx1"/>
                          </a:solidFill>
                          <a:latin typeface="+mn-lt"/>
                        </a:rPr>
                        <a:t>Period: Jan 26 – Dec 26</a:t>
                      </a:r>
                    </a:p>
                    <a:p>
                      <a:pPr marL="182563" indent="-182563">
                        <a:buFont typeface="Arial" panose="020B0604020202020204" pitchFamily="34" charset="0"/>
                        <a:buChar char="•"/>
                      </a:pPr>
                      <a:r>
                        <a:rPr lang="en-US" sz="1200" i="0" noProof="0">
                          <a:solidFill>
                            <a:schemeClr val="tx1"/>
                          </a:solidFill>
                          <a:latin typeface="+mn-lt"/>
                        </a:rPr>
                        <a:t>Duration: Continuous/Periodical</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noProof="0">
                          <a:solidFill>
                            <a:schemeClr val="tx1"/>
                          </a:solidFill>
                          <a:latin typeface="+mn-lt"/>
                        </a:rPr>
                        <a:t>Works: Bridge, Noise protection, Catenary, Miscellaneous</a:t>
                      </a:r>
                    </a:p>
                    <a:p>
                      <a:pPr marL="182563" indent="-182563">
                        <a:buFont typeface="Arial" panose="020B0604020202020204" pitchFamily="34" charset="0"/>
                        <a:buChar char="•"/>
                      </a:pPr>
                      <a:r>
                        <a:rPr lang="en-US" sz="1200" b="1" i="0" baseline="0" noProof="0">
                          <a:solidFill>
                            <a:schemeClr val="tx1"/>
                          </a:solidFill>
                          <a:latin typeface="+mn-lt"/>
                        </a:rPr>
                        <a:t>Most of the yellow marked times include </a:t>
                      </a:r>
                      <a:r>
                        <a:rPr lang="en-US" sz="1200" b="1" i="0" baseline="0" noProof="0">
                          <a:solidFill>
                            <a:srgbClr val="FF0000"/>
                          </a:solidFill>
                          <a:latin typeface="+mn-lt"/>
                        </a:rPr>
                        <a:t>total closures</a:t>
                      </a:r>
                      <a:r>
                        <a:rPr lang="en-US" sz="1200" b="1" i="0" baseline="0" noProof="0">
                          <a:solidFill>
                            <a:schemeClr val="tx1"/>
                          </a:solidFill>
                          <a:latin typeface="+mn-lt"/>
                        </a:rPr>
                        <a:t>, which take place only during part of the day </a:t>
                      </a:r>
                      <a:r>
                        <a:rPr lang="en-US" sz="1200" b="1" i="0" baseline="0" noProof="0">
                          <a:solidFill>
                            <a:schemeClr val="tx1"/>
                          </a:solidFill>
                          <a:latin typeface="+mn-lt"/>
                          <a:sym typeface="Wingdings" panose="05000000000000000000" pitchFamily="2" charset="2"/>
                        </a:rPr>
                        <a:t> </a:t>
                      </a:r>
                      <a:r>
                        <a:rPr lang="en-US" sz="1200" b="1" i="0" baseline="0" noProof="0">
                          <a:solidFill>
                            <a:schemeClr val="tx1"/>
                          </a:solidFill>
                          <a:latin typeface="+mn-lt"/>
                        </a:rPr>
                        <a:t>Shiftwork!</a:t>
                      </a:r>
                    </a:p>
                    <a:p>
                      <a:endParaRPr lang="en-US" sz="1200" i="0" baseline="0" noProof="0">
                        <a:solidFill>
                          <a:schemeClr val="tx1"/>
                        </a:solidFill>
                        <a:latin typeface="+mn-lt"/>
                      </a:endParaRPr>
                    </a:p>
                  </a:txBody>
                  <a:tcPr marL="91438" marR="91438" marT="45727" marB="4572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graphicFrame>
        <p:nvGraphicFramePr>
          <p:cNvPr id="4" name="Inhaltsplatzhalter 8"/>
          <p:cNvGraphicFramePr>
            <a:graphicFrameLocks/>
          </p:cNvGraphicFramePr>
          <p:nvPr>
            <p:extLst>
              <p:ext uri="{D42A27DB-BD31-4B8C-83A1-F6EECF244321}">
                <p14:modId xmlns:p14="http://schemas.microsoft.com/office/powerpoint/2010/main" val="598290759"/>
              </p:ext>
            </p:extLst>
          </p:nvPr>
        </p:nvGraphicFramePr>
        <p:xfrm>
          <a:off x="342107" y="4529138"/>
          <a:ext cx="4321175" cy="1985963"/>
        </p:xfrm>
        <a:graphic>
          <a:graphicData uri="http://schemas.openxmlformats.org/drawingml/2006/table">
            <a:tbl>
              <a:tblPr firstRow="1" bandRow="1">
                <a:tableStyleId>{5C22544A-7EE6-4342-B048-85BDC9FD1C3A}</a:tableStyleId>
              </a:tblPr>
              <a:tblGrid>
                <a:gridCol w="4321175">
                  <a:extLst>
                    <a:ext uri="{9D8B030D-6E8A-4147-A177-3AD203B41FA5}">
                      <a16:colId xmlns:a16="http://schemas.microsoft.com/office/drawing/2014/main" val="20000"/>
                    </a:ext>
                  </a:extLst>
                </a:gridCol>
              </a:tblGrid>
              <a:tr h="431939">
                <a:tc>
                  <a:txBody>
                    <a:bodyPr/>
                    <a:lstStyle/>
                    <a:p>
                      <a:pPr algn="l"/>
                      <a:r>
                        <a:rPr lang="en-US" sz="1400" noProof="0">
                          <a:solidFill>
                            <a:schemeClr val="tx1"/>
                          </a:solidFill>
                          <a:latin typeface="+mn-lt"/>
                        </a:rPr>
                        <a:t>Impact on</a:t>
                      </a:r>
                      <a:r>
                        <a:rPr lang="en-US" sz="1400" baseline="0" noProof="0">
                          <a:solidFill>
                            <a:schemeClr val="tx1"/>
                          </a:solidFill>
                          <a:latin typeface="+mn-lt"/>
                        </a:rPr>
                        <a:t> </a:t>
                      </a:r>
                      <a:r>
                        <a:rPr lang="en-US" sz="1400" noProof="0">
                          <a:solidFill>
                            <a:schemeClr val="tx1"/>
                          </a:solidFill>
                          <a:latin typeface="+mn-lt"/>
                        </a:rPr>
                        <a:t>International Rail Freight </a:t>
                      </a:r>
                      <a:r>
                        <a:rPr lang="en-US" sz="1400" baseline="0" noProof="0">
                          <a:solidFill>
                            <a:schemeClr val="tx1"/>
                          </a:solidFill>
                          <a:latin typeface="+mn-lt"/>
                        </a:rPr>
                        <a:t> </a:t>
                      </a:r>
                      <a:endParaRPr lang="en-US" sz="1400" noProof="0">
                        <a:solidFill>
                          <a:schemeClr val="tx1"/>
                        </a:solidFill>
                        <a:latin typeface="+mn-lt"/>
                      </a:endParaRPr>
                    </a:p>
                  </a:txBody>
                  <a:tcPr marL="91429" marR="91429"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CC00"/>
                    </a:solidFill>
                  </a:tcPr>
                </a:tc>
                <a:extLst>
                  <a:ext uri="{0D108BD9-81ED-4DB2-BD59-A6C34878D82A}">
                    <a16:rowId xmlns:a16="http://schemas.microsoft.com/office/drawing/2014/main" val="10000"/>
                  </a:ext>
                </a:extLst>
              </a:tr>
              <a:tr h="1554024">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a:solidFill>
                            <a:schemeClr val="tx1"/>
                          </a:solidFill>
                          <a:latin typeface="+mn-lt"/>
                          <a:ea typeface="+mn-ea"/>
                          <a:cs typeface="+mn-cs"/>
                        </a:rPr>
                        <a:t>Cancellations: Y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a:solidFill>
                            <a:schemeClr val="tx1"/>
                          </a:solidFill>
                          <a:latin typeface="+mn-lt"/>
                          <a:ea typeface="+mn-ea"/>
                          <a:cs typeface="+mn-cs"/>
                        </a:rPr>
                        <a:t>Deviations: Y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a:solidFill>
                            <a:schemeClr val="tx1"/>
                          </a:solidFill>
                          <a:latin typeface="+mn-lt"/>
                          <a:ea typeface="+mn-ea"/>
                          <a:cs typeface="+mn-cs"/>
                        </a:rPr>
                        <a:t>Estimated extra running time: </a:t>
                      </a:r>
                      <a:r>
                        <a:rPr lang="nl-NL" sz="1200" i="0" kern="1200" noProof="0">
                          <a:solidFill>
                            <a:schemeClr val="tx1"/>
                          </a:solidFill>
                          <a:latin typeface="+mn-lt"/>
                          <a:ea typeface="+mn-ea"/>
                          <a:cs typeface="+mn-cs"/>
                        </a:rPr>
                        <a:t>Detailed information on extra running time is distributed by DB Netz individually for every customer for each affected train. Additionally DB Netz offers train path advice free of charge</a:t>
                      </a:r>
                      <a:endParaRPr lang="en-US" sz="1200" i="0" kern="1200" noProof="0">
                        <a:solidFill>
                          <a:schemeClr val="tx1"/>
                        </a:solidFill>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kern="1200" noProof="0">
                          <a:solidFill>
                            <a:schemeClr val="tx1"/>
                          </a:solidFill>
                          <a:latin typeface="+mn-lt"/>
                          <a:ea typeface="+mn-ea"/>
                          <a:cs typeface="+mn-cs"/>
                        </a:rPr>
                        <a:t>In annual timetable: Yes</a:t>
                      </a:r>
                      <a:endParaRPr lang="en-US" sz="1100" i="0" noProof="0">
                        <a:solidFill>
                          <a:schemeClr val="tx1"/>
                        </a:solidFill>
                      </a:endParaRPr>
                    </a:p>
                  </a:txBody>
                  <a:tcPr marL="91429" marR="91429"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5" name="Textfeld 18"/>
          <p:cNvSpPr txBox="1">
            <a:spLocks noChangeArrowheads="1"/>
          </p:cNvSpPr>
          <p:nvPr/>
        </p:nvSpPr>
        <p:spPr bwMode="auto">
          <a:xfrm>
            <a:off x="342107" y="1557338"/>
            <a:ext cx="4325938" cy="307975"/>
          </a:xfrm>
          <a:prstGeom prst="rect">
            <a:avLst/>
          </a:prstGeom>
          <a:solidFill>
            <a:srgbClr val="FFCC00"/>
          </a:solidFill>
          <a:ln w="9525">
            <a:solidFill>
              <a:srgbClr val="0066FF"/>
            </a:solidFill>
            <a:miter lim="800000"/>
            <a:headEnd/>
            <a:tailEnd/>
          </a:ln>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de-DE" altLang="fr-FR" sz="1400" b="1">
                <a:solidFill>
                  <a:prstClr val="black"/>
                </a:solidFill>
                <a:cs typeface="Arial" pitchFamily="34" charset="0"/>
              </a:rPr>
              <a:t>Map view</a:t>
            </a:r>
          </a:p>
        </p:txBody>
      </p:sp>
      <p:sp>
        <p:nvSpPr>
          <p:cNvPr id="6" name="Rechteck 20"/>
          <p:cNvSpPr>
            <a:spLocks noChangeArrowheads="1"/>
          </p:cNvSpPr>
          <p:nvPr/>
        </p:nvSpPr>
        <p:spPr bwMode="auto">
          <a:xfrm>
            <a:off x="342107" y="1847851"/>
            <a:ext cx="4325938" cy="2681287"/>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fontAlgn="base">
              <a:spcBef>
                <a:spcPct val="50000"/>
              </a:spcBef>
              <a:spcAft>
                <a:spcPct val="0"/>
              </a:spcAft>
              <a:buFontTx/>
              <a:buNone/>
            </a:pPr>
            <a:endParaRPr lang="de-DE" altLang="fr-FR" sz="1200" b="1">
              <a:solidFill>
                <a:prstClr val="black"/>
              </a:solidFill>
              <a:latin typeface="DB Office" pitchFamily="34" charset="0"/>
              <a:cs typeface="Arial" pitchFamily="34" charset="0"/>
            </a:endParaRPr>
          </a:p>
        </p:txBody>
      </p:sp>
      <p:pic>
        <p:nvPicPr>
          <p:cNvPr id="8" name="Afbeelding 5">
            <a:extLst>
              <a:ext uri="{FF2B5EF4-FFF2-40B4-BE49-F238E27FC236}">
                <a16:creationId xmlns:a16="http://schemas.microsoft.com/office/drawing/2014/main" id="{04FE2687-6A59-4508-A24E-8347FDA1A75D}"/>
              </a:ext>
            </a:extLst>
          </p:cNvPr>
          <p:cNvPicPr>
            <a:picLocks noChangeAspect="1"/>
          </p:cNvPicPr>
          <p:nvPr/>
        </p:nvPicPr>
        <p:blipFill>
          <a:blip r:embed="rId2"/>
          <a:stretch>
            <a:fillRect/>
          </a:stretch>
        </p:blipFill>
        <p:spPr>
          <a:xfrm>
            <a:off x="875606" y="1809727"/>
            <a:ext cx="3254175" cy="2804863"/>
          </a:xfrm>
          <a:prstGeom prst="rect">
            <a:avLst/>
          </a:prstGeom>
        </p:spPr>
      </p:pic>
      <p:graphicFrame>
        <p:nvGraphicFramePr>
          <p:cNvPr id="7" name="Object 10">
            <a:extLst>
              <a:ext uri="{FF2B5EF4-FFF2-40B4-BE49-F238E27FC236}">
                <a16:creationId xmlns:a16="http://schemas.microsoft.com/office/drawing/2014/main" id="{C12A84C2-DCED-C55E-7285-3509FD5BF7B4}"/>
              </a:ext>
            </a:extLst>
          </p:cNvPr>
          <p:cNvGraphicFramePr>
            <a:graphicFrameLocks noChangeAspect="1"/>
          </p:cNvGraphicFramePr>
          <p:nvPr>
            <p:extLst>
              <p:ext uri="{D42A27DB-BD31-4B8C-83A1-F6EECF244321}">
                <p14:modId xmlns:p14="http://schemas.microsoft.com/office/powerpoint/2010/main" val="847981382"/>
              </p:ext>
            </p:extLst>
          </p:nvPr>
        </p:nvGraphicFramePr>
        <p:xfrm>
          <a:off x="5087938" y="3522663"/>
          <a:ext cx="4195762" cy="2825750"/>
        </p:xfrm>
        <a:graphic>
          <a:graphicData uri="http://schemas.openxmlformats.org/presentationml/2006/ole">
            <mc:AlternateContent xmlns:mc="http://schemas.openxmlformats.org/markup-compatibility/2006">
              <mc:Choice xmlns:v="urn:schemas-microsoft-com:vml" Requires="v">
                <p:oleObj name="Worksheet" r:id="rId3" imgW="11074400" imgH="8121535" progId="Excel.Sheet.12">
                  <p:embed/>
                </p:oleObj>
              </mc:Choice>
              <mc:Fallback>
                <p:oleObj name="Worksheet" r:id="rId3" imgW="11074400" imgH="8121535" progId="Excel.Sheet.12">
                  <p:embed/>
                  <p:pic>
                    <p:nvPicPr>
                      <p:cNvPr id="7" name="Object 10">
                        <a:extLst>
                          <a:ext uri="{FF2B5EF4-FFF2-40B4-BE49-F238E27FC236}">
                            <a16:creationId xmlns:a16="http://schemas.microsoft.com/office/drawing/2014/main" id="{C12A84C2-DCED-C55E-7285-3509FD5BF7B4}"/>
                          </a:ext>
                        </a:extLst>
                      </p:cNvPr>
                      <p:cNvPicPr/>
                      <p:nvPr/>
                    </p:nvPicPr>
                    <p:blipFill>
                      <a:blip r:embed="rId4"/>
                      <a:stretch>
                        <a:fillRect/>
                      </a:stretch>
                    </p:blipFill>
                    <p:spPr>
                      <a:xfrm>
                        <a:off x="5087938" y="3522663"/>
                        <a:ext cx="4195762" cy="2825750"/>
                      </a:xfrm>
                      <a:prstGeom prst="rect">
                        <a:avLst/>
                      </a:prstGeom>
                    </p:spPr>
                  </p:pic>
                </p:oleObj>
              </mc:Fallback>
            </mc:AlternateContent>
          </a:graphicData>
        </a:graphic>
      </p:graphicFrame>
      <p:sp>
        <p:nvSpPr>
          <p:cNvPr id="10" name="Rechteck: abgerundete Ecken 9">
            <a:extLst>
              <a:ext uri="{FF2B5EF4-FFF2-40B4-BE49-F238E27FC236}">
                <a16:creationId xmlns:a16="http://schemas.microsoft.com/office/drawing/2014/main" id="{61BBCD26-895B-59DA-8311-10488436D4A8}"/>
              </a:ext>
            </a:extLst>
          </p:cNvPr>
          <p:cNvSpPr/>
          <p:nvPr/>
        </p:nvSpPr>
        <p:spPr>
          <a:xfrm rot="1261670">
            <a:off x="8616087" y="924948"/>
            <a:ext cx="1105786" cy="613525"/>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de-DE" sz="1100"/>
              <a:t>Updated </a:t>
            </a:r>
            <a:r>
              <a:rPr lang="de-DE" sz="1100" err="1"/>
              <a:t>January</a:t>
            </a:r>
            <a:r>
              <a:rPr lang="de-DE" sz="1100"/>
              <a:t> 2025</a:t>
            </a:r>
          </a:p>
        </p:txBody>
      </p:sp>
    </p:spTree>
    <p:extLst>
      <p:ext uri="{BB962C8B-B14F-4D97-AF65-F5344CB8AC3E}">
        <p14:creationId xmlns:p14="http://schemas.microsoft.com/office/powerpoint/2010/main" val="20468615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auto">
          <a:xfrm>
            <a:off x="34925" y="695325"/>
            <a:ext cx="9155728"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07763" dir="18900000" algn="ctr" rotWithShape="0">
                    <a:schemeClr val="bg2"/>
                  </a:outerShdw>
                </a:effectLst>
              </a14:hiddenEffects>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l" fontAlgn="base">
              <a:spcBef>
                <a:spcPct val="50000"/>
              </a:spcBef>
              <a:spcAft>
                <a:spcPct val="0"/>
              </a:spcAft>
              <a:buFontTx/>
              <a:buNone/>
            </a:pPr>
            <a:r>
              <a:rPr lang="en-GB" altLang="fr-FR" sz="2000" b="1">
                <a:solidFill>
                  <a:srgbClr val="000000"/>
                </a:solidFill>
                <a:cs typeface="Calibri" panose="020F0502020204030204" pitchFamily="34" charset="0"/>
              </a:rPr>
              <a:t>Impact of TCR TT 2026 at </a:t>
            </a:r>
            <a:r>
              <a:rPr lang="en-GB" altLang="fr-FR" sz="2000" b="1">
                <a:solidFill>
                  <a:prstClr val="black"/>
                </a:solidFill>
                <a:cs typeface="Calibri" panose="020F0502020204030204" pitchFamily="34" charset="0"/>
              </a:rPr>
              <a:t>DB InfraGO</a:t>
            </a:r>
          </a:p>
          <a:p>
            <a:pPr algn="l" fontAlgn="base">
              <a:spcBef>
                <a:spcPct val="50000"/>
              </a:spcBef>
              <a:spcAft>
                <a:spcPct val="0"/>
              </a:spcAft>
              <a:buFontTx/>
              <a:buNone/>
            </a:pPr>
            <a:r>
              <a:rPr lang="en-GB" altLang="fr-FR" sz="2000" b="1">
                <a:solidFill>
                  <a:srgbClr val="000000"/>
                </a:solidFill>
                <a:cs typeface="Calibri" panose="020F0502020204030204" pitchFamily="34" charset="0"/>
              </a:rPr>
              <a:t>Aachen - </a:t>
            </a:r>
            <a:r>
              <a:rPr lang="en-GB" altLang="fr-FR" sz="2000" b="1" err="1">
                <a:solidFill>
                  <a:srgbClr val="000000"/>
                </a:solidFill>
                <a:cs typeface="Calibri" panose="020F0502020204030204" pitchFamily="34" charset="0"/>
              </a:rPr>
              <a:t>Rheydt</a:t>
            </a:r>
            <a:endParaRPr lang="en-GB" altLang="fr-FR" sz="2000" b="1">
              <a:solidFill>
                <a:srgbClr val="000000"/>
              </a:solidFill>
              <a:cs typeface="Calibri" panose="020F0502020204030204" pitchFamily="34" charset="0"/>
            </a:endParaRPr>
          </a:p>
        </p:txBody>
      </p:sp>
      <p:graphicFrame>
        <p:nvGraphicFramePr>
          <p:cNvPr id="3" name="Inhaltsplatzhalter 8"/>
          <p:cNvGraphicFramePr>
            <a:graphicFrameLocks/>
          </p:cNvGraphicFramePr>
          <p:nvPr>
            <p:extLst>
              <p:ext uri="{D42A27DB-BD31-4B8C-83A1-F6EECF244321}">
                <p14:modId xmlns:p14="http://schemas.microsoft.com/office/powerpoint/2010/main" val="1521472901"/>
              </p:ext>
            </p:extLst>
          </p:nvPr>
        </p:nvGraphicFramePr>
        <p:xfrm>
          <a:off x="4945711" y="1552655"/>
          <a:ext cx="4613098" cy="1724025"/>
        </p:xfrm>
        <a:graphic>
          <a:graphicData uri="http://schemas.openxmlformats.org/drawingml/2006/table">
            <a:tbl>
              <a:tblPr firstRow="1" bandRow="1">
                <a:tableStyleId>{5C22544A-7EE6-4342-B048-85BDC9FD1C3A}</a:tableStyleId>
              </a:tblPr>
              <a:tblGrid>
                <a:gridCol w="4613098">
                  <a:extLst>
                    <a:ext uri="{9D8B030D-6E8A-4147-A177-3AD203B41FA5}">
                      <a16:colId xmlns:a16="http://schemas.microsoft.com/office/drawing/2014/main" val="20000"/>
                    </a:ext>
                  </a:extLst>
                </a:gridCol>
              </a:tblGrid>
              <a:tr h="412366">
                <a:tc>
                  <a:txBody>
                    <a:bodyPr/>
                    <a:lstStyle/>
                    <a:p>
                      <a:pPr algn="l"/>
                      <a:r>
                        <a:rPr lang="en-US" sz="1000" i="0" noProof="0">
                          <a:solidFill>
                            <a:schemeClr val="tx1"/>
                          </a:solidFill>
                          <a:latin typeface="+mn-lt"/>
                        </a:rPr>
                        <a:t>Major Capacity</a:t>
                      </a:r>
                      <a:r>
                        <a:rPr lang="en-US" sz="1000" i="0" baseline="0" noProof="0">
                          <a:solidFill>
                            <a:schemeClr val="tx1"/>
                          </a:solidFill>
                          <a:latin typeface="+mn-lt"/>
                        </a:rPr>
                        <a:t> Restriction</a:t>
                      </a:r>
                      <a:endParaRPr lang="en-US" sz="1000" i="0" noProof="0">
                        <a:solidFill>
                          <a:schemeClr val="tx1"/>
                        </a:solidFill>
                        <a:latin typeface="+mn-lt"/>
                      </a:endParaRPr>
                    </a:p>
                  </a:txBody>
                  <a:tcPr marL="91438" marR="91438" marT="45727" marB="4572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C00"/>
                    </a:solidFill>
                  </a:tcPr>
                </a:tc>
                <a:extLst>
                  <a:ext uri="{0D108BD9-81ED-4DB2-BD59-A6C34878D82A}">
                    <a16:rowId xmlns:a16="http://schemas.microsoft.com/office/drawing/2014/main" val="10000"/>
                  </a:ext>
                </a:extLst>
              </a:tr>
              <a:tr h="1311659">
                <a:tc>
                  <a:txBody>
                    <a:bodyPr/>
                    <a:lstStyle/>
                    <a:p>
                      <a:pPr marL="171450" indent="-171450" algn="l" defTabSz="914400" rtl="0" eaLnBrk="1" latinLnBrk="0" hangingPunct="1">
                        <a:buFont typeface="Arial" panose="020B0604020202020204" pitchFamily="34" charset="0"/>
                        <a:buChar char="•"/>
                      </a:pPr>
                      <a:r>
                        <a:rPr lang="en-US" sz="1100" i="0" kern="1200" noProof="0">
                          <a:solidFill>
                            <a:schemeClr val="tx1"/>
                          </a:solidFill>
                          <a:latin typeface="+mn-lt"/>
                          <a:ea typeface="+mn-ea"/>
                          <a:cs typeface="+mn-cs"/>
                        </a:rPr>
                        <a:t>Location: Aachen - </a:t>
                      </a:r>
                      <a:r>
                        <a:rPr lang="en-US" sz="1100" i="0" kern="1200" noProof="0" err="1">
                          <a:solidFill>
                            <a:schemeClr val="tx1"/>
                          </a:solidFill>
                          <a:latin typeface="+mn-lt"/>
                          <a:ea typeface="+mn-ea"/>
                          <a:cs typeface="+mn-cs"/>
                        </a:rPr>
                        <a:t>Rheydt</a:t>
                      </a:r>
                      <a:endParaRPr lang="en-US" sz="1100" i="0" kern="1200" noProof="0">
                        <a:solidFill>
                          <a:schemeClr val="tx1"/>
                        </a:solidFill>
                        <a:latin typeface="+mn-lt"/>
                        <a:ea typeface="+mn-ea"/>
                        <a:cs typeface="+mn-cs"/>
                      </a:endParaRPr>
                    </a:p>
                    <a:p>
                      <a:pPr marL="171450" indent="-171450" algn="l" defTabSz="914400" rtl="0" eaLnBrk="1" latinLnBrk="0" hangingPunct="1">
                        <a:buFont typeface="Arial" panose="020B0604020202020204" pitchFamily="34" charset="0"/>
                        <a:buChar char="•"/>
                      </a:pPr>
                      <a:r>
                        <a:rPr lang="en-US" sz="1100" i="0" kern="1200" noProof="0">
                          <a:solidFill>
                            <a:schemeClr val="tx1"/>
                          </a:solidFill>
                          <a:latin typeface="+mn-lt"/>
                          <a:ea typeface="+mn-ea"/>
                          <a:cs typeface="+mn-cs"/>
                        </a:rPr>
                        <a:t>Type: Total closure, Catenary, Travel on opposite track</a:t>
                      </a:r>
                    </a:p>
                    <a:p>
                      <a:pPr marL="171450" indent="-171450" algn="l" defTabSz="914400" rtl="0" eaLnBrk="1" latinLnBrk="0" hangingPunct="1">
                        <a:buFont typeface="Arial" panose="020B0604020202020204" pitchFamily="34" charset="0"/>
                        <a:buChar char="•"/>
                      </a:pPr>
                      <a:r>
                        <a:rPr lang="en-US" sz="1100" i="0" kern="1200" noProof="0">
                          <a:solidFill>
                            <a:schemeClr val="tx1"/>
                          </a:solidFill>
                          <a:latin typeface="+mn-lt"/>
                          <a:ea typeface="+mn-ea"/>
                          <a:cs typeface="+mn-cs"/>
                        </a:rPr>
                        <a:t>Period: January – October 26</a:t>
                      </a:r>
                    </a:p>
                    <a:p>
                      <a:pPr marL="171450" indent="-171450" algn="l" defTabSz="914400" rtl="0" eaLnBrk="1" latinLnBrk="0" hangingPunct="1">
                        <a:buFont typeface="Arial" panose="020B0604020202020204" pitchFamily="34" charset="0"/>
                        <a:buChar char="•"/>
                      </a:pPr>
                      <a:r>
                        <a:rPr lang="en-US" sz="1100" i="0" kern="1200" noProof="0">
                          <a:solidFill>
                            <a:schemeClr val="tx1"/>
                          </a:solidFill>
                          <a:latin typeface="+mn-lt"/>
                          <a:ea typeface="+mn-ea"/>
                          <a:cs typeface="+mn-cs"/>
                        </a:rPr>
                        <a:t>Type of works: Bridge work, work on LST systems</a:t>
                      </a:r>
                    </a:p>
                    <a:p>
                      <a:pPr marL="171450" indent="-171450" algn="l" defTabSz="914400" rtl="0" eaLnBrk="1" latinLnBrk="0" hangingPunct="1">
                        <a:buFont typeface="Arial" panose="020B0604020202020204" pitchFamily="34" charset="0"/>
                        <a:buChar char="•"/>
                      </a:pPr>
                      <a:r>
                        <a:rPr lang="en-US" sz="1100" i="0" kern="1200" noProof="0">
                          <a:solidFill>
                            <a:schemeClr val="tx1"/>
                          </a:solidFill>
                          <a:latin typeface="+mn-lt"/>
                          <a:ea typeface="+mn-ea"/>
                          <a:cs typeface="+mn-cs"/>
                        </a:rPr>
                        <a:t>Total closures May – October periodical, not continuous</a:t>
                      </a:r>
                    </a:p>
                    <a:p>
                      <a:pPr marL="0" indent="0" algn="l" defTabSz="914400" rtl="0" eaLnBrk="1" latinLnBrk="0" hangingPunct="1">
                        <a:buFont typeface="Arial" panose="020B0604020202020204" pitchFamily="34" charset="0"/>
                        <a:buNone/>
                      </a:pPr>
                      <a:endParaRPr lang="de-DE" sz="1000" i="0" kern="1200">
                        <a:solidFill>
                          <a:schemeClr val="tx1"/>
                        </a:solidFill>
                        <a:latin typeface="+mn-lt"/>
                        <a:ea typeface="+mn-ea"/>
                        <a:cs typeface="+mn-cs"/>
                      </a:endParaRPr>
                    </a:p>
                    <a:p>
                      <a:pPr marL="0" indent="0" algn="l" defTabSz="914400" rtl="0" eaLnBrk="1" latinLnBrk="0" hangingPunct="1">
                        <a:buFont typeface="Arial" panose="020B0604020202020204" pitchFamily="34" charset="0"/>
                        <a:buNone/>
                      </a:pPr>
                      <a:endParaRPr lang="en-US" sz="1000" i="0" kern="1200" noProof="0">
                        <a:solidFill>
                          <a:schemeClr val="tx1"/>
                        </a:solidFill>
                        <a:latin typeface="+mn-lt"/>
                        <a:ea typeface="+mn-ea"/>
                        <a:cs typeface="+mn-cs"/>
                      </a:endParaRPr>
                    </a:p>
                  </a:txBody>
                  <a:tcPr marL="91438" marR="91438" marT="45727" marB="4572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5" name="Textfeld 18"/>
          <p:cNvSpPr txBox="1">
            <a:spLocks noChangeArrowheads="1"/>
          </p:cNvSpPr>
          <p:nvPr/>
        </p:nvSpPr>
        <p:spPr bwMode="auto">
          <a:xfrm>
            <a:off x="342429" y="1552655"/>
            <a:ext cx="4325938" cy="307975"/>
          </a:xfrm>
          <a:prstGeom prst="rect">
            <a:avLst/>
          </a:prstGeom>
          <a:solidFill>
            <a:srgbClr val="FFCC00"/>
          </a:solidFill>
          <a:ln w="9525">
            <a:solidFill>
              <a:srgbClr val="0066FF"/>
            </a:solidFill>
            <a:miter lim="800000"/>
            <a:headEnd/>
            <a:tailEnd/>
          </a:ln>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de-DE" altLang="fr-FR" sz="1400" b="1">
                <a:solidFill>
                  <a:prstClr val="black"/>
                </a:solidFill>
                <a:cs typeface="Arial" pitchFamily="34" charset="0"/>
              </a:rPr>
              <a:t>Map view</a:t>
            </a:r>
          </a:p>
        </p:txBody>
      </p:sp>
      <p:sp>
        <p:nvSpPr>
          <p:cNvPr id="6" name="Rechteck 20"/>
          <p:cNvSpPr>
            <a:spLocks noChangeArrowheads="1"/>
          </p:cNvSpPr>
          <p:nvPr/>
        </p:nvSpPr>
        <p:spPr bwMode="auto">
          <a:xfrm>
            <a:off x="342429" y="1843168"/>
            <a:ext cx="4325938" cy="2681287"/>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fontAlgn="base">
              <a:spcBef>
                <a:spcPct val="50000"/>
              </a:spcBef>
              <a:spcAft>
                <a:spcPct val="0"/>
              </a:spcAft>
              <a:buFontTx/>
              <a:buNone/>
            </a:pPr>
            <a:endParaRPr lang="de-DE" altLang="fr-FR" sz="1200" b="1">
              <a:solidFill>
                <a:prstClr val="black"/>
              </a:solidFill>
              <a:latin typeface="DB Office" pitchFamily="34" charset="0"/>
              <a:cs typeface="Arial" pitchFamily="34" charset="0"/>
            </a:endParaRPr>
          </a:p>
        </p:txBody>
      </p:sp>
      <p:graphicFrame>
        <p:nvGraphicFramePr>
          <p:cNvPr id="9" name="Inhaltsplatzhalter 8">
            <a:extLst>
              <a:ext uri="{FF2B5EF4-FFF2-40B4-BE49-F238E27FC236}">
                <a16:creationId xmlns:a16="http://schemas.microsoft.com/office/drawing/2014/main" id="{5C5543BE-AD15-4112-A86E-9187FDBF0E25}"/>
              </a:ext>
            </a:extLst>
          </p:cNvPr>
          <p:cNvGraphicFramePr>
            <a:graphicFrameLocks/>
          </p:cNvGraphicFramePr>
          <p:nvPr>
            <p:extLst>
              <p:ext uri="{D42A27DB-BD31-4B8C-83A1-F6EECF244321}">
                <p14:modId xmlns:p14="http://schemas.microsoft.com/office/powerpoint/2010/main" val="1782726356"/>
              </p:ext>
            </p:extLst>
          </p:nvPr>
        </p:nvGraphicFramePr>
        <p:xfrm>
          <a:off x="341403" y="4540285"/>
          <a:ext cx="4321184" cy="1902150"/>
        </p:xfrm>
        <a:graphic>
          <a:graphicData uri="http://schemas.openxmlformats.org/drawingml/2006/table">
            <a:tbl>
              <a:tblPr firstRow="1" bandRow="1">
                <a:tableStyleId>{5C22544A-7EE6-4342-B048-85BDC9FD1C3A}</a:tableStyleId>
              </a:tblPr>
              <a:tblGrid>
                <a:gridCol w="4321184">
                  <a:extLst>
                    <a:ext uri="{9D8B030D-6E8A-4147-A177-3AD203B41FA5}">
                      <a16:colId xmlns:a16="http://schemas.microsoft.com/office/drawing/2014/main" val="20000"/>
                    </a:ext>
                  </a:extLst>
                </a:gridCol>
              </a:tblGrid>
              <a:tr h="413710">
                <a:tc>
                  <a:txBody>
                    <a:bodyPr/>
                    <a:lstStyle/>
                    <a:p>
                      <a:pPr algn="l"/>
                      <a:r>
                        <a:rPr lang="en-US" sz="1400" noProof="0">
                          <a:solidFill>
                            <a:schemeClr val="tx1"/>
                          </a:solidFill>
                          <a:latin typeface="+mn-lt"/>
                        </a:rPr>
                        <a:t>Impact on</a:t>
                      </a:r>
                      <a:r>
                        <a:rPr lang="en-US" sz="1400" baseline="0" noProof="0">
                          <a:solidFill>
                            <a:schemeClr val="tx1"/>
                          </a:solidFill>
                          <a:latin typeface="+mn-lt"/>
                        </a:rPr>
                        <a:t> </a:t>
                      </a:r>
                      <a:r>
                        <a:rPr lang="en-US" sz="1400" noProof="0">
                          <a:solidFill>
                            <a:schemeClr val="tx1"/>
                          </a:solidFill>
                          <a:latin typeface="+mn-lt"/>
                        </a:rPr>
                        <a:t>International Rail Freight </a:t>
                      </a:r>
                    </a:p>
                  </a:txBody>
                  <a:tcPr marL="91429" marR="91429"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CC00"/>
                    </a:solidFill>
                  </a:tcPr>
                </a:tc>
                <a:extLst>
                  <a:ext uri="{0D108BD9-81ED-4DB2-BD59-A6C34878D82A}">
                    <a16:rowId xmlns:a16="http://schemas.microsoft.com/office/drawing/2014/main" val="10000"/>
                  </a:ext>
                </a:extLst>
              </a:tr>
              <a:tr h="148844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mn-lt"/>
                          <a:ea typeface="+mn-ea"/>
                          <a:cs typeface="+mn-cs"/>
                        </a:rPr>
                        <a:t>Cancellations: In coordin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mn-lt"/>
                          <a:ea typeface="+mn-ea"/>
                          <a:cs typeface="+mn-cs"/>
                        </a:rPr>
                        <a:t>Deviations: Y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mn-lt"/>
                          <a:ea typeface="+mn-ea"/>
                          <a:cs typeface="+mn-cs"/>
                        </a:rPr>
                        <a:t>Estimated extra running time: </a:t>
                      </a:r>
                      <a:r>
                        <a:rPr kumimoji="0" lang="nl-NL" sz="1100" b="0" i="0" u="none" strike="noStrike" kern="1200" cap="none" spc="0" normalizeH="0" baseline="0" noProof="0">
                          <a:ln>
                            <a:noFill/>
                          </a:ln>
                          <a:solidFill>
                            <a:prstClr val="black"/>
                          </a:solidFill>
                          <a:effectLst/>
                          <a:uLnTx/>
                          <a:uFillTx/>
                          <a:latin typeface="+mn-lt"/>
                          <a:ea typeface="+mn-ea"/>
                          <a:cs typeface="+mn-cs"/>
                        </a:rPr>
                        <a:t>Detailed information on extra running time is </a:t>
                      </a:r>
                      <a:r>
                        <a:rPr kumimoji="0" lang="nl-NL" sz="1050" b="0" i="0" u="none" strike="noStrike" kern="1200" cap="none" spc="0" normalizeH="0" baseline="0" noProof="0">
                          <a:ln>
                            <a:noFill/>
                          </a:ln>
                          <a:solidFill>
                            <a:prstClr val="black"/>
                          </a:solidFill>
                          <a:effectLst/>
                          <a:uLnTx/>
                          <a:uFillTx/>
                          <a:latin typeface="+mn-lt"/>
                          <a:ea typeface="+mn-ea"/>
                          <a:cs typeface="+mn-cs"/>
                        </a:rPr>
                        <a:t>distributed</a:t>
                      </a:r>
                      <a:r>
                        <a:rPr kumimoji="0" lang="nl-NL" sz="1100" b="0" i="0" u="none" strike="noStrike" kern="1200" cap="none" spc="0" normalizeH="0" baseline="0" noProof="0">
                          <a:ln>
                            <a:noFill/>
                          </a:ln>
                          <a:solidFill>
                            <a:prstClr val="black"/>
                          </a:solidFill>
                          <a:effectLst/>
                          <a:uLnTx/>
                          <a:uFillTx/>
                          <a:latin typeface="+mn-lt"/>
                          <a:ea typeface="+mn-ea"/>
                          <a:cs typeface="+mn-cs"/>
                        </a:rPr>
                        <a:t> by DB Netz individually for every customer for each affected train. Additionally DB Netz offers train path advice free of charge</a:t>
                      </a:r>
                      <a:endParaRPr kumimoji="0" lang="en-US" sz="1100" b="0" i="0" u="none" strike="noStrike" kern="1200" cap="none" spc="0" normalizeH="0" baseline="0" noProof="0">
                        <a:ln>
                          <a:noFill/>
                        </a:ln>
                        <a:solidFill>
                          <a:prstClr val="black"/>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mn-lt"/>
                          <a:ea typeface="+mn-ea"/>
                          <a:cs typeface="+mn-cs"/>
                        </a:rPr>
                        <a:t>In annual timetable: Yes</a:t>
                      </a:r>
                      <a:endParaRPr kumimoji="0" lang="en-US" sz="1050" b="0" i="0" u="none" strike="noStrike" kern="1200" cap="none" spc="0" normalizeH="0" baseline="0" noProof="0">
                        <a:ln>
                          <a:noFill/>
                        </a:ln>
                        <a:solidFill>
                          <a:prstClr val="black"/>
                        </a:solidFill>
                        <a:effectLst/>
                        <a:uLnTx/>
                        <a:uFillTx/>
                        <a:latin typeface="+mn-lt"/>
                        <a:ea typeface="+mn-ea"/>
                        <a:cs typeface="+mn-cs"/>
                      </a:endParaRPr>
                    </a:p>
                  </a:txBody>
                  <a:tcPr marL="91429" marR="91429"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graphicFrame>
        <p:nvGraphicFramePr>
          <p:cNvPr id="11" name="Object 10">
            <a:extLst>
              <a:ext uri="{FF2B5EF4-FFF2-40B4-BE49-F238E27FC236}">
                <a16:creationId xmlns:a16="http://schemas.microsoft.com/office/drawing/2014/main" id="{A7035C4E-423D-41FF-85C4-CE3E7A6A9C41}"/>
              </a:ext>
            </a:extLst>
          </p:cNvPr>
          <p:cNvGraphicFramePr>
            <a:graphicFrameLocks noChangeAspect="1"/>
          </p:cNvGraphicFramePr>
          <p:nvPr>
            <p:extLst>
              <p:ext uri="{D42A27DB-BD31-4B8C-83A1-F6EECF244321}">
                <p14:modId xmlns:p14="http://schemas.microsoft.com/office/powerpoint/2010/main" val="271138388"/>
              </p:ext>
            </p:extLst>
          </p:nvPr>
        </p:nvGraphicFramePr>
        <p:xfrm>
          <a:off x="5088633" y="3429000"/>
          <a:ext cx="4195326" cy="3013434"/>
        </p:xfrm>
        <a:graphic>
          <a:graphicData uri="http://schemas.openxmlformats.org/presentationml/2006/ole">
            <mc:AlternateContent xmlns:mc="http://schemas.openxmlformats.org/markup-compatibility/2006">
              <mc:Choice xmlns:v="urn:schemas-microsoft-com:vml" Requires="v">
                <p:oleObj name="Worksheet" r:id="rId2" imgW="11074400" imgH="8661446" progId="Excel.Sheet.12">
                  <p:embed/>
                </p:oleObj>
              </mc:Choice>
              <mc:Fallback>
                <p:oleObj name="Worksheet" r:id="rId2" imgW="11074400" imgH="8661446" progId="Excel.Sheet.12">
                  <p:embed/>
                  <p:pic>
                    <p:nvPicPr>
                      <p:cNvPr id="11" name="Object 10">
                        <a:extLst>
                          <a:ext uri="{FF2B5EF4-FFF2-40B4-BE49-F238E27FC236}">
                            <a16:creationId xmlns:a16="http://schemas.microsoft.com/office/drawing/2014/main" id="{A7035C4E-423D-41FF-85C4-CE3E7A6A9C41}"/>
                          </a:ext>
                        </a:extLst>
                      </p:cNvPr>
                      <p:cNvPicPr/>
                      <p:nvPr/>
                    </p:nvPicPr>
                    <p:blipFill>
                      <a:blip r:embed="rId3"/>
                      <a:stretch>
                        <a:fillRect/>
                      </a:stretch>
                    </p:blipFill>
                    <p:spPr>
                      <a:xfrm>
                        <a:off x="5088633" y="3429000"/>
                        <a:ext cx="4195326" cy="3013434"/>
                      </a:xfrm>
                      <a:prstGeom prst="rect">
                        <a:avLst/>
                      </a:prstGeom>
                    </p:spPr>
                  </p:pic>
                </p:oleObj>
              </mc:Fallback>
            </mc:AlternateContent>
          </a:graphicData>
        </a:graphic>
      </p:graphicFrame>
      <p:pic>
        <p:nvPicPr>
          <p:cNvPr id="8" name="Afbeelding 7">
            <a:extLst>
              <a:ext uri="{FF2B5EF4-FFF2-40B4-BE49-F238E27FC236}">
                <a16:creationId xmlns:a16="http://schemas.microsoft.com/office/drawing/2014/main" id="{180CF5C0-DFF2-F8CF-C102-D0F6EA0836C3}"/>
              </a:ext>
            </a:extLst>
          </p:cNvPr>
          <p:cNvPicPr>
            <a:picLocks noChangeAspect="1"/>
          </p:cNvPicPr>
          <p:nvPr/>
        </p:nvPicPr>
        <p:blipFill>
          <a:blip r:embed="rId4"/>
          <a:stretch>
            <a:fillRect/>
          </a:stretch>
        </p:blipFill>
        <p:spPr>
          <a:xfrm>
            <a:off x="440951" y="1928205"/>
            <a:ext cx="4149156" cy="2498940"/>
          </a:xfrm>
          <a:prstGeom prst="rect">
            <a:avLst/>
          </a:prstGeom>
        </p:spPr>
      </p:pic>
    </p:spTree>
    <p:extLst>
      <p:ext uri="{BB962C8B-B14F-4D97-AF65-F5344CB8AC3E}">
        <p14:creationId xmlns:p14="http://schemas.microsoft.com/office/powerpoint/2010/main" val="20728173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ASTER" val="db-netze_grau.potx"/>
  <p:tag name="CREATEDBY" val="TW_CP"/>
  <p:tag name="LANGUAGE" val="german"/>
  <p:tag name="AGENDAPIC" val=""/>
  <p:tag name="EASYMASTER" val="DB 4_3"/>
  <p:tag name="THINKCELLPRESENTATIONDONOTDELETE" val="&lt;?xml version=&quot;1.0&quot; encoding=&quot;UTF-16&quot; standalone=&quot;yes&quot;?&gt;&lt;root reqver=&quot;27037&quot;&gt;&lt;version val=&quot;329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2&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0&quot;&gt;&lt;elem m_fUsage=&quot;3.47693255010000035199E+00&quot;&gt;&lt;m_msothmcolidx val=&quot;0&quot;/&gt;&lt;m_rgb r=&quot;1D&quot; g=&quot;92&quot; b=&quot;2C&quot;/&gt;&lt;/elem&gt;&lt;elem m_fUsage=&quot;2.09437955698464906007E+00&quot;&gt;&lt;m_msothmcolidx val=&quot;0&quot;/&gt;&lt;m_rgb r=&quot;FA&quot; g=&quot;AA&quot; b=&quot;49&quot;/&gt;&lt;/elem&gt;&lt;elem m_fUsage=&quot;1.35733108509000022224E+00&quot;&gt;&lt;m_msothmcolidx val=&quot;0&quot;/&gt;&lt;m_rgb r=&quot;22&quot; g=&quot;AE&quot; b=&quot;34&quot;/&gt;&lt;/elem&gt;&lt;elem m_fUsage=&quot;1.34359255080939932192E+00&quot;&gt;&lt;m_msothmcolidx val=&quot;0&quot;/&gt;&lt;m_rgb r=&quot;21&quot; g=&quot;28&quot; b=&quot;AF&quot;/&gt;&lt;/elem&gt;&lt;elem m_fUsage=&quot;1.00000000000000000000E+00&quot;&gt;&lt;m_msothmcolidx val=&quot;0&quot;/&gt;&lt;m_rgb r=&quot;F2&quot; g=&quot;BE&quot; b=&quot;22&quot;/&gt;&lt;/elem&gt;&lt;elem m_fUsage=&quot;2.82799524966035220608E-01&quot;&gt;&lt;m_msothmcolidx val=&quot;0&quot;/&gt;&lt;m_rgb r=&quot;24&quot; g=&quot;B7&quot; b=&quot;36&quot;/&gt;&lt;/elem&gt;&lt;elem m_fUsage=&quot;2.45841571185633850360E-01&quot;&gt;&lt;m_msothmcolidx val=&quot;0&quot;/&gt;&lt;m_rgb r=&quot;F9&quot; g=&quot;F3&quot; b=&quot;2F&quot;/&gt;&lt;/elem&gt;&lt;elem m_fUsage=&quot;1.60184260486894297637E-01&quot;&gt;&lt;m_msothmcolidx val=&quot;0&quot;/&gt;&lt;m_rgb r=&quot;F8&quot; g=&quot;96&quot; b=&quot;1F&quot;/&gt;&lt;/elem&gt;&lt;elem m_fUsage=&quot;1.64232032682606748919E-02&quot;&gt;&lt;m_msothmcolidx val=&quot;0&quot;/&gt;&lt;m_rgb r=&quot;F9&quot; g=&quot;A5&quot; b=&quot;3E&quot;/&gt;&lt;/elem&gt;&lt;elem m_fUsage=&quot;8.39549981272447350122E-03&quot;&gt;&lt;m_msothmcolidx val=&quot;0&quot;/&gt;&lt;m_rgb r=&quot;FA&quot; g=&quot;AC&quot; b=&quot;4E&quot;/&gt;&lt;/elem&gt;&lt;elem m_fUsage=&quot;5.20396215491148155657E-03&quot;&gt;&lt;m_msothmcolidx val=&quot;0&quot;/&gt;&lt;m_rgb r=&quot;F7&quot; g=&quot;98&quot; b=&quot;42&quot;/&gt;&lt;/elem&gt;&lt;elem m_fUsage=&quot;4.17455791792929655631E-03&quot;&gt;&lt;m_msothmcolidx val=&quot;0&quot;/&gt;&lt;m_rgb r=&quot;F2&quot; g=&quot;A6&quot; b=&quot;33&quot;/&gt;&lt;/elem&gt;&lt;elem m_fUsage=&quot;9.55004950796826544875E-04&quot;&gt;&lt;m_msothmcolidx val=&quot;0&quot;/&gt;&lt;m_rgb r=&quot;E2&quot; g=&quot;50&quot; b=&quot;2C&quot;/&gt;&lt;/elem&gt;&lt;elem m_fUsage=&quot;6.33740252878772650572E-04&quot;&gt;&lt;m_msothmcolidx val=&quot;0&quot;/&gt;&lt;m_rgb r=&quot;F3&quot; g=&quot;FF&quot; b=&quot;1A&quot;/&gt;&lt;/elem&gt;&lt;elem m_fUsage=&quot;3.32989636531614858345E-04&quot;&gt;&lt;m_msothmcolidx val=&quot;0&quot;/&gt;&lt;m_rgb r=&quot;5A&quot; g=&quot;5C&quot; b=&quot;7C&quot;/&gt;&lt;/elem&gt;&lt;elem m_fUsage=&quot;2.99690672878453394194E-04&quot;&gt;&lt;m_msothmcolidx val=&quot;0&quot;/&gt;&lt;m_rgb r=&quot;7D&quot; g=&quot;C4&quot; b=&quot;94&quot;/&gt;&lt;/elem&gt;&lt;elem m_fUsage=&quot;2.69721605590608043933E-04&quot;&gt;&lt;m_msothmcolidx val=&quot;0&quot;/&gt;&lt;m_rgb r=&quot;FB&quot; g=&quot;D3&quot; b=&quot;D0&quot;/&gt;&lt;/elem&gt;&lt;elem m_fUsage=&quot;2.42749445031547234118E-04&quot;&gt;&lt;m_msothmcolidx val=&quot;0&quot;/&gt;&lt;m_rgb r=&quot;C4&quot; g=&quot;13&quot; b=&quot;93&quot;/&gt;&lt;/elem&gt;&lt;elem m_fUsage=&quot;2.18474500528392518838E-04&quot;&gt;&lt;m_msothmcolidx val=&quot;0&quot;/&gt;&lt;m_rgb r=&quot;7B&quot; g=&quot;F2&quot; b=&quot;4F&quot;/&gt;&lt;/elem&gt;&lt;elem m_fUsage=&quot;1.96627050475553261533E-04&quot;&gt;&lt;m_msothmcolidx val=&quot;0&quot;/&gt;&lt;m_rgb r=&quot;EC&quot; g=&quot;C9&quot; b=&quot;51&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eTchlvlTXOu.tFPaSa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WGt.CWDS2W2siy9S9LxA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eTchlvlTXOu.tFPaSa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WGt.CWDS2W2siy9S9LxA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eTchlvlTXOu.tFPaSa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yWGt.CWDS2W2siy9S9LxA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WGt.CWDS2W2siy9S9LxA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eTchlvlTXOu.tFPaSa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yWGt.CWDS2W2siy9S9LxA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eTchlvlTXOu.tFPaSaA.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jSnIgYyVsRmP6hk5RjHz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7Bi3ZickHyACk_tFfD0UO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jSnIgYyVsRmP6hk5RjH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eTchlvlTXOu.tFPaSa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WGt.CWDS2W2siy9S9LxAA"/>
</p:tagLst>
</file>

<file path=ppt/theme/theme1.xml><?xml version="1.0" encoding="utf-8"?>
<a:theme xmlns:a="http://schemas.openxmlformats.org/drawingml/2006/main" name="Tema di Office">
  <a:themeElements>
    <a:clrScheme name="Personalizzato 2">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0000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Lariss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Lariss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ema di Office">
  <a:themeElements>
    <a:clrScheme name="Personalizzato 2">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0000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Tema di Office">
  <a:themeElements>
    <a:clrScheme name="Personalizzato 2">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0000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Tema di Office">
  <a:themeElements>
    <a:clrScheme name="Personalizzato 2">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0000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Tema di Office">
  <a:themeElements>
    <a:clrScheme name="Personalizzato 2">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0000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5_Tema di Office">
  <a:themeElements>
    <a:clrScheme name="Personalizzato 2">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0000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Projekt niestandardowy">
  <a:themeElements>
    <a:clrScheme name="Pakiet 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akiet 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Projekt niestandardowy">
  <a:themeElements>
    <a:clrScheme name="Pakiet 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akiet 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2_Projekt niestandardowy">
  <a:themeElements>
    <a:clrScheme name="Pakiet 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akiet 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38176a55-1a25-4f4a-bf6d-fcd0e5e7f610" xsi:nil="true"/>
    <lcf76f155ced4ddcb4097134ff3c332f xmlns="4e58c632-4953-40d1-a3da-522d76f140e5">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2D90234D35BDC14A80AD5D7D0B4B6B76" ma:contentTypeVersion="18" ma:contentTypeDescription="Ein neues Dokument erstellen." ma:contentTypeScope="" ma:versionID="0d16a91819552e2f661414f4868d5f90">
  <xsd:schema xmlns:xsd="http://www.w3.org/2001/XMLSchema" xmlns:xs="http://www.w3.org/2001/XMLSchema" xmlns:p="http://schemas.microsoft.com/office/2006/metadata/properties" xmlns:ns2="4e58c632-4953-40d1-a3da-522d76f140e5" xmlns:ns3="38176a55-1a25-4f4a-bf6d-fcd0e5e7f610" targetNamespace="http://schemas.microsoft.com/office/2006/metadata/properties" ma:root="true" ma:fieldsID="7133291612cdc20172730e5a8fde4301" ns2:_="" ns3:_="">
    <xsd:import namespace="4e58c632-4953-40d1-a3da-522d76f140e5"/>
    <xsd:import namespace="38176a55-1a25-4f4a-bf6d-fcd0e5e7f61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e58c632-4953-40d1-a3da-522d76f140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f80f6d38-43b1-4def-ac06-3ce7426a3aa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8176a55-1a25-4f4a-bf6d-fcd0e5e7f610" elementFormDefault="qualified">
    <xsd:import namespace="http://schemas.microsoft.com/office/2006/documentManagement/types"/>
    <xsd:import namespace="http://schemas.microsoft.com/office/infopath/2007/PartnerControls"/>
    <xsd:element name="SharedWithUsers" ma:index="1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a04c9060-6ef6-438e-b3ee-bd13c26873a4}" ma:internalName="TaxCatchAll" ma:showField="CatchAllData" ma:web="38176a55-1a25-4f4a-bf6d-fcd0e5e7f61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8CC837A-2157-46B7-A175-1C06B454154E}">
  <ds:schemaRefs>
    <ds:schemaRef ds:uri="http://schemas.microsoft.com/sharepoint/v3/contenttype/forms"/>
  </ds:schemaRefs>
</ds:datastoreItem>
</file>

<file path=customXml/itemProps2.xml><?xml version="1.0" encoding="utf-8"?>
<ds:datastoreItem xmlns:ds="http://schemas.openxmlformats.org/officeDocument/2006/customXml" ds:itemID="{B628D953-2B86-4F10-96A3-63EA1C5FF888}">
  <ds:schemaRefs>
    <ds:schemaRef ds:uri="38176a55-1a25-4f4a-bf6d-fcd0e5e7f610"/>
    <ds:schemaRef ds:uri="4e58c632-4953-40d1-a3da-522d76f140e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310490A8-592E-4D20-B3B9-F6393A26A4AC}">
  <ds:schemaRefs>
    <ds:schemaRef ds:uri="38176a55-1a25-4f4a-bf6d-fcd0e5e7f610"/>
    <ds:schemaRef ds:uri="4e58c632-4953-40d1-a3da-522d76f140e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db-netze_grau</Template>
  <TotalTime>237</TotalTime>
  <Words>1803</Words>
  <Application>Microsoft Office PowerPoint</Application>
  <PresentationFormat>Niestandardowy</PresentationFormat>
  <Paragraphs>261</Paragraphs>
  <Slides>18</Slides>
  <Notes>3</Notes>
  <HiddenSlides>0</HiddenSlides>
  <MMClips>0</MMClips>
  <ScaleCrop>false</ScaleCrop>
  <HeadingPairs>
    <vt:vector size="8" baseType="variant">
      <vt:variant>
        <vt:lpstr>Używane czcionki</vt:lpstr>
      </vt:variant>
      <vt:variant>
        <vt:i4>4</vt:i4>
      </vt:variant>
      <vt:variant>
        <vt:lpstr>Motyw</vt:lpstr>
      </vt:variant>
      <vt:variant>
        <vt:i4>9</vt:i4>
      </vt:variant>
      <vt:variant>
        <vt:lpstr>Osadzone serwery OLE</vt:lpstr>
      </vt:variant>
      <vt:variant>
        <vt:i4>2</vt:i4>
      </vt:variant>
      <vt:variant>
        <vt:lpstr>Tytuły slajdów</vt:lpstr>
      </vt:variant>
      <vt:variant>
        <vt:i4>18</vt:i4>
      </vt:variant>
    </vt:vector>
  </HeadingPairs>
  <TitlesOfParts>
    <vt:vector size="33" baseType="lpstr">
      <vt:lpstr>Arial</vt:lpstr>
      <vt:lpstr>Calibri</vt:lpstr>
      <vt:lpstr>DB Office</vt:lpstr>
      <vt:lpstr>Wingdings</vt:lpstr>
      <vt:lpstr>Tema di Office</vt:lpstr>
      <vt:lpstr>1_Tema di Office</vt:lpstr>
      <vt:lpstr>2_Tema di Office</vt:lpstr>
      <vt:lpstr>3_Tema di Office</vt:lpstr>
      <vt:lpstr>4_Tema di Office</vt:lpstr>
      <vt:lpstr>5_Tema di Office</vt:lpstr>
      <vt:lpstr>Projekt niestandardowy</vt:lpstr>
      <vt:lpstr>1_Projekt niestandardowy</vt:lpstr>
      <vt:lpstr>2_Projekt niestandardowy</vt:lpstr>
      <vt:lpstr>think-cell Folie</vt:lpstr>
      <vt:lpstr>Workshee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vector>
  </TitlesOfParts>
  <Company>DB Netz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PI for PaP TT2020 – Overview KPIs</dc:title>
  <dc:subject/>
  <dc:creator>Alexander Blum</dc:creator>
  <cp:lastModifiedBy>Urbańska Patrycja</cp:lastModifiedBy>
  <cp:revision>5</cp:revision>
  <cp:lastPrinted>2015-08-04T09:23:29Z</cp:lastPrinted>
  <dcterms:created xsi:type="dcterms:W3CDTF">2020-04-19T14:10:21Z</dcterms:created>
  <dcterms:modified xsi:type="dcterms:W3CDTF">2025-03-05T08:40: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w_title">
    <vt:lpwstr/>
  </property>
  <property fmtid="{D5CDD505-2E9C-101B-9397-08002B2CF9AE}" pid="3" name="tw_theme">
    <vt:lpwstr/>
  </property>
  <property fmtid="{D5CDD505-2E9C-101B-9397-08002B2CF9AE}" pid="4" name="tw_company">
    <vt:lpwstr>DB Netz AG</vt:lpwstr>
  </property>
  <property fmtid="{D5CDD505-2E9C-101B-9397-08002B2CF9AE}" pid="5" name="tw_unit">
    <vt:lpwstr/>
  </property>
  <property fmtid="{D5CDD505-2E9C-101B-9397-08002B2CF9AE}" pid="6" name="tw_speaker">
    <vt:lpwstr/>
  </property>
  <property fmtid="{D5CDD505-2E9C-101B-9397-08002B2CF9AE}" pid="7" name="tw_function">
    <vt:lpwstr/>
  </property>
  <property fmtid="{D5CDD505-2E9C-101B-9397-08002B2CF9AE}" pid="8" name="tw_location">
    <vt:lpwstr/>
  </property>
  <property fmtid="{D5CDD505-2E9C-101B-9397-08002B2CF9AE}" pid="9" name="tw_date">
    <vt:lpwstr>19.04.2020</vt:lpwstr>
  </property>
  <property fmtid="{D5CDD505-2E9C-101B-9397-08002B2CF9AE}" pid="10" name="tw_Agenda_1">
    <vt:lpwstr/>
  </property>
  <property fmtid="{D5CDD505-2E9C-101B-9397-08002B2CF9AE}" pid="11" name="tw_Agenda_2">
    <vt:lpwstr/>
  </property>
  <property fmtid="{D5CDD505-2E9C-101B-9397-08002B2CF9AE}" pid="12" name="tw_Agenda_3">
    <vt:lpwstr/>
  </property>
  <property fmtid="{D5CDD505-2E9C-101B-9397-08002B2CF9AE}" pid="13" name="tw_Agenda_4">
    <vt:lpwstr/>
  </property>
  <property fmtid="{D5CDD505-2E9C-101B-9397-08002B2CF9AE}" pid="14" name="tw_Agenda_5">
    <vt:lpwstr/>
  </property>
  <property fmtid="{D5CDD505-2E9C-101B-9397-08002B2CF9AE}" pid="15" name="tw_Agenda_6">
    <vt:lpwstr/>
  </property>
  <property fmtid="{D5CDD505-2E9C-101B-9397-08002B2CF9AE}" pid="16" name="tw_Agenda_7">
    <vt:lpwstr/>
  </property>
  <property fmtid="{D5CDD505-2E9C-101B-9397-08002B2CF9AE}" pid="17" name="tw_Agenda_8">
    <vt:lpwstr/>
  </property>
  <property fmtid="{D5CDD505-2E9C-101B-9397-08002B2CF9AE}" pid="18" name="tw_cover_word">
    <vt:lpwstr/>
  </property>
  <property fmtid="{D5CDD505-2E9C-101B-9397-08002B2CF9AE}" pid="19" name="ContentTypeId">
    <vt:lpwstr>0x0101002D90234D35BDC14A80AD5D7D0B4B6B76</vt:lpwstr>
  </property>
  <property fmtid="{D5CDD505-2E9C-101B-9397-08002B2CF9AE}" pid="20" name="MediaServiceImageTags">
    <vt:lpwstr/>
  </property>
  <property fmtid="{D5CDD505-2E9C-101B-9397-08002B2CF9AE}" pid="21" name="MSIP_Label_24e57bac-d225-40fb-8a9e-62b5be587a96_Enabled">
    <vt:lpwstr>true</vt:lpwstr>
  </property>
  <property fmtid="{D5CDD505-2E9C-101B-9397-08002B2CF9AE}" pid="22" name="MSIP_Label_24e57bac-d225-40fb-8a9e-62b5be587a96_SetDate">
    <vt:lpwstr>2025-01-31T08:24:00Z</vt:lpwstr>
  </property>
  <property fmtid="{D5CDD505-2E9C-101B-9397-08002B2CF9AE}" pid="23" name="MSIP_Label_24e57bac-d225-40fb-8a9e-62b5be587a96_Method">
    <vt:lpwstr>Standard</vt:lpwstr>
  </property>
  <property fmtid="{D5CDD505-2E9C-101B-9397-08002B2CF9AE}" pid="24" name="MSIP_Label_24e57bac-d225-40fb-8a9e-62b5be587a96_Name">
    <vt:lpwstr>Internal</vt:lpwstr>
  </property>
  <property fmtid="{D5CDD505-2E9C-101B-9397-08002B2CF9AE}" pid="25" name="MSIP_Label_24e57bac-d225-40fb-8a9e-62b5be587a96_SiteId">
    <vt:lpwstr>a398fcff-8d2b-4930-a7f7-e1c99a108d77</vt:lpwstr>
  </property>
  <property fmtid="{D5CDD505-2E9C-101B-9397-08002B2CF9AE}" pid="26" name="MSIP_Label_24e57bac-d225-40fb-8a9e-62b5be587a96_ActionId">
    <vt:lpwstr>4213d8f8-6a7f-4e20-9275-adbc51bc29e4</vt:lpwstr>
  </property>
  <property fmtid="{D5CDD505-2E9C-101B-9397-08002B2CF9AE}" pid="27" name="MSIP_Label_24e57bac-d225-40fb-8a9e-62b5be587a96_ContentBits">
    <vt:lpwstr>0</vt:lpwstr>
  </property>
</Properties>
</file>